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1.xml" ContentType="application/vnd.openxmlformats-officedocument.presentationml.notesSl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2.xml" ContentType="application/vnd.openxmlformats-officedocument.presentationml.notesSlide+xml"/>
  <Override PartName="/ppt/tags/tag237.xml" ContentType="application/vnd.openxmlformats-officedocument.presentationml.tags+xml"/>
  <Override PartName="/ppt/notesSlides/notesSlide3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4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5.xml" ContentType="application/vnd.openxmlformats-officedocument.presentationml.notesSl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8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9.xml" ContentType="application/vnd.openxmlformats-officedocument.presentationml.notesSl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10.xml" ContentType="application/vnd.openxmlformats-officedocument.presentationml.notesSlid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11.xml" ContentType="application/vnd.openxmlformats-officedocument.presentationml.notesSl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12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notesSlides/notesSlide13.xml" ContentType="application/vnd.openxmlformats-officedocument.presentationml.notesSl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notesSlides/notesSlide14.xml" ContentType="application/vnd.openxmlformats-officedocument.presentationml.notesSlid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15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9" r:id="rId97"/>
  </p:sldMasterIdLst>
  <p:notesMasterIdLst>
    <p:notesMasterId r:id="rId115"/>
  </p:notesMasterIdLst>
  <p:handoutMasterIdLst>
    <p:handoutMasterId r:id="rId116"/>
  </p:handoutMasterIdLst>
  <p:sldIdLst>
    <p:sldId id="1211" r:id="rId98"/>
    <p:sldId id="1240" r:id="rId99"/>
    <p:sldId id="1239" r:id="rId100"/>
    <p:sldId id="1242" r:id="rId101"/>
    <p:sldId id="1241" r:id="rId102"/>
    <p:sldId id="1238" r:id="rId103"/>
    <p:sldId id="1213" r:id="rId104"/>
    <p:sldId id="1214" r:id="rId105"/>
    <p:sldId id="1231" r:id="rId106"/>
    <p:sldId id="1235" r:id="rId107"/>
    <p:sldId id="1233" r:id="rId108"/>
    <p:sldId id="1223" r:id="rId109"/>
    <p:sldId id="1230" r:id="rId110"/>
    <p:sldId id="1225" r:id="rId111"/>
    <p:sldId id="1237" r:id="rId112"/>
    <p:sldId id="1236" r:id="rId113"/>
    <p:sldId id="1234" r:id="rId114"/>
  </p:sldIdLst>
  <p:sldSz cx="12198350" cy="6858000"/>
  <p:notesSz cx="6797675" cy="9928225"/>
  <p:custDataLst>
    <p:custData r:id="rId32"/>
    <p:tags r:id="rId11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6" userDrawn="1">
          <p15:clr>
            <a:srgbClr val="A4A3A4"/>
          </p15:clr>
        </p15:guide>
        <p15:guide id="2" orient="horz" pos="659">
          <p15:clr>
            <a:srgbClr val="A4A3A4"/>
          </p15:clr>
        </p15:guide>
        <p15:guide id="3" orient="horz" pos="2473">
          <p15:clr>
            <a:srgbClr val="A4A3A4"/>
          </p15:clr>
        </p15:guide>
        <p15:guide id="4" orient="horz" pos="2387" userDrawn="1">
          <p15:clr>
            <a:srgbClr val="A4A3A4"/>
          </p15:clr>
        </p15:guide>
        <p15:guide id="5" orient="horz" pos="981" userDrawn="1">
          <p15:clr>
            <a:srgbClr val="A4A3A4"/>
          </p15:clr>
        </p15:guide>
        <p15:guide id="6" pos="395">
          <p15:clr>
            <a:srgbClr val="A4A3A4"/>
          </p15:clr>
        </p15:guide>
        <p15:guide id="7" pos="3842">
          <p15:clr>
            <a:srgbClr val="A4A3A4"/>
          </p15:clr>
        </p15:guide>
        <p15:guide id="8" pos="3933">
          <p15:clr>
            <a:srgbClr val="A4A3A4"/>
          </p15:clr>
        </p15:guide>
        <p15:guide id="9" pos="7380">
          <p15:clr>
            <a:srgbClr val="A4A3A4"/>
          </p15:clr>
        </p15:guide>
        <p15:guide id="10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53A0"/>
    <a:srgbClr val="D7D7CD"/>
    <a:srgbClr val="FFFFFF"/>
    <a:srgbClr val="990900"/>
    <a:srgbClr val="879628"/>
    <a:srgbClr val="B4ECFF"/>
    <a:srgbClr val="67FF5A"/>
    <a:srgbClr val="E3F25D"/>
    <a:srgbClr val="000000"/>
    <a:srgbClr val="505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97" autoAdjust="0"/>
    <p:restoredTop sz="94434" autoAdjust="0"/>
  </p:normalViewPr>
  <p:slideViewPr>
    <p:cSldViewPr snapToGrid="0" showGuides="1">
      <p:cViewPr varScale="1">
        <p:scale>
          <a:sx n="67" d="100"/>
          <a:sy n="67" d="100"/>
        </p:scale>
        <p:origin x="618" y="138"/>
      </p:cViewPr>
      <p:guideLst>
        <p:guide orient="horz" pos="3906"/>
        <p:guide orient="horz" pos="659"/>
        <p:guide orient="horz" pos="2473"/>
        <p:guide orient="horz" pos="2387"/>
        <p:guide orient="horz" pos="981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-3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>
        <p:scale>
          <a:sx n="130" d="100"/>
          <a:sy n="130" d="100"/>
        </p:scale>
        <p:origin x="1200" y="-84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tags" Target="tags/tag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customXml" Target="../customXml/item84.xml"/><Relationship Id="rId89" Type="http://schemas.openxmlformats.org/officeDocument/2006/relationships/customXml" Target="../customXml/item89.xml"/><Relationship Id="rId112" Type="http://schemas.openxmlformats.org/officeDocument/2006/relationships/slide" Target="slides/slide15.xml"/><Relationship Id="rId16" Type="http://schemas.openxmlformats.org/officeDocument/2006/relationships/customXml" Target="../customXml/item16.xml"/><Relationship Id="rId107" Type="http://schemas.openxmlformats.org/officeDocument/2006/relationships/slide" Target="slides/slide10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102" Type="http://schemas.openxmlformats.org/officeDocument/2006/relationships/slide" Target="slides/slide5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90" Type="http://schemas.openxmlformats.org/officeDocument/2006/relationships/customXml" Target="../customXml/item90.xml"/><Relationship Id="rId95" Type="http://schemas.openxmlformats.org/officeDocument/2006/relationships/customXml" Target="../customXml/item95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slide" Target="slides/slide3.xml"/><Relationship Id="rId105" Type="http://schemas.openxmlformats.org/officeDocument/2006/relationships/slide" Target="slides/slide8.xml"/><Relationship Id="rId113" Type="http://schemas.openxmlformats.org/officeDocument/2006/relationships/slide" Target="slides/slide16.xml"/><Relationship Id="rId118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93" Type="http://schemas.openxmlformats.org/officeDocument/2006/relationships/customXml" Target="../customXml/item93.xml"/><Relationship Id="rId98" Type="http://schemas.openxmlformats.org/officeDocument/2006/relationships/slide" Target="slides/slide1.xml"/><Relationship Id="rId12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slide" Target="slides/slide6.xml"/><Relationship Id="rId108" Type="http://schemas.openxmlformats.org/officeDocument/2006/relationships/slide" Target="slides/slide11.xml"/><Relationship Id="rId116" Type="http://schemas.openxmlformats.org/officeDocument/2006/relationships/handoutMaster" Target="handoutMasters/handoutMaster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11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6" Type="http://schemas.openxmlformats.org/officeDocument/2006/relationships/slide" Target="slides/slide9.xml"/><Relationship Id="rId114" Type="http://schemas.openxmlformats.org/officeDocument/2006/relationships/slide" Target="slides/slide17.xml"/><Relationship Id="rId119" Type="http://schemas.openxmlformats.org/officeDocument/2006/relationships/viewProps" Target="viewProp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94" Type="http://schemas.openxmlformats.org/officeDocument/2006/relationships/customXml" Target="../customXml/item94.xml"/><Relationship Id="rId99" Type="http://schemas.openxmlformats.org/officeDocument/2006/relationships/slide" Target="slides/slide2.xml"/><Relationship Id="rId101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12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slideMaster" Target="slideMasters/slideMaster1.xml"/><Relationship Id="rId104" Type="http://schemas.openxmlformats.org/officeDocument/2006/relationships/slide" Target="slides/slide7.xml"/><Relationship Id="rId120" Type="http://schemas.openxmlformats.org/officeDocument/2006/relationships/theme" Target="theme/theme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13.xml"/><Relationship Id="rId11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7589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8230" tIns="44115" rIns="88230" bIns="44115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8" y="0"/>
            <a:ext cx="3111547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2313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8" y="9392313"/>
            <a:ext cx="3111547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0"/>
            <a:ext cx="311002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18287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8447"/>
            <a:ext cx="6341659" cy="442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2313"/>
            <a:ext cx="3111548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92313"/>
            <a:ext cx="3110028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1278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London's road space is becoming increasingly constrained with more people using the existing road space. </a:t>
            </a:r>
            <a:endParaRPr lang="en-AU" dirty="0" smtClean="0"/>
          </a:p>
          <a:p>
            <a:r>
              <a:rPr lang="en-AU" dirty="0" smtClean="0"/>
              <a:t>With </a:t>
            </a:r>
            <a:r>
              <a:rPr lang="en-AU" dirty="0"/>
              <a:t>an additional five million road trips a day by 2030 and continued growth in demand, the cost of delay in 2036 is estimated to be £</a:t>
            </a:r>
            <a:r>
              <a:rPr lang="en-AU" dirty="0" smtClean="0"/>
              <a:t>13bn</a:t>
            </a:r>
            <a:r>
              <a:rPr lang="en-AU" dirty="0"/>
              <a:t>, up from </a:t>
            </a:r>
            <a:r>
              <a:rPr lang="en-AU" dirty="0" smtClean="0"/>
              <a:t>£5bn </a:t>
            </a:r>
            <a:r>
              <a:rPr lang="en-AU" dirty="0"/>
              <a:t>in 2014. To meet this challenge, </a:t>
            </a:r>
            <a:r>
              <a:rPr lang="en-AU" dirty="0" err="1"/>
              <a:t>TfL</a:t>
            </a:r>
            <a:r>
              <a:rPr lang="en-AU" dirty="0"/>
              <a:t> needs to be more proactive in the way it manages its road space. </a:t>
            </a:r>
          </a:p>
          <a:p>
            <a:r>
              <a:rPr lang="en-AU" dirty="0"/>
              <a:t>Currently </a:t>
            </a:r>
            <a:r>
              <a:rPr lang="en-AU" dirty="0" err="1"/>
              <a:t>TfL</a:t>
            </a:r>
            <a:r>
              <a:rPr lang="en-AU" dirty="0"/>
              <a:t> operators monitor road space using CCTV cameras</a:t>
            </a:r>
            <a:r>
              <a:rPr lang="en-AU"/>
              <a:t>. </a:t>
            </a:r>
            <a:endParaRPr lang="en-AU" smtClean="0"/>
          </a:p>
          <a:p>
            <a:r>
              <a:rPr lang="en-AU" smtClean="0"/>
              <a:t>A </a:t>
            </a:r>
            <a:r>
              <a:rPr lang="en-AU" dirty="0"/>
              <a:t>typical road incident, such as a collision and the congestion that results from it, can take up to 20 minutes to detect and respond to. This exacerbates delay. </a:t>
            </a:r>
          </a:p>
          <a:p>
            <a:r>
              <a:rPr lang="en-AU" dirty="0" err="1"/>
              <a:t>TfL</a:t>
            </a:r>
            <a:r>
              <a:rPr lang="en-AU" dirty="0"/>
              <a:t> operators managing the delay have to use multiple systems, many of which are approaching end-of-operational life. This provides an opportunity to replace, upgrade and integrate many of these systems.</a:t>
            </a:r>
          </a:p>
          <a:p>
            <a:r>
              <a:rPr lang="en-AU" dirty="0"/>
              <a:t>Siemens in partnership with </a:t>
            </a:r>
            <a:r>
              <a:rPr lang="en-AU" dirty="0" err="1"/>
              <a:t>TfL</a:t>
            </a:r>
            <a:r>
              <a:rPr lang="en-AU" dirty="0"/>
              <a:t> will upgrade the RTO to help improve traffic flows across the capital’s road network - through faster, automated responses to live road conditions using an enhanced signal control system with a predictive capability.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87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28008" y="4634904"/>
            <a:ext cx="6341659" cy="4428971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4868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4463" y="757238"/>
            <a:ext cx="6494462" cy="3651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he 10 year program is expected to provide Londoners with an improvement in responses to incidents as well as better data and cusomer information.</a:t>
            </a:r>
          </a:p>
          <a:p>
            <a:endParaRPr lang="de-DE" dirty="0"/>
          </a:p>
          <a:p>
            <a:r>
              <a:rPr lang="de-DE" dirty="0" smtClean="0"/>
              <a:t>Initially Siemens will replace TfL‘s UTC System with a cloud-based traffic control solution.</a:t>
            </a:r>
          </a:p>
          <a:p>
            <a:r>
              <a:rPr lang="de-DE" dirty="0" smtClean="0"/>
              <a:t>New features will be added to migrate traffic control into a cloud environment.</a:t>
            </a:r>
          </a:p>
          <a:p>
            <a:endParaRPr lang="de-DE" dirty="0"/>
          </a:p>
          <a:p>
            <a:r>
              <a:rPr lang="de-DE" dirty="0" smtClean="0"/>
              <a:t>For the second phase, new adaptive control algorithms, referred to as Future SCOOT will be developed in stages.</a:t>
            </a:r>
          </a:p>
          <a:p>
            <a:r>
              <a:rPr lang="de-DE" dirty="0" smtClean="0"/>
              <a:t>Future SCOOT is expected to help TfL manage most of the city‘s 6,000 traffic intersections. The system will monitor appraoching traffic and develop indicators of congestion.</a:t>
            </a:r>
          </a:p>
          <a:p>
            <a:endParaRPr lang="de-DE" dirty="0" smtClean="0"/>
          </a:p>
          <a:p>
            <a:r>
              <a:rPr lang="de-DE" dirty="0" smtClean="0"/>
              <a:t>Siemens will be responsible for maintaining the system once it goes live in 2020. 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3961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9774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035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2891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781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689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695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6519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419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76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2569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390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249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37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81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5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customXml" Target="../../customXml/item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customXml" Target="../../customXml/item28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26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6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customXml" Target="../../customXml/item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customXml" Target="../../customXml/item36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customXml" Target="../../customXml/item7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customXml" Target="../../customXml/item30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customXml" Target="../../customXml/item7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8.xml"/><Relationship Id="rId11" Type="http://schemas.openxmlformats.org/officeDocument/2006/relationships/image" Target="../media/image5.jpeg"/><Relationship Id="rId5" Type="http://schemas.openxmlformats.org/officeDocument/2006/relationships/tags" Target="../tags/tag97.xml"/><Relationship Id="rId10" Type="http://schemas.openxmlformats.org/officeDocument/2006/relationships/image" Target="../media/image4.emf"/><Relationship Id="rId4" Type="http://schemas.openxmlformats.org/officeDocument/2006/relationships/tags" Target="../tags/tag96.xml"/><Relationship Id="rId9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7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4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customXml" Target="../../customXml/item80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4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6.bin"/><Relationship Id="rId2" Type="http://schemas.openxmlformats.org/officeDocument/2006/relationships/customXml" Target="../../customXml/item31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16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4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4.emf"/><Relationship Id="rId4" Type="http://schemas.openxmlformats.org/officeDocument/2006/relationships/tags" Target="../tags/tag125.xml"/><Relationship Id="rId9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customXml" Target="../../customXml/item3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2" Type="http://schemas.openxmlformats.org/officeDocument/2006/relationships/customXml" Target="../../customXml/item4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38.xml"/><Relationship Id="rId5" Type="http://schemas.openxmlformats.org/officeDocument/2006/relationships/tags" Target="../tags/tag137.xml"/><Relationship Id="rId10" Type="http://schemas.openxmlformats.org/officeDocument/2006/relationships/image" Target="../media/image4.emf"/><Relationship Id="rId4" Type="http://schemas.openxmlformats.org/officeDocument/2006/relationships/tags" Target="../tags/tag136.xml"/><Relationship Id="rId9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emf"/><Relationship Id="rId2" Type="http://schemas.openxmlformats.org/officeDocument/2006/relationships/customXml" Target="../../customXml/item1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43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4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1.xml"/><Relationship Id="rId9" Type="http://schemas.openxmlformats.org/officeDocument/2006/relationships/tags" Target="../tags/tag14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5.jpeg"/><Relationship Id="rId2" Type="http://schemas.openxmlformats.org/officeDocument/2006/relationships/tags" Target="../tags/tag147.xml"/><Relationship Id="rId1" Type="http://schemas.openxmlformats.org/officeDocument/2006/relationships/customXml" Target="../../customXml/item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customXml" Target="../../customXml/item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4.xml"/><Relationship Id="rId1" Type="http://schemas.openxmlformats.org/officeDocument/2006/relationships/customXml" Target="../../customXml/item2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customXml" Target="../../customXml/item67.xml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customXml" Target="../../customXml/item4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customXml" Target="../../customXml/item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6.xml"/><Relationship Id="rId4" Type="http://schemas.openxmlformats.org/officeDocument/2006/relationships/tags" Target="../tags/tag16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customXml" Target="../../customXml/item9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customXml" Target="../../customXml/item4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customXml" Target="../../customXml/item91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4" Type="http://schemas.openxmlformats.org/officeDocument/2006/relationships/tags" Target="../tags/tag17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8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2.xml"/><Relationship Id="rId1" Type="http://schemas.openxmlformats.org/officeDocument/2006/relationships/customXml" Target="../../customXml/item82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customXml" Target="../../customXml/item3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customXml" Target="../../customXml/item6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customXml" Target="../../customXml/item9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6.xml"/><Relationship Id="rId4" Type="http://schemas.openxmlformats.org/officeDocument/2006/relationships/tags" Target="../tags/tag19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customXml" Target="../../customXml/item59.xml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customXml" Target="../../customXml/item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customXml" Target="../../customXml/item5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customXml" Target="../../customXml/item6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8.xml"/><Relationship Id="rId4" Type="http://schemas.openxmlformats.org/officeDocument/2006/relationships/tags" Target="../tags/tag20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customXml" Target="../../customXml/item7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9.xml"/><Relationship Id="rId1" Type="http://schemas.openxmlformats.org/officeDocument/2006/relationships/customXml" Target="../../customXml/item52.x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4" Type="http://schemas.openxmlformats.org/officeDocument/2006/relationships/tags" Target="../tags/tag21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customXml" Target="../../customXml/item6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7.xml"/><Relationship Id="rId4" Type="http://schemas.openxmlformats.org/officeDocument/2006/relationships/tags" Target="../tags/tag21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2" Type="http://schemas.openxmlformats.org/officeDocument/2006/relationships/tags" Target="../tags/tag218.xml"/><Relationship Id="rId1" Type="http://schemas.openxmlformats.org/officeDocument/2006/relationships/customXml" Target="../../customXml/item33.xml"/><Relationship Id="rId6" Type="http://schemas.openxmlformats.org/officeDocument/2006/relationships/tags" Target="../tags/tag222.xml"/><Relationship Id="rId5" Type="http://schemas.openxmlformats.org/officeDocument/2006/relationships/tags" Target="../tags/tag221.xml"/><Relationship Id="rId4" Type="http://schemas.openxmlformats.org/officeDocument/2006/relationships/tags" Target="../tags/tag22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5.xml"/><Relationship Id="rId1" Type="http://schemas.openxmlformats.org/officeDocument/2006/relationships/customXml" Target="../../customXml/item8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4" Type="http://schemas.openxmlformats.org/officeDocument/2006/relationships/image" Target="../media/image3.jpe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29.xml"/><Relationship Id="rId7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7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170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4400" b="1" i="0" baseline="0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43" name="Picture 2" descr="D:\Geschaeft\Messen-Intertraffic\2016 Intertraffic\Intertraffic2016_KeyVisual.jpg"/>
          <p:cNvPicPr>
            <a:picLocks noChangeAspect="1" noChangeArrowheads="1"/>
          </p:cNvPicPr>
          <p:nvPr userDrawn="1"/>
        </p:nvPicPr>
        <p:blipFill>
          <a:blip r:embed="rId9"/>
          <a:srcRect l="16228" r="8080"/>
          <a:stretch>
            <a:fillRect/>
          </a:stretch>
        </p:blipFill>
        <p:spPr bwMode="auto">
          <a:xfrm>
            <a:off x="-21505" y="-62616"/>
            <a:ext cx="12245003" cy="6984000"/>
          </a:xfrm>
          <a:prstGeom prst="rect">
            <a:avLst/>
          </a:prstGeom>
          <a:noFill/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smtClean="0"/>
              <a:t>Please insert Unrestrictedity 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2" name="Group 81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83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84" name="Group 83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85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6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7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8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9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0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1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2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1131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9362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2979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488269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74123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87391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557337"/>
            <a:ext cx="5472112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557337"/>
            <a:ext cx="5472000" cy="2232025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22669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2124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557337"/>
            <a:ext cx="5904000" cy="4643437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834757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933825"/>
            <a:ext cx="5472000" cy="194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58909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11705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360045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557337"/>
            <a:ext cx="3600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557337"/>
            <a:ext cx="3600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114728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557337"/>
            <a:ext cx="5472112" cy="22320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933825"/>
            <a:ext cx="5472112" cy="22669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41979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3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6000" y="1588"/>
            <a:ext cx="12324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1" name="Group 80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82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83" name="Group 82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84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5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6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7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8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9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0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1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765862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42740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12179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6768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98152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4032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557337"/>
            <a:ext cx="4032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732671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2592000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557337"/>
            <a:ext cx="2736775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557337"/>
            <a:ext cx="2592387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2453120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8208962" cy="223202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933825"/>
            <a:ext cx="8208962" cy="22669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557336"/>
            <a:ext cx="1295999" cy="4643439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537784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4032000" cy="223202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557337"/>
            <a:ext cx="4032000" cy="223202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933824"/>
            <a:ext cx="4032000" cy="2266951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933824"/>
            <a:ext cx="4032000" cy="2266951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557337"/>
            <a:ext cx="1295999" cy="464343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225597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ADBEC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9559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5798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platzhalter 8" descr="Kontakt_IC.jpg"/>
          <p:cNvPicPr>
            <a:picLocks noChangeAspect="1"/>
          </p:cNvPicPr>
          <p:nvPr userDrawn="1"/>
        </p:nvPicPr>
        <p:blipFill>
          <a:blip r:embed="rId11"/>
          <a:srcRect l="1181"/>
          <a:stretch>
            <a:fillRect/>
          </a:stretch>
        </p:blipFill>
        <p:spPr bwMode="auto">
          <a:xfrm>
            <a:off x="0" y="1412875"/>
            <a:ext cx="4521011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dtRectangle 2 Id5"/>
          <p:cNvSpPr/>
          <p:nvPr userDrawn="1"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7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63460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dirty="0" smtClean="0"/>
              <a:t>Inhaltsverzeichnis / Kontakt durch Klicken bearbeiten</a:t>
            </a:r>
          </a:p>
          <a:p>
            <a:pPr lvl="1"/>
            <a:r>
              <a:rPr lang="de-DE" dirty="0" smtClean="0"/>
              <a:t>Kapitel</a:t>
            </a:r>
          </a:p>
          <a:p>
            <a:pPr lvl="2"/>
            <a:r>
              <a:rPr lang="de-DE" dirty="0" smtClean="0"/>
              <a:t>Aktives Kapitel</a:t>
            </a:r>
          </a:p>
          <a:p>
            <a:pPr lvl="3"/>
            <a:r>
              <a:rPr lang="de-DE" dirty="0" smtClean="0"/>
              <a:t>Unterkapitel</a:t>
            </a:r>
          </a:p>
          <a:p>
            <a:pPr lvl="4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81" name="Group 80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82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83" name="Group 82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84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5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6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7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8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9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0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1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45176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0863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7484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1_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37255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1_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6206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8568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4914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8868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9633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9247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4804025" y="1388857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27063" y="3860799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8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dirty="0" smtClean="0"/>
              <a:t>Navigationstext durch Klicken bearbeiten</a:t>
            </a:r>
          </a:p>
          <a:p>
            <a:pPr lvl="1"/>
            <a:r>
              <a:rPr lang="de-DE" dirty="0" smtClean="0"/>
              <a:t>Aktives Kapitel</a:t>
            </a:r>
          </a:p>
          <a:p>
            <a:pPr lvl="2"/>
            <a:r>
              <a:rPr lang="de-DE" dirty="0" smtClean="0"/>
              <a:t>Unterkapitel</a:t>
            </a:r>
          </a:p>
          <a:p>
            <a:pPr lvl="3"/>
            <a:r>
              <a:rPr lang="de-DE" dirty="0" smtClean="0"/>
              <a:t>Aktives Unterkapitel</a:t>
            </a:r>
          </a:p>
          <a:p>
            <a:pPr lvl="4"/>
            <a:r>
              <a:rPr lang="de-DE" dirty="0" smtClean="0"/>
              <a:t>Unterkapitel</a:t>
            </a:r>
          </a:p>
          <a:p>
            <a:pPr lvl="5"/>
            <a:r>
              <a:rPr lang="de-DE" dirty="0" smtClean="0"/>
              <a:t>Aktives Unterkapitel</a:t>
            </a:r>
            <a:endParaRPr lang="en-US" dirty="0"/>
          </a:p>
        </p:txBody>
      </p:sp>
    </p:spTree>
    <p:custDataLst>
      <p:custData r:id="rId2"/>
    </p:custData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1_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8" descr="Kontakt_IC.jpg"/>
          <p:cNvPicPr>
            <a:picLocks noChangeAspect="1"/>
          </p:cNvPicPr>
          <p:nvPr userDrawn="1"/>
        </p:nvPicPr>
        <p:blipFill>
          <a:blip r:embed="rId7"/>
          <a:srcRect l="1181"/>
          <a:stretch>
            <a:fillRect/>
          </a:stretch>
        </p:blipFill>
        <p:spPr bwMode="auto">
          <a:xfrm>
            <a:off x="0" y="1412875"/>
            <a:ext cx="4521011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81" name="Group 80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82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83" name="Group 82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84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5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6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7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8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9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0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1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03636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1_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46619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1_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6" name="Bildplatzhalter 12" descr="Image_IHV_Kontakt.jpg"/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8"/>
          <a:stretch>
            <a:fillRect/>
          </a:stretch>
        </p:blipFill>
        <p:spPr bwMode="ltGray">
          <a:xfrm>
            <a:off x="0" y="1414800"/>
            <a:ext cx="4514977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1_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1_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557337"/>
            <a:ext cx="3887914" cy="464343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557338"/>
            <a:ext cx="7539355" cy="4644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4910615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 smtClean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85012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8000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to add core message of slide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22162" y="1412875"/>
            <a:ext cx="10948866" cy="27699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 smtClean="0"/>
              <a:t>Title (description of slide content), Arial 14 </a:t>
            </a:r>
            <a:r>
              <a:rPr lang="en-GB" noProof="0" dirty="0" err="1" smtClean="0"/>
              <a:t>pt</a:t>
            </a:r>
            <a:r>
              <a:rPr lang="en-GB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126093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59570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6000" y="1588"/>
            <a:ext cx="12324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smtClean="0"/>
              <a:t>Please insert Unrestrictedity 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2" name="Group 81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83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84" name="Group 83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85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6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7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8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89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0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1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92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55685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22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5200" b="1" i="0" baseline="0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5" name="Picture 2" descr="D:\Geschaeft\Messen-Intertraffic\2016 Intertraffic\Intertraffic2016_KeyVisual.jpg"/>
          <p:cNvPicPr>
            <a:picLocks noChangeAspect="1" noChangeArrowheads="1"/>
          </p:cNvPicPr>
          <p:nvPr userDrawn="1"/>
        </p:nvPicPr>
        <p:blipFill>
          <a:blip r:embed="rId8"/>
          <a:srcRect l="16228" r="8080"/>
          <a:stretch>
            <a:fillRect/>
          </a:stretch>
        </p:blipFill>
        <p:spPr bwMode="auto">
          <a:xfrm>
            <a:off x="-21505" y="-62616"/>
            <a:ext cx="12245003" cy="6984000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 bwMode="ltGray">
          <a:xfrm>
            <a:off x="-21505" y="4733378"/>
            <a:ext cx="12245003" cy="1488684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kern="0" dirty="0">
              <a:solidFill>
                <a:srgbClr val="FFFFFF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84" y="4745785"/>
            <a:ext cx="9606201" cy="1463870"/>
          </a:xfrm>
        </p:spPr>
        <p:txBody>
          <a:bodyPr lIns="432000" tIns="396000" bIns="396000" anchor="ctr">
            <a:normAutofit/>
          </a:bodyPr>
          <a:lstStyle>
            <a:lvl1pPr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02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655313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557337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46158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875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tags" Target="../tags/tag7.xml"/><Relationship Id="rId84" Type="http://schemas.openxmlformats.org/officeDocument/2006/relationships/tags" Target="../tags/tag15.xml"/><Relationship Id="rId89" Type="http://schemas.openxmlformats.org/officeDocument/2006/relationships/tags" Target="../tags/tag20.xml"/><Relationship Id="rId97" Type="http://schemas.openxmlformats.org/officeDocument/2006/relationships/tags" Target="../tags/tag28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Relationship Id="rId92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5.xml"/><Relationship Id="rId79" Type="http://schemas.openxmlformats.org/officeDocument/2006/relationships/tags" Target="../tags/tag10.xml"/><Relationship Id="rId87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13.xml"/><Relationship Id="rId90" Type="http://schemas.openxmlformats.org/officeDocument/2006/relationships/tags" Target="../tags/tag21.xml"/><Relationship Id="rId95" Type="http://schemas.openxmlformats.org/officeDocument/2006/relationships/tags" Target="../tags/tag26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tags" Target="../tags/tag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3.xml"/><Relationship Id="rId80" Type="http://schemas.openxmlformats.org/officeDocument/2006/relationships/tags" Target="../tags/tag11.xml"/><Relationship Id="rId85" Type="http://schemas.openxmlformats.org/officeDocument/2006/relationships/tags" Target="../tags/tag16.xml"/><Relationship Id="rId93" Type="http://schemas.openxmlformats.org/officeDocument/2006/relationships/tags" Target="../tags/tag24.xml"/><Relationship Id="rId98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75" Type="http://schemas.openxmlformats.org/officeDocument/2006/relationships/tags" Target="../tags/tag6.xml"/><Relationship Id="rId83" Type="http://schemas.openxmlformats.org/officeDocument/2006/relationships/tags" Target="../tags/tag14.xml"/><Relationship Id="rId88" Type="http://schemas.openxmlformats.org/officeDocument/2006/relationships/tags" Target="../tags/tag19.xml"/><Relationship Id="rId91" Type="http://schemas.openxmlformats.org/officeDocument/2006/relationships/tags" Target="../tags/tag22.xml"/><Relationship Id="rId96" Type="http://schemas.openxmlformats.org/officeDocument/2006/relationships/tags" Target="../tags/tag2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4.xml"/><Relationship Id="rId78" Type="http://schemas.openxmlformats.org/officeDocument/2006/relationships/tags" Target="../tags/tag9.xml"/><Relationship Id="rId81" Type="http://schemas.openxmlformats.org/officeDocument/2006/relationships/tags" Target="../tags/tag12.xml"/><Relationship Id="rId86" Type="http://schemas.openxmlformats.org/officeDocument/2006/relationships/tags" Target="../tags/tag17.xml"/><Relationship Id="rId94" Type="http://schemas.openxmlformats.org/officeDocument/2006/relationships/tags" Target="../tags/tag25.xml"/><Relationship Id="rId99" Type="http://schemas.openxmlformats.org/officeDocument/2006/relationships/tags" Target="../tags/tag3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1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72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7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7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7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7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7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7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7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8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8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8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8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8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8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8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8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8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8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9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9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9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9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9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9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96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smtClean="0">
                <a:solidFill>
                  <a:srgbClr val="879BAA"/>
                </a:solidFill>
              </a:rPr>
              <a:t>Unrestricted © Siemens AG 2018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 userDrawn="1">
            <p:custDataLst>
              <p:tags r:id="rId97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02/11/2018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98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99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Philip Manning </a:t>
            </a:r>
            <a:r>
              <a:rPr lang="de-DE" sz="1000" baseline="0" dirty="0" smtClean="0">
                <a:solidFill>
                  <a:srgbClr val="000000"/>
                </a:solidFill>
              </a:rPr>
              <a:t>– </a:t>
            </a:r>
            <a:r>
              <a:rPr lang="de-DE" sz="1000" dirty="0" smtClean="0">
                <a:solidFill>
                  <a:srgbClr val="000000"/>
                </a:solidFill>
              </a:rPr>
              <a:t>Siemens</a:t>
            </a:r>
            <a:r>
              <a:rPr lang="de-DE" sz="1000" baseline="0" dirty="0" smtClean="0">
                <a:solidFill>
                  <a:srgbClr val="000000"/>
                </a:solidFill>
              </a:rPr>
              <a:t> Mobility </a:t>
            </a:r>
            <a:r>
              <a:rPr lang="de-DE" sz="1000" dirty="0" smtClean="0">
                <a:solidFill>
                  <a:srgbClr val="000000"/>
                </a:solidFill>
              </a:rPr>
              <a:t>ITS - ANZ</a:t>
            </a:r>
          </a:p>
        </p:txBody>
      </p:sp>
      <p:grpSp>
        <p:nvGrpSpPr>
          <p:cNvPr id="67" name="Group 66"/>
          <p:cNvGrpSpPr/>
          <p:nvPr userDrawn="1"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68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69" name="Group 68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70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1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2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3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4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5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6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77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5216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678" r:id="rId28"/>
    <p:sldLayoutId id="2147483679" r:id="rId29"/>
    <p:sldLayoutId id="2147483683" r:id="rId30"/>
    <p:sldLayoutId id="2147483681" r:id="rId31"/>
    <p:sldLayoutId id="2147483691" r:id="rId32"/>
    <p:sldLayoutId id="2147483693" r:id="rId33"/>
    <p:sldLayoutId id="2147483684" r:id="rId34"/>
    <p:sldLayoutId id="2147483685" r:id="rId35"/>
    <p:sldLayoutId id="2147483694" r:id="rId36"/>
    <p:sldLayoutId id="2147483686" r:id="rId37"/>
    <p:sldLayoutId id="2147483688" r:id="rId38"/>
    <p:sldLayoutId id="2147483736" r:id="rId39"/>
    <p:sldLayoutId id="2147483737" r:id="rId40"/>
    <p:sldLayoutId id="2147483738" r:id="rId41"/>
    <p:sldLayoutId id="2147483739" r:id="rId42"/>
    <p:sldLayoutId id="2147483740" r:id="rId43"/>
    <p:sldLayoutId id="2147483741" r:id="rId44"/>
    <p:sldLayoutId id="2147483742" r:id="rId45"/>
    <p:sldLayoutId id="2147483743" r:id="rId46"/>
    <p:sldLayoutId id="2147483744" r:id="rId47"/>
    <p:sldLayoutId id="2147483745" r:id="rId48"/>
    <p:sldLayoutId id="2147483746" r:id="rId49"/>
    <p:sldLayoutId id="2147483747" r:id="rId50"/>
    <p:sldLayoutId id="2147483749" r:id="rId51"/>
    <p:sldLayoutId id="2147483758" r:id="rId52"/>
    <p:sldLayoutId id="2147483759" r:id="rId53"/>
    <p:sldLayoutId id="2147483764" r:id="rId54"/>
    <p:sldLayoutId id="2147483765" r:id="rId55"/>
    <p:sldLayoutId id="2147483767" r:id="rId56"/>
    <p:sldLayoutId id="2147483768" r:id="rId57"/>
    <p:sldLayoutId id="2147483769" r:id="rId58"/>
    <p:sldLayoutId id="2147483770" r:id="rId59"/>
    <p:sldLayoutId id="2147483771" r:id="rId60"/>
    <p:sldLayoutId id="2147483772" r:id="rId61"/>
    <p:sldLayoutId id="2147483773" r:id="rId62"/>
    <p:sldLayoutId id="2147483774" r:id="rId63"/>
    <p:sldLayoutId id="2147483775" r:id="rId64"/>
    <p:sldLayoutId id="2147483776" r:id="rId65"/>
    <p:sldLayoutId id="2147483777" r:id="rId66"/>
    <p:sldLayoutId id="2147483703" r:id="rId67"/>
    <p:sldLayoutId id="2147483778" r:id="rId68"/>
    <p:sldLayoutId id="2147483808" r:id="rId69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1.emf"/><Relationship Id="rId2" Type="http://schemas.openxmlformats.org/officeDocument/2006/relationships/tags" Target="../tags/tag2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250.xml"/><Relationship Id="rId7" Type="http://schemas.openxmlformats.org/officeDocument/2006/relationships/image" Target="../media/image1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2.xml"/><Relationship Id="rId7" Type="http://schemas.openxmlformats.org/officeDocument/2006/relationships/oleObject" Target="../embeddings/oleObject24.bin"/><Relationship Id="rId2" Type="http://schemas.openxmlformats.org/officeDocument/2006/relationships/tags" Target="../tags/tag251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53.xml"/><Relationship Id="rId9" Type="http://schemas.openxmlformats.org/officeDocument/2006/relationships/image" Target="../media/image3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tags" Target="../tags/tag255.xml"/><Relationship Id="rId21" Type="http://schemas.openxmlformats.org/officeDocument/2006/relationships/image" Target="../media/image40.png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image" Target="../media/image36.png"/><Relationship Id="rId25" Type="http://schemas.openxmlformats.org/officeDocument/2006/relationships/image" Target="../media/image44.jpeg"/><Relationship Id="rId2" Type="http://schemas.openxmlformats.org/officeDocument/2006/relationships/tags" Target="../tags/tag254.xml"/><Relationship Id="rId16" Type="http://schemas.openxmlformats.org/officeDocument/2006/relationships/image" Target="../media/image35.emf"/><Relationship Id="rId20" Type="http://schemas.openxmlformats.org/officeDocument/2006/relationships/image" Target="../media/image39.png"/><Relationship Id="rId1" Type="http://schemas.openxmlformats.org/officeDocument/2006/relationships/vmlDrawing" Target="../drawings/vmlDrawing25.v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24" Type="http://schemas.openxmlformats.org/officeDocument/2006/relationships/image" Target="../media/image43.png"/><Relationship Id="rId5" Type="http://schemas.openxmlformats.org/officeDocument/2006/relationships/tags" Target="../tags/tag257.xml"/><Relationship Id="rId15" Type="http://schemas.openxmlformats.org/officeDocument/2006/relationships/oleObject" Target="../embeddings/oleObject25.bin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tags" Target="../tags/tag262.xml"/><Relationship Id="rId19" Type="http://schemas.openxmlformats.org/officeDocument/2006/relationships/image" Target="../media/image38.png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notesSlide" Target="../notesSlides/notesSlide12.xml"/><Relationship Id="rId22" Type="http://schemas.openxmlformats.org/officeDocument/2006/relationships/image" Target="../media/image41.png"/><Relationship Id="rId27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48.emf"/><Relationship Id="rId2" Type="http://schemas.openxmlformats.org/officeDocument/2006/relationships/tags" Target="../tags/tag265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13" Type="http://schemas.openxmlformats.org/officeDocument/2006/relationships/tags" Target="../tags/tag278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tags" Target="../tags/tag277.xml"/><Relationship Id="rId17" Type="http://schemas.openxmlformats.org/officeDocument/2006/relationships/image" Target="../media/image49.png"/><Relationship Id="rId2" Type="http://schemas.openxmlformats.org/officeDocument/2006/relationships/tags" Target="../tags/tag267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27.vml"/><Relationship Id="rId6" Type="http://schemas.openxmlformats.org/officeDocument/2006/relationships/tags" Target="../tags/tag271.xml"/><Relationship Id="rId11" Type="http://schemas.openxmlformats.org/officeDocument/2006/relationships/tags" Target="../tags/tag276.xml"/><Relationship Id="rId5" Type="http://schemas.openxmlformats.org/officeDocument/2006/relationships/tags" Target="../tags/tag270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275.xml"/><Relationship Id="rId4" Type="http://schemas.openxmlformats.org/officeDocument/2006/relationships/tags" Target="../tags/tag269.xml"/><Relationship Id="rId9" Type="http://schemas.openxmlformats.org/officeDocument/2006/relationships/tags" Target="../tags/tag274.xml"/><Relationship Id="rId1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280.xml"/><Relationship Id="rId7" Type="http://schemas.openxmlformats.org/officeDocument/2006/relationships/image" Target="../media/image1.emf"/><Relationship Id="rId2" Type="http://schemas.openxmlformats.org/officeDocument/2006/relationships/tags" Target="../tags/tag27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282.xml"/><Relationship Id="rId7" Type="http://schemas.openxmlformats.org/officeDocument/2006/relationships/image" Target="../media/image1.emf"/><Relationship Id="rId2" Type="http://schemas.openxmlformats.org/officeDocument/2006/relationships/tags" Target="../tags/tag28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philip.manning@siemens.com" TargetMode="External"/><Relationship Id="rId3" Type="http://schemas.openxmlformats.org/officeDocument/2006/relationships/tags" Target="../tags/tag284.xml"/><Relationship Id="rId7" Type="http://schemas.openxmlformats.org/officeDocument/2006/relationships/image" Target="../media/image1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1.jpeg"/><Relationship Id="rId3" Type="http://schemas.openxmlformats.org/officeDocument/2006/relationships/tags" Target="../tags/tag233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0.jpeg"/><Relationship Id="rId2" Type="http://schemas.openxmlformats.org/officeDocument/2006/relationships/tags" Target="../tags/tag23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6.vml"/><Relationship Id="rId6" Type="http://schemas.openxmlformats.org/officeDocument/2006/relationships/tags" Target="../tags/tag236.xml"/><Relationship Id="rId11" Type="http://schemas.openxmlformats.org/officeDocument/2006/relationships/image" Target="../media/image9.jpeg"/><Relationship Id="rId5" Type="http://schemas.openxmlformats.org/officeDocument/2006/relationships/tags" Target="../tags/tag235.xml"/><Relationship Id="rId15" Type="http://schemas.openxmlformats.org/officeDocument/2006/relationships/image" Target="../media/image13.jpeg"/><Relationship Id="rId10" Type="http://schemas.openxmlformats.org/officeDocument/2006/relationships/image" Target="../media/image8.emf"/><Relationship Id="rId4" Type="http://schemas.openxmlformats.org/officeDocument/2006/relationships/tags" Target="../tags/tag234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239.xml"/><Relationship Id="rId7" Type="http://schemas.openxmlformats.org/officeDocument/2006/relationships/image" Target="../media/image8.emf"/><Relationship Id="rId12" Type="http://schemas.openxmlformats.org/officeDocument/2006/relationships/image" Target="../media/image22.jpeg"/><Relationship Id="rId2" Type="http://schemas.openxmlformats.org/officeDocument/2006/relationships/tags" Target="../tags/tag23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1.xml"/><Relationship Id="rId7" Type="http://schemas.openxmlformats.org/officeDocument/2006/relationships/image" Target="../media/image1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tags" Target="../tags/tag243.xml"/><Relationship Id="rId7" Type="http://schemas.openxmlformats.org/officeDocument/2006/relationships/image" Target="../media/image1.emf"/><Relationship Id="rId12" Type="http://schemas.openxmlformats.org/officeDocument/2006/relationships/image" Target="../media/image27.png"/><Relationship Id="rId2" Type="http://schemas.openxmlformats.org/officeDocument/2006/relationships/tags" Target="../tags/tag24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.emf"/><Relationship Id="rId2" Type="http://schemas.openxmlformats.org/officeDocument/2006/relationships/tags" Target="../tags/tag24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7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46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378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4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1" y="2815851"/>
            <a:ext cx="8416927" cy="2986644"/>
          </a:xfrm>
        </p:spPr>
        <p:txBody>
          <a:bodyPr/>
          <a:lstStyle/>
          <a:p>
            <a:r>
              <a:rPr lang="en-US" sz="3600" dirty="0" smtClean="0"/>
              <a:t>Signals NZ User </a:t>
            </a:r>
            <a:r>
              <a:rPr lang="en-US" sz="3600" smtClean="0"/>
              <a:t>Group </a:t>
            </a:r>
            <a:br>
              <a:rPr lang="en-US" sz="3600" smtClean="0"/>
            </a:br>
            <a:r>
              <a:rPr lang="en-US" sz="3600" smtClean="0"/>
              <a:t>Conference Hamilton 2018 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800" b="0" noProof="0" dirty="0" smtClean="0"/>
              <a:t/>
            </a:r>
            <a:br>
              <a:rPr lang="en-US" sz="1800" b="0" noProof="0" dirty="0" smtClean="0"/>
            </a:br>
            <a:r>
              <a:rPr lang="en-US" sz="2000" noProof="0" dirty="0" smtClean="0"/>
              <a:t>Philip Manning </a:t>
            </a:r>
            <a:r>
              <a:rPr lang="en-US" sz="2000" dirty="0" smtClean="0"/>
              <a:t> </a:t>
            </a:r>
            <a:br>
              <a:rPr lang="en-US" sz="2000" dirty="0" smtClean="0"/>
            </a:br>
            <a:r>
              <a:rPr lang="en-US" sz="2000" dirty="0" smtClean="0"/>
              <a:t>Siemens Mobility ITS - ANZ  </a:t>
            </a:r>
            <a:endParaRPr lang="en-US" sz="2000" b="0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6760873" cy="324000"/>
          </a:xfrm>
        </p:spPr>
        <p:txBody>
          <a:bodyPr/>
          <a:lstStyle/>
          <a:p>
            <a:r>
              <a:rPr lang="en-US" noProof="0" dirty="0" smtClean="0"/>
              <a:t>siemens.com/traffic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Unrestricted © Siemens AG 2018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966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71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5" name="Picture 79" descr="C:\Users\z0035dbp\Desktop\London\488471764.jpg">
            <a:extLst>
              <a:ext uri="{FF2B5EF4-FFF2-40B4-BE49-F238E27FC236}">
                <a16:creationId xmlns="" xmlns:a16="http://schemas.microsoft.com/office/drawing/2014/main" id="{8CF13D58-F229-4A2B-8738-02617F173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" t="-398" r="266" b="509"/>
          <a:stretch/>
        </p:blipFill>
        <p:spPr bwMode="auto">
          <a:xfrm>
            <a:off x="-138166" y="-87087"/>
            <a:ext cx="13132257" cy="69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 bwMode="ltGray">
          <a:xfrm>
            <a:off x="-138165" y="4733378"/>
            <a:ext cx="13132256" cy="1488684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kern="0" dirty="0">
              <a:solidFill>
                <a:srgbClr val="FFFFFF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7284" y="4745785"/>
            <a:ext cx="9606201" cy="1463870"/>
          </a:xfrm>
          <a:prstGeom prst="rect">
            <a:avLst/>
          </a:prstGeom>
        </p:spPr>
        <p:txBody>
          <a:bodyPr lIns="432000" tIns="396000" bIns="39600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5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4700" kern="0" dirty="0"/>
              <a:t>What is </a:t>
            </a:r>
            <a:r>
              <a:rPr lang="en-US" sz="4700" kern="0" dirty="0" smtClean="0"/>
              <a:t> </a:t>
            </a:r>
            <a:r>
              <a:rPr lang="en-US" sz="4700" kern="0" dirty="0"/>
              <a:t/>
            </a:r>
            <a:br>
              <a:rPr lang="en-US" sz="4700" kern="0" dirty="0"/>
            </a:br>
            <a:r>
              <a:rPr lang="en-US" sz="4700" kern="0" dirty="0"/>
              <a:t>Real-Time </a:t>
            </a:r>
            <a:r>
              <a:rPr lang="en-AU" sz="4700" kern="0" dirty="0" smtClean="0"/>
              <a:t>Optimiser</a:t>
            </a:r>
            <a:r>
              <a:rPr lang="en-US" sz="4700" kern="0" dirty="0" smtClean="0"/>
              <a:t> </a:t>
            </a:r>
            <a:r>
              <a:rPr lang="en-US" sz="4700" kern="0" dirty="0"/>
              <a:t>(RTO)?</a:t>
            </a:r>
          </a:p>
        </p:txBody>
      </p:sp>
    </p:spTree>
    <p:extLst>
      <p:ext uri="{BB962C8B-B14F-4D97-AF65-F5344CB8AC3E}">
        <p14:creationId xmlns:p14="http://schemas.microsoft.com/office/powerpoint/2010/main" val="44922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0" name="Object 2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0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Rectangle 2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TO is a network adaptive control system that is </a:t>
            </a:r>
            <a:br>
              <a:rPr lang="en-US" dirty="0" smtClean="0"/>
            </a:br>
            <a:r>
              <a:rPr lang="en-US" dirty="0" smtClean="0"/>
              <a:t>jointly developed by Transport for London (TfL) &amp; Sieme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 bwMode="auto">
          <a:xfrm>
            <a:off x="3804299" y="1448931"/>
            <a:ext cx="4683065" cy="4751997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wrap="square" lIns="540000" tIns="356616" rIns="540000" bIns="540000" anchor="t" anchorCtr="0">
            <a:noAutofit/>
          </a:bodyPr>
          <a:lstStyle/>
          <a:p>
            <a:pPr algn="ctr">
              <a:lnSpc>
                <a:spcPct val="110000"/>
              </a:lnSpc>
              <a:spcBef>
                <a:spcPts val="1800"/>
              </a:spcBef>
            </a:pPr>
            <a:r>
              <a:rPr lang="en-US" sz="2400" b="1" dirty="0" smtClean="0">
                <a:solidFill>
                  <a:schemeClr val="bg1"/>
                </a:solidFill>
              </a:rPr>
              <a:t/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Joint </a:t>
            </a:r>
            <a:r>
              <a:rPr lang="en-US" sz="2400" b="1" dirty="0">
                <a:solidFill>
                  <a:schemeClr val="bg1"/>
                </a:solidFill>
              </a:rPr>
              <a:t>development </a:t>
            </a:r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of </a:t>
            </a:r>
            <a:r>
              <a:rPr lang="en-US" sz="2400" dirty="0">
                <a:solidFill>
                  <a:schemeClr val="bg1"/>
                </a:solidFill>
              </a:rPr>
              <a:t>a </a:t>
            </a:r>
            <a:r>
              <a:rPr lang="en-US" sz="2400" dirty="0" smtClean="0">
                <a:solidFill>
                  <a:schemeClr val="bg1"/>
                </a:solidFill>
              </a:rPr>
              <a:t>new </a:t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network </a:t>
            </a:r>
            <a:r>
              <a:rPr lang="en-US" sz="2400" b="1" dirty="0">
                <a:solidFill>
                  <a:schemeClr val="bg1"/>
                </a:solidFill>
              </a:rPr>
              <a:t>adaptive </a:t>
            </a:r>
            <a:r>
              <a:rPr lang="en-US" sz="2400" b="1" dirty="0" smtClean="0">
                <a:solidFill>
                  <a:schemeClr val="bg1"/>
                </a:solidFill>
              </a:rPr>
              <a:t/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control </a:t>
            </a:r>
            <a:r>
              <a:rPr lang="en-US" sz="2400" b="1" dirty="0">
                <a:solidFill>
                  <a:schemeClr val="bg1"/>
                </a:solidFill>
              </a:rPr>
              <a:t>system </a:t>
            </a:r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in an </a:t>
            </a:r>
            <a:r>
              <a:rPr lang="en-US" sz="2400" b="1" dirty="0" smtClean="0">
                <a:solidFill>
                  <a:schemeClr val="bg1"/>
                </a:solidFill>
              </a:rPr>
              <a:t>agile 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development process </a:t>
            </a:r>
            <a:r>
              <a:rPr lang="en-US" sz="2400" dirty="0">
                <a:solidFill>
                  <a:schemeClr val="bg1"/>
                </a:solidFill>
              </a:rPr>
              <a:t/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 smtClean="0">
                <a:solidFill>
                  <a:schemeClr val="bg1"/>
                </a:solidFill>
              </a:rPr>
              <a:t>and </a:t>
            </a:r>
            <a:r>
              <a:rPr lang="en-US" sz="2400" b="1" dirty="0" smtClean="0">
                <a:solidFill>
                  <a:schemeClr val="bg1"/>
                </a:solidFill>
              </a:rPr>
              <a:t>co-ownership</a:t>
            </a:r>
          </a:p>
        </p:txBody>
      </p:sp>
      <p:sp>
        <p:nvSpPr>
          <p:cNvPr id="4" name="Richtungspfeil 29"/>
          <p:cNvSpPr>
            <a:spLocks/>
          </p:cNvSpPr>
          <p:nvPr/>
        </p:nvSpPr>
        <p:spPr bwMode="gray">
          <a:xfrm>
            <a:off x="-11872" y="1448932"/>
            <a:ext cx="4572000" cy="4751996"/>
          </a:xfrm>
          <a:prstGeom prst="homePlate">
            <a:avLst>
              <a:gd name="adj" fmla="val 11749"/>
            </a:avLst>
          </a:prstGeom>
          <a:solidFill>
            <a:srgbClr val="DFE6ED"/>
          </a:solidFill>
          <a:ln w="9525" cap="flat" cmpd="sng" algn="ctr">
            <a:solidFill>
              <a:srgbClr val="DFE6E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626400" tIns="360000" rIns="1080000" bIns="360000" numCol="1" spcCol="72000" rtlCol="0" anchor="t">
            <a:noAutofit/>
          </a:bodyPr>
          <a:lstStyle/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2000" b="1" dirty="0" smtClean="0">
                <a:solidFill>
                  <a:srgbClr val="00646E"/>
                </a:solidFill>
              </a:rPr>
              <a:t>What Siemens brings</a:t>
            </a:r>
          </a:p>
          <a:p>
            <a:pPr lvl="1"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1600" kern="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1600" kern="0" dirty="0">
                <a:solidFill>
                  <a:srgbClr val="000000"/>
                </a:solidFill>
              </a:rPr>
              <a:t>Significant ITS and </a:t>
            </a:r>
            <a:r>
              <a:rPr lang="en-US" sz="1600" kern="0" dirty="0" smtClean="0">
                <a:solidFill>
                  <a:srgbClr val="000000"/>
                </a:solidFill>
              </a:rPr>
              <a:t/>
            </a:r>
            <a:br>
              <a:rPr lang="en-US" sz="1600" kern="0" dirty="0" smtClean="0">
                <a:solidFill>
                  <a:srgbClr val="000000"/>
                </a:solidFill>
              </a:rPr>
            </a:br>
            <a:r>
              <a:rPr lang="en-US" sz="1600" kern="0" dirty="0" smtClean="0">
                <a:solidFill>
                  <a:srgbClr val="000000"/>
                </a:solidFill>
              </a:rPr>
              <a:t>Mobility knowledge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1600" kern="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1600" kern="0" dirty="0">
                <a:solidFill>
                  <a:srgbClr val="000000"/>
                </a:solidFill>
              </a:rPr>
              <a:t>Local and </a:t>
            </a:r>
            <a:r>
              <a:rPr lang="en-US" sz="1600" kern="0" dirty="0" smtClean="0">
                <a:solidFill>
                  <a:srgbClr val="000000"/>
                </a:solidFill>
              </a:rPr>
              <a:t>global </a:t>
            </a:r>
            <a:r>
              <a:rPr lang="en-US" sz="1600" kern="0" dirty="0">
                <a:solidFill>
                  <a:srgbClr val="000000"/>
                </a:solidFill>
              </a:rPr>
              <a:t>f</a:t>
            </a:r>
            <a:r>
              <a:rPr lang="en-US" sz="1600" kern="0" dirty="0" smtClean="0">
                <a:solidFill>
                  <a:srgbClr val="000000"/>
                </a:solidFill>
              </a:rPr>
              <a:t>ootprint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1600" kern="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1600" kern="0" dirty="0">
                <a:solidFill>
                  <a:srgbClr val="000000"/>
                </a:solidFill>
              </a:rPr>
              <a:t>Financial </a:t>
            </a:r>
            <a:r>
              <a:rPr lang="en-US" sz="1600" kern="0" dirty="0" smtClean="0">
                <a:solidFill>
                  <a:srgbClr val="000000"/>
                </a:solidFill>
              </a:rPr>
              <a:t>commitment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1600" kern="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1600" kern="0" dirty="0">
                <a:solidFill>
                  <a:srgbClr val="000000"/>
                </a:solidFill>
              </a:rPr>
              <a:t>Data analytics expertise </a:t>
            </a:r>
            <a:r>
              <a:rPr lang="en-US" sz="1600" kern="0" dirty="0" smtClean="0">
                <a:solidFill>
                  <a:srgbClr val="000000"/>
                </a:solidFill>
              </a:rPr>
              <a:t>&amp; </a:t>
            </a:r>
            <a:r>
              <a:rPr lang="en-US" sz="1600" kern="0" dirty="0">
                <a:solidFill>
                  <a:srgbClr val="000000"/>
                </a:solidFill>
              </a:rPr>
              <a:t>traffic domain </a:t>
            </a:r>
            <a:r>
              <a:rPr lang="en-US" sz="1600" kern="0" dirty="0" smtClean="0">
                <a:solidFill>
                  <a:srgbClr val="000000"/>
                </a:solidFill>
              </a:rPr>
              <a:t>know-how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1600" kern="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1600" kern="0" dirty="0">
                <a:solidFill>
                  <a:srgbClr val="000000"/>
                </a:solidFill>
              </a:rPr>
              <a:t>Agile development &amp; rapid prototyping </a:t>
            </a:r>
            <a:r>
              <a:rPr lang="en-US" sz="1600" kern="0" dirty="0" smtClean="0">
                <a:solidFill>
                  <a:srgbClr val="000000"/>
                </a:solidFill>
              </a:rPr>
              <a:t>team</a:t>
            </a: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5" name="Richtungspfeil 29"/>
          <p:cNvSpPr>
            <a:spLocks/>
          </p:cNvSpPr>
          <p:nvPr/>
        </p:nvSpPr>
        <p:spPr bwMode="gray">
          <a:xfrm flipH="1">
            <a:off x="7893697" y="1448931"/>
            <a:ext cx="4304651" cy="4751997"/>
          </a:xfrm>
          <a:prstGeom prst="homePlate">
            <a:avLst>
              <a:gd name="adj" fmla="val 11749"/>
            </a:avLst>
          </a:prstGeom>
          <a:solidFill>
            <a:srgbClr val="DFE6ED"/>
          </a:solidFill>
          <a:ln w="9525" cap="flat" cmpd="sng" algn="ctr">
            <a:solidFill>
              <a:srgbClr val="DFE6E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260000" tIns="360000" rIns="432000" bIns="360000" numCol="1" spcCol="72000" rtlCol="0" anchor="t">
            <a:noAutofit/>
          </a:bodyPr>
          <a:lstStyle/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US" sz="2000" b="1" dirty="0" smtClean="0">
                <a:solidFill>
                  <a:srgbClr val="00646E"/>
                </a:solidFill>
              </a:rPr>
              <a:t>What TfL brings</a:t>
            </a:r>
            <a:endParaRPr lang="en-US" sz="2000" b="1" dirty="0">
              <a:solidFill>
                <a:srgbClr val="00646E"/>
              </a:solidFill>
            </a:endParaRPr>
          </a:p>
          <a:p>
            <a:pPr lvl="1">
              <a:spcBef>
                <a:spcPts val="600"/>
              </a:spcBef>
            </a:pPr>
            <a:endParaRPr lang="en-AU" sz="140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Operational experience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AU" sz="1600" kern="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AU" sz="1600" kern="0" dirty="0">
                <a:solidFill>
                  <a:srgbClr val="000000"/>
                </a:solidFill>
                <a:sym typeface="Wingdings" panose="05000000000000000000" pitchFamily="2" charset="2"/>
              </a:rPr>
              <a:t>Huge </a:t>
            </a: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install base</a:t>
            </a: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AU" sz="1600" kern="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AU" sz="1600" kern="0" dirty="0">
                <a:solidFill>
                  <a:srgbClr val="000000"/>
                </a:solidFill>
                <a:sym typeface="Wingdings" panose="05000000000000000000" pitchFamily="2" charset="2"/>
              </a:rPr>
              <a:t>Financial </a:t>
            </a: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engagement</a:t>
            </a:r>
            <a:endParaRPr lang="en-AU" sz="1600" kern="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AU" sz="1600" kern="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Commitment </a:t>
            </a:r>
            <a:r>
              <a:rPr lang="en-AU" sz="1600" kern="0" dirty="0">
                <a:solidFill>
                  <a:srgbClr val="000000"/>
                </a:solidFill>
                <a:sym typeface="Wingdings" panose="05000000000000000000" pitchFamily="2" charset="2"/>
              </a:rPr>
              <a:t>to </a:t>
            </a: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co-creation processes</a:t>
            </a:r>
            <a:endParaRPr lang="en-AU" sz="1600" kern="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AU" sz="1600" kern="0" dirty="0" smtClean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Vision </a:t>
            </a:r>
            <a:r>
              <a:rPr lang="en-AU" sz="1600" kern="0" dirty="0">
                <a:solidFill>
                  <a:srgbClr val="000000"/>
                </a:solidFill>
                <a:sym typeface="Wingdings" panose="05000000000000000000" pitchFamily="2" charset="2"/>
              </a:rPr>
              <a:t>for the </a:t>
            </a: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/>
            </a:r>
            <a:b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</a:b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future </a:t>
            </a:r>
            <a:r>
              <a:rPr lang="en-AU" sz="1600" kern="0" dirty="0">
                <a:solidFill>
                  <a:srgbClr val="000000"/>
                </a:solidFill>
                <a:sym typeface="Wingdings" panose="05000000000000000000" pitchFamily="2" charset="2"/>
              </a:rPr>
              <a:t>of </a:t>
            </a:r>
            <a:r>
              <a:rPr lang="en-AU" sz="1600" kern="0" dirty="0" smtClean="0">
                <a:solidFill>
                  <a:srgbClr val="000000"/>
                </a:solidFill>
                <a:sym typeface="Wingdings" panose="05000000000000000000" pitchFamily="2" charset="2"/>
              </a:rPr>
              <a:t>London</a:t>
            </a:r>
            <a:endParaRPr lang="en-AU" sz="1600" kern="0" dirty="0">
              <a:solidFill>
                <a:srgbClr val="000000"/>
              </a:solidFill>
              <a:sym typeface="Wingdings" panose="05000000000000000000" pitchFamily="2" charset="2"/>
            </a:endParaRPr>
          </a:p>
        </p:txBody>
      </p:sp>
      <p:sp>
        <p:nvSpPr>
          <p:cNvPr id="6" name="Eingekerbter Richtungspfeil 26"/>
          <p:cNvSpPr/>
          <p:nvPr/>
        </p:nvSpPr>
        <p:spPr bwMode="gray">
          <a:xfrm flipH="1">
            <a:off x="7816044" y="1412549"/>
            <a:ext cx="661988" cy="4808864"/>
          </a:xfrm>
          <a:prstGeom prst="chevron">
            <a:avLst>
              <a:gd name="adj" fmla="val 7860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7" name="Eingekerbter Richtungspfeil 26"/>
          <p:cNvSpPr/>
          <p:nvPr/>
        </p:nvSpPr>
        <p:spPr bwMode="gray">
          <a:xfrm>
            <a:off x="3944263" y="1412549"/>
            <a:ext cx="661988" cy="4808864"/>
          </a:xfrm>
          <a:prstGeom prst="chevron">
            <a:avLst>
              <a:gd name="adj" fmla="val 7860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1" name="Eingekerbter Richtungspfeil 10"/>
          <p:cNvSpPr/>
          <p:nvPr/>
        </p:nvSpPr>
        <p:spPr bwMode="auto">
          <a:xfrm>
            <a:off x="3972838" y="2940164"/>
            <a:ext cx="361950" cy="1733149"/>
          </a:xfrm>
          <a:prstGeom prst="chevron">
            <a:avLst/>
          </a:prstGeom>
          <a:solidFill>
            <a:srgbClr val="FFFFFF"/>
          </a:solidFill>
          <a:ln>
            <a:noFill/>
            <a:miter lim="800000"/>
          </a:ln>
          <a:effectLst/>
          <a:ex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Eingekerbter Richtungspfeil 17"/>
          <p:cNvSpPr/>
          <p:nvPr/>
        </p:nvSpPr>
        <p:spPr bwMode="auto">
          <a:xfrm flipH="1">
            <a:off x="8073301" y="2940164"/>
            <a:ext cx="361950" cy="1733149"/>
          </a:xfrm>
          <a:prstGeom prst="chevron">
            <a:avLst/>
          </a:prstGeom>
          <a:solidFill>
            <a:srgbClr val="FFFFFF"/>
          </a:solidFill>
          <a:ln>
            <a:noFill/>
            <a:miter lim="800000"/>
          </a:ln>
          <a:effectLst/>
          <a:ex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2" name="Gruppieren 141"/>
          <p:cNvGrpSpPr/>
          <p:nvPr/>
        </p:nvGrpSpPr>
        <p:grpSpPr>
          <a:xfrm>
            <a:off x="3226897" y="2451100"/>
            <a:ext cx="544680" cy="536648"/>
            <a:chOff x="6965131" y="4670688"/>
            <a:chExt cx="684218" cy="674130"/>
          </a:xfrm>
          <a:solidFill>
            <a:srgbClr val="0F8287"/>
          </a:solidFill>
        </p:grpSpPr>
        <p:sp>
          <p:nvSpPr>
            <p:cNvPr id="103" name="Freeform 102"/>
            <p:cNvSpPr>
              <a:spLocks noEditPoints="1"/>
            </p:cNvSpPr>
            <p:nvPr/>
          </p:nvSpPr>
          <p:spPr bwMode="auto">
            <a:xfrm>
              <a:off x="6965131" y="4670688"/>
              <a:ext cx="357782" cy="674130"/>
            </a:xfrm>
            <a:custGeom>
              <a:avLst/>
              <a:gdLst>
                <a:gd name="T0" fmla="*/ 126 w 229"/>
                <a:gd name="T1" fmla="*/ 36 h 431"/>
                <a:gd name="T2" fmla="*/ 59 w 229"/>
                <a:gd name="T3" fmla="*/ 86 h 431"/>
                <a:gd name="T4" fmla="*/ 16 w 229"/>
                <a:gd name="T5" fmla="*/ 144 h 431"/>
                <a:gd name="T6" fmla="*/ 0 w 229"/>
                <a:gd name="T7" fmla="*/ 216 h 431"/>
                <a:gd name="T8" fmla="*/ 13 w 229"/>
                <a:gd name="T9" fmla="*/ 283 h 431"/>
                <a:gd name="T10" fmla="*/ 57 w 229"/>
                <a:gd name="T11" fmla="*/ 343 h 431"/>
                <a:gd name="T12" fmla="*/ 125 w 229"/>
                <a:gd name="T13" fmla="*/ 394 h 431"/>
                <a:gd name="T14" fmla="*/ 229 w 229"/>
                <a:gd name="T15" fmla="*/ 378 h 431"/>
                <a:gd name="T16" fmla="*/ 176 w 229"/>
                <a:gd name="T17" fmla="*/ 0 h 431"/>
                <a:gd name="T18" fmla="*/ 176 w 229"/>
                <a:gd name="T19" fmla="*/ 415 h 431"/>
                <a:gd name="T20" fmla="*/ 140 w 229"/>
                <a:gd name="T21" fmla="*/ 382 h 431"/>
                <a:gd name="T22" fmla="*/ 176 w 229"/>
                <a:gd name="T23" fmla="*/ 342 h 431"/>
                <a:gd name="T24" fmla="*/ 176 w 229"/>
                <a:gd name="T25" fmla="*/ 325 h 431"/>
                <a:gd name="T26" fmla="*/ 110 w 229"/>
                <a:gd name="T27" fmla="*/ 380 h 431"/>
                <a:gd name="T28" fmla="*/ 75 w 229"/>
                <a:gd name="T29" fmla="*/ 335 h 431"/>
                <a:gd name="T30" fmla="*/ 143 w 229"/>
                <a:gd name="T31" fmla="*/ 258 h 431"/>
                <a:gd name="T32" fmla="*/ 177 w 229"/>
                <a:gd name="T33" fmla="*/ 291 h 431"/>
                <a:gd name="T34" fmla="*/ 143 w 229"/>
                <a:gd name="T35" fmla="*/ 242 h 431"/>
                <a:gd name="T36" fmla="*/ 67 w 229"/>
                <a:gd name="T37" fmla="*/ 320 h 431"/>
                <a:gd name="T38" fmla="*/ 66 w 229"/>
                <a:gd name="T39" fmla="*/ 320 h 431"/>
                <a:gd name="T40" fmla="*/ 34 w 229"/>
                <a:gd name="T41" fmla="*/ 265 h 431"/>
                <a:gd name="T42" fmla="*/ 61 w 229"/>
                <a:gd name="T43" fmla="*/ 260 h 431"/>
                <a:gd name="T44" fmla="*/ 16 w 229"/>
                <a:gd name="T45" fmla="*/ 216 h 431"/>
                <a:gd name="T46" fmla="*/ 89 w 229"/>
                <a:gd name="T47" fmla="*/ 216 h 431"/>
                <a:gd name="T48" fmla="*/ 106 w 229"/>
                <a:gd name="T49" fmla="*/ 216 h 431"/>
                <a:gd name="T50" fmla="*/ 39 w 229"/>
                <a:gd name="T51" fmla="*/ 165 h 431"/>
                <a:gd name="T52" fmla="*/ 68 w 229"/>
                <a:gd name="T53" fmla="*/ 107 h 431"/>
                <a:gd name="T54" fmla="*/ 103 w 229"/>
                <a:gd name="T55" fmla="*/ 132 h 431"/>
                <a:gd name="T56" fmla="*/ 153 w 229"/>
                <a:gd name="T57" fmla="*/ 164 h 431"/>
                <a:gd name="T58" fmla="*/ 120 w 229"/>
                <a:gd name="T59" fmla="*/ 130 h 431"/>
                <a:gd name="T60" fmla="*/ 76 w 229"/>
                <a:gd name="T61" fmla="*/ 86 h 431"/>
                <a:gd name="T62" fmla="*/ 112 w 229"/>
                <a:gd name="T63" fmla="*/ 50 h 431"/>
                <a:gd name="T64" fmla="*/ 123 w 229"/>
                <a:gd name="T65" fmla="*/ 53 h 431"/>
                <a:gd name="T66" fmla="*/ 184 w 229"/>
                <a:gd name="T67" fmla="*/ 98 h 431"/>
                <a:gd name="T68" fmla="*/ 139 w 229"/>
                <a:gd name="T69" fmla="*/ 53 h 431"/>
                <a:gd name="T70" fmla="*/ 212 w 229"/>
                <a:gd name="T71" fmla="*/ 53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9" h="431">
                  <a:moveTo>
                    <a:pt x="176" y="0"/>
                  </a:moveTo>
                  <a:cubicBezTo>
                    <a:pt x="153" y="0"/>
                    <a:pt x="133" y="15"/>
                    <a:pt x="126" y="36"/>
                  </a:cubicBezTo>
                  <a:cubicBezTo>
                    <a:pt x="122" y="34"/>
                    <a:pt x="117" y="34"/>
                    <a:pt x="112" y="34"/>
                  </a:cubicBezTo>
                  <a:cubicBezTo>
                    <a:pt x="83" y="34"/>
                    <a:pt x="59" y="57"/>
                    <a:pt x="59" y="86"/>
                  </a:cubicBezTo>
                  <a:cubicBezTo>
                    <a:pt x="59" y="88"/>
                    <a:pt x="60" y="90"/>
                    <a:pt x="60" y="92"/>
                  </a:cubicBezTo>
                  <a:cubicBezTo>
                    <a:pt x="35" y="96"/>
                    <a:pt x="16" y="117"/>
                    <a:pt x="16" y="144"/>
                  </a:cubicBezTo>
                  <a:cubicBezTo>
                    <a:pt x="16" y="154"/>
                    <a:pt x="19" y="163"/>
                    <a:pt x="24" y="172"/>
                  </a:cubicBezTo>
                  <a:cubicBezTo>
                    <a:pt x="10" y="181"/>
                    <a:pt x="0" y="197"/>
                    <a:pt x="0" y="216"/>
                  </a:cubicBezTo>
                  <a:cubicBezTo>
                    <a:pt x="0" y="232"/>
                    <a:pt x="8" y="247"/>
                    <a:pt x="20" y="257"/>
                  </a:cubicBezTo>
                  <a:cubicBezTo>
                    <a:pt x="15" y="265"/>
                    <a:pt x="13" y="274"/>
                    <a:pt x="13" y="283"/>
                  </a:cubicBezTo>
                  <a:cubicBezTo>
                    <a:pt x="13" y="310"/>
                    <a:pt x="33" y="332"/>
                    <a:pt x="58" y="336"/>
                  </a:cubicBezTo>
                  <a:cubicBezTo>
                    <a:pt x="58" y="338"/>
                    <a:pt x="57" y="341"/>
                    <a:pt x="57" y="343"/>
                  </a:cubicBezTo>
                  <a:cubicBezTo>
                    <a:pt x="57" y="372"/>
                    <a:pt x="81" y="396"/>
                    <a:pt x="110" y="396"/>
                  </a:cubicBezTo>
                  <a:cubicBezTo>
                    <a:pt x="115" y="396"/>
                    <a:pt x="120" y="395"/>
                    <a:pt x="125" y="394"/>
                  </a:cubicBezTo>
                  <a:cubicBezTo>
                    <a:pt x="132" y="415"/>
                    <a:pt x="152" y="431"/>
                    <a:pt x="176" y="431"/>
                  </a:cubicBezTo>
                  <a:cubicBezTo>
                    <a:pt x="205" y="431"/>
                    <a:pt x="229" y="407"/>
                    <a:pt x="229" y="378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29" y="24"/>
                    <a:pt x="205" y="0"/>
                    <a:pt x="176" y="0"/>
                  </a:cubicBezTo>
                  <a:close/>
                  <a:moveTo>
                    <a:pt x="212" y="378"/>
                  </a:moveTo>
                  <a:cubicBezTo>
                    <a:pt x="212" y="398"/>
                    <a:pt x="196" y="415"/>
                    <a:pt x="176" y="415"/>
                  </a:cubicBezTo>
                  <a:cubicBezTo>
                    <a:pt x="157" y="415"/>
                    <a:pt x="141" y="400"/>
                    <a:pt x="140" y="382"/>
                  </a:cubicBezTo>
                  <a:cubicBezTo>
                    <a:pt x="140" y="382"/>
                    <a:pt x="140" y="382"/>
                    <a:pt x="140" y="382"/>
                  </a:cubicBezTo>
                  <a:cubicBezTo>
                    <a:pt x="139" y="381"/>
                    <a:pt x="139" y="379"/>
                    <a:pt x="139" y="378"/>
                  </a:cubicBezTo>
                  <a:cubicBezTo>
                    <a:pt x="139" y="358"/>
                    <a:pt x="156" y="342"/>
                    <a:pt x="176" y="342"/>
                  </a:cubicBezTo>
                  <a:cubicBezTo>
                    <a:pt x="180" y="342"/>
                    <a:pt x="184" y="338"/>
                    <a:pt x="184" y="334"/>
                  </a:cubicBezTo>
                  <a:cubicBezTo>
                    <a:pt x="184" y="329"/>
                    <a:pt x="180" y="325"/>
                    <a:pt x="176" y="325"/>
                  </a:cubicBezTo>
                  <a:cubicBezTo>
                    <a:pt x="147" y="325"/>
                    <a:pt x="123" y="349"/>
                    <a:pt x="123" y="378"/>
                  </a:cubicBezTo>
                  <a:cubicBezTo>
                    <a:pt x="119" y="379"/>
                    <a:pt x="115" y="380"/>
                    <a:pt x="110" y="380"/>
                  </a:cubicBezTo>
                  <a:cubicBezTo>
                    <a:pt x="90" y="380"/>
                    <a:pt x="74" y="363"/>
                    <a:pt x="74" y="343"/>
                  </a:cubicBezTo>
                  <a:cubicBezTo>
                    <a:pt x="74" y="341"/>
                    <a:pt x="74" y="338"/>
                    <a:pt x="75" y="335"/>
                  </a:cubicBezTo>
                  <a:cubicBezTo>
                    <a:pt x="100" y="331"/>
                    <a:pt x="118" y="309"/>
                    <a:pt x="118" y="283"/>
                  </a:cubicBezTo>
                  <a:cubicBezTo>
                    <a:pt x="118" y="269"/>
                    <a:pt x="130" y="258"/>
                    <a:pt x="143" y="258"/>
                  </a:cubicBezTo>
                  <a:cubicBezTo>
                    <a:pt x="157" y="258"/>
                    <a:pt x="169" y="269"/>
                    <a:pt x="169" y="283"/>
                  </a:cubicBezTo>
                  <a:cubicBezTo>
                    <a:pt x="169" y="288"/>
                    <a:pt x="172" y="291"/>
                    <a:pt x="177" y="291"/>
                  </a:cubicBezTo>
                  <a:cubicBezTo>
                    <a:pt x="181" y="291"/>
                    <a:pt x="185" y="288"/>
                    <a:pt x="185" y="283"/>
                  </a:cubicBezTo>
                  <a:cubicBezTo>
                    <a:pt x="185" y="261"/>
                    <a:pt x="166" y="242"/>
                    <a:pt x="143" y="242"/>
                  </a:cubicBezTo>
                  <a:cubicBezTo>
                    <a:pt x="121" y="242"/>
                    <a:pt x="102" y="261"/>
                    <a:pt x="102" y="283"/>
                  </a:cubicBezTo>
                  <a:cubicBezTo>
                    <a:pt x="102" y="303"/>
                    <a:pt x="87" y="319"/>
                    <a:pt x="67" y="320"/>
                  </a:cubicBezTo>
                  <a:cubicBezTo>
                    <a:pt x="67" y="320"/>
                    <a:pt x="66" y="320"/>
                    <a:pt x="66" y="320"/>
                  </a:cubicBezTo>
                  <a:cubicBezTo>
                    <a:pt x="66" y="320"/>
                    <a:pt x="66" y="320"/>
                    <a:pt x="66" y="320"/>
                  </a:cubicBezTo>
                  <a:cubicBezTo>
                    <a:pt x="45" y="320"/>
                    <a:pt x="29" y="304"/>
                    <a:pt x="29" y="283"/>
                  </a:cubicBezTo>
                  <a:cubicBezTo>
                    <a:pt x="29" y="277"/>
                    <a:pt x="31" y="270"/>
                    <a:pt x="34" y="265"/>
                  </a:cubicBezTo>
                  <a:cubicBezTo>
                    <a:pt x="40" y="267"/>
                    <a:pt x="46" y="268"/>
                    <a:pt x="53" y="268"/>
                  </a:cubicBezTo>
                  <a:cubicBezTo>
                    <a:pt x="57" y="268"/>
                    <a:pt x="61" y="265"/>
                    <a:pt x="61" y="260"/>
                  </a:cubicBezTo>
                  <a:cubicBezTo>
                    <a:pt x="61" y="256"/>
                    <a:pt x="57" y="252"/>
                    <a:pt x="53" y="252"/>
                  </a:cubicBezTo>
                  <a:cubicBezTo>
                    <a:pt x="33" y="252"/>
                    <a:pt x="16" y="236"/>
                    <a:pt x="16" y="216"/>
                  </a:cubicBezTo>
                  <a:cubicBezTo>
                    <a:pt x="16" y="195"/>
                    <a:pt x="33" y="179"/>
                    <a:pt x="53" y="179"/>
                  </a:cubicBezTo>
                  <a:cubicBezTo>
                    <a:pt x="73" y="179"/>
                    <a:pt x="89" y="195"/>
                    <a:pt x="89" y="216"/>
                  </a:cubicBezTo>
                  <a:cubicBezTo>
                    <a:pt x="89" y="220"/>
                    <a:pt x="93" y="224"/>
                    <a:pt x="98" y="224"/>
                  </a:cubicBezTo>
                  <a:cubicBezTo>
                    <a:pt x="102" y="224"/>
                    <a:pt x="106" y="220"/>
                    <a:pt x="106" y="216"/>
                  </a:cubicBezTo>
                  <a:cubicBezTo>
                    <a:pt x="106" y="187"/>
                    <a:pt x="82" y="163"/>
                    <a:pt x="53" y="163"/>
                  </a:cubicBezTo>
                  <a:cubicBezTo>
                    <a:pt x="48" y="163"/>
                    <a:pt x="43" y="164"/>
                    <a:pt x="39" y="165"/>
                  </a:cubicBezTo>
                  <a:cubicBezTo>
                    <a:pt x="34" y="159"/>
                    <a:pt x="32" y="151"/>
                    <a:pt x="32" y="144"/>
                  </a:cubicBezTo>
                  <a:cubicBezTo>
                    <a:pt x="32" y="123"/>
                    <a:pt x="48" y="107"/>
                    <a:pt x="68" y="107"/>
                  </a:cubicBezTo>
                  <a:cubicBezTo>
                    <a:pt x="69" y="107"/>
                    <a:pt x="69" y="107"/>
                    <a:pt x="69" y="107"/>
                  </a:cubicBezTo>
                  <a:cubicBezTo>
                    <a:pt x="84" y="107"/>
                    <a:pt x="101" y="117"/>
                    <a:pt x="103" y="132"/>
                  </a:cubicBezTo>
                  <a:cubicBezTo>
                    <a:pt x="107" y="156"/>
                    <a:pt x="123" y="172"/>
                    <a:pt x="145" y="172"/>
                  </a:cubicBezTo>
                  <a:cubicBezTo>
                    <a:pt x="149" y="172"/>
                    <a:pt x="153" y="169"/>
                    <a:pt x="153" y="164"/>
                  </a:cubicBezTo>
                  <a:cubicBezTo>
                    <a:pt x="153" y="160"/>
                    <a:pt x="149" y="156"/>
                    <a:pt x="145" y="156"/>
                  </a:cubicBezTo>
                  <a:cubicBezTo>
                    <a:pt x="130" y="156"/>
                    <a:pt x="121" y="143"/>
                    <a:pt x="120" y="130"/>
                  </a:cubicBezTo>
                  <a:cubicBezTo>
                    <a:pt x="117" y="110"/>
                    <a:pt x="98" y="94"/>
                    <a:pt x="76" y="91"/>
                  </a:cubicBezTo>
                  <a:cubicBezTo>
                    <a:pt x="76" y="90"/>
                    <a:pt x="76" y="88"/>
                    <a:pt x="76" y="86"/>
                  </a:cubicBezTo>
                  <a:cubicBezTo>
                    <a:pt x="76" y="77"/>
                    <a:pt x="80" y="67"/>
                    <a:pt x="86" y="61"/>
                  </a:cubicBezTo>
                  <a:cubicBezTo>
                    <a:pt x="93" y="54"/>
                    <a:pt x="103" y="50"/>
                    <a:pt x="112" y="50"/>
                  </a:cubicBezTo>
                  <a:cubicBezTo>
                    <a:pt x="116" y="50"/>
                    <a:pt x="120" y="50"/>
                    <a:pt x="123" y="52"/>
                  </a:cubicBezTo>
                  <a:cubicBezTo>
                    <a:pt x="123" y="52"/>
                    <a:pt x="123" y="53"/>
                    <a:pt x="123" y="53"/>
                  </a:cubicBezTo>
                  <a:cubicBezTo>
                    <a:pt x="123" y="82"/>
                    <a:pt x="147" y="106"/>
                    <a:pt x="176" y="106"/>
                  </a:cubicBezTo>
                  <a:cubicBezTo>
                    <a:pt x="180" y="106"/>
                    <a:pt x="184" y="102"/>
                    <a:pt x="184" y="98"/>
                  </a:cubicBezTo>
                  <a:cubicBezTo>
                    <a:pt x="184" y="93"/>
                    <a:pt x="180" y="90"/>
                    <a:pt x="176" y="90"/>
                  </a:cubicBezTo>
                  <a:cubicBezTo>
                    <a:pt x="156" y="90"/>
                    <a:pt x="139" y="73"/>
                    <a:pt x="139" y="53"/>
                  </a:cubicBezTo>
                  <a:cubicBezTo>
                    <a:pt x="139" y="33"/>
                    <a:pt x="156" y="17"/>
                    <a:pt x="176" y="17"/>
                  </a:cubicBezTo>
                  <a:cubicBezTo>
                    <a:pt x="196" y="17"/>
                    <a:pt x="212" y="33"/>
                    <a:pt x="212" y="53"/>
                  </a:cubicBezTo>
                  <a:lnTo>
                    <a:pt x="212" y="3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  <p:sp>
          <p:nvSpPr>
            <p:cNvPr id="104" name="Freihandform 143"/>
            <p:cNvSpPr>
              <a:spLocks/>
            </p:cNvSpPr>
            <p:nvPr/>
          </p:nvSpPr>
          <p:spPr bwMode="auto">
            <a:xfrm rot="16200000">
              <a:off x="7241215" y="4887319"/>
              <a:ext cx="515246" cy="301022"/>
            </a:xfrm>
            <a:custGeom>
              <a:avLst/>
              <a:gdLst>
                <a:gd name="connsiteX0" fmla="*/ 537631 w 593082"/>
                <a:gd name="connsiteY0" fmla="*/ 0 h 346496"/>
                <a:gd name="connsiteX1" fmla="*/ 566562 w 593082"/>
                <a:gd name="connsiteY1" fmla="*/ 0 h 346496"/>
                <a:gd name="connsiteX2" fmla="*/ 566562 w 593082"/>
                <a:gd name="connsiteY2" fmla="*/ 10679 h 346496"/>
                <a:gd name="connsiteX3" fmla="*/ 566562 w 593082"/>
                <a:gd name="connsiteY3" fmla="*/ 63387 h 346496"/>
                <a:gd name="connsiteX4" fmla="*/ 593082 w 593082"/>
                <a:gd name="connsiteY4" fmla="*/ 101775 h 346496"/>
                <a:gd name="connsiteX5" fmla="*/ 552097 w 593082"/>
                <a:gd name="connsiteY5" fmla="*/ 142562 h 346496"/>
                <a:gd name="connsiteX6" fmla="*/ 511111 w 593082"/>
                <a:gd name="connsiteY6" fmla="*/ 101775 h 346496"/>
                <a:gd name="connsiteX7" fmla="*/ 537631 w 593082"/>
                <a:gd name="connsiteY7" fmla="*/ 63387 h 346496"/>
                <a:gd name="connsiteX8" fmla="*/ 537631 w 593082"/>
                <a:gd name="connsiteY8" fmla="*/ 24924 h 346496"/>
                <a:gd name="connsiteX9" fmla="*/ 405032 w 593082"/>
                <a:gd name="connsiteY9" fmla="*/ 0 h 346496"/>
                <a:gd name="connsiteX10" fmla="*/ 433963 w 593082"/>
                <a:gd name="connsiteY10" fmla="*/ 0 h 346496"/>
                <a:gd name="connsiteX11" fmla="*/ 433963 w 593082"/>
                <a:gd name="connsiteY11" fmla="*/ 13219 h 346496"/>
                <a:gd name="connsiteX12" fmla="*/ 433963 w 593082"/>
                <a:gd name="connsiteY12" fmla="*/ 140163 h 346496"/>
                <a:gd name="connsiteX13" fmla="*/ 530399 w 593082"/>
                <a:gd name="connsiteY13" fmla="*/ 188147 h 346496"/>
                <a:gd name="connsiteX14" fmla="*/ 540042 w 593082"/>
                <a:gd name="connsiteY14" fmla="*/ 202542 h 346496"/>
                <a:gd name="connsiteX15" fmla="*/ 540042 w 593082"/>
                <a:gd name="connsiteY15" fmla="*/ 267322 h 346496"/>
                <a:gd name="connsiteX16" fmla="*/ 564151 w 593082"/>
                <a:gd name="connsiteY16" fmla="*/ 305709 h 346496"/>
                <a:gd name="connsiteX17" fmla="*/ 523166 w 593082"/>
                <a:gd name="connsiteY17" fmla="*/ 346496 h 346496"/>
                <a:gd name="connsiteX18" fmla="*/ 482181 w 593082"/>
                <a:gd name="connsiteY18" fmla="*/ 305709 h 346496"/>
                <a:gd name="connsiteX19" fmla="*/ 511111 w 593082"/>
                <a:gd name="connsiteY19" fmla="*/ 264922 h 346496"/>
                <a:gd name="connsiteX20" fmla="*/ 511111 w 593082"/>
                <a:gd name="connsiteY20" fmla="*/ 212139 h 346496"/>
                <a:gd name="connsiteX21" fmla="*/ 412264 w 593082"/>
                <a:gd name="connsiteY21" fmla="*/ 161756 h 346496"/>
                <a:gd name="connsiteX22" fmla="*/ 405032 w 593082"/>
                <a:gd name="connsiteY22" fmla="*/ 149759 h 346496"/>
                <a:gd name="connsiteX23" fmla="*/ 405032 w 593082"/>
                <a:gd name="connsiteY23" fmla="*/ 30819 h 346496"/>
                <a:gd name="connsiteX24" fmla="*/ 327883 w 593082"/>
                <a:gd name="connsiteY24" fmla="*/ 0 h 346496"/>
                <a:gd name="connsiteX25" fmla="*/ 356814 w 593082"/>
                <a:gd name="connsiteY25" fmla="*/ 0 h 346496"/>
                <a:gd name="connsiteX26" fmla="*/ 356814 w 593082"/>
                <a:gd name="connsiteY26" fmla="*/ 4906 h 346496"/>
                <a:gd name="connsiteX27" fmla="*/ 356814 w 593082"/>
                <a:gd name="connsiteY27" fmla="*/ 233732 h 346496"/>
                <a:gd name="connsiteX28" fmla="*/ 383334 w 593082"/>
                <a:gd name="connsiteY28" fmla="*/ 269721 h 346496"/>
                <a:gd name="connsiteX29" fmla="*/ 342348 w 593082"/>
                <a:gd name="connsiteY29" fmla="*/ 310508 h 346496"/>
                <a:gd name="connsiteX30" fmla="*/ 301363 w 593082"/>
                <a:gd name="connsiteY30" fmla="*/ 269721 h 346496"/>
                <a:gd name="connsiteX31" fmla="*/ 327883 w 593082"/>
                <a:gd name="connsiteY31" fmla="*/ 233732 h 346496"/>
                <a:gd name="connsiteX32" fmla="*/ 327883 w 593082"/>
                <a:gd name="connsiteY32" fmla="*/ 58537 h 346496"/>
                <a:gd name="connsiteX33" fmla="*/ 260378 w 593082"/>
                <a:gd name="connsiteY33" fmla="*/ 0 h 346496"/>
                <a:gd name="connsiteX34" fmla="*/ 289308 w 593082"/>
                <a:gd name="connsiteY34" fmla="*/ 0 h 346496"/>
                <a:gd name="connsiteX35" fmla="*/ 289308 w 593082"/>
                <a:gd name="connsiteY35" fmla="*/ 7361 h 346496"/>
                <a:gd name="connsiteX36" fmla="*/ 289308 w 593082"/>
                <a:gd name="connsiteY36" fmla="*/ 116170 h 346496"/>
                <a:gd name="connsiteX37" fmla="*/ 279665 w 593082"/>
                <a:gd name="connsiteY37" fmla="*/ 128166 h 346496"/>
                <a:gd name="connsiteX38" fmla="*/ 154298 w 593082"/>
                <a:gd name="connsiteY38" fmla="*/ 176151 h 346496"/>
                <a:gd name="connsiteX39" fmla="*/ 154298 w 593082"/>
                <a:gd name="connsiteY39" fmla="*/ 204942 h 346496"/>
                <a:gd name="connsiteX40" fmla="*/ 180818 w 593082"/>
                <a:gd name="connsiteY40" fmla="*/ 243329 h 346496"/>
                <a:gd name="connsiteX41" fmla="*/ 139832 w 593082"/>
                <a:gd name="connsiteY41" fmla="*/ 284116 h 346496"/>
                <a:gd name="connsiteX42" fmla="*/ 98847 w 593082"/>
                <a:gd name="connsiteY42" fmla="*/ 243329 h 346496"/>
                <a:gd name="connsiteX43" fmla="*/ 125367 w 593082"/>
                <a:gd name="connsiteY43" fmla="*/ 204942 h 346496"/>
                <a:gd name="connsiteX44" fmla="*/ 125367 w 593082"/>
                <a:gd name="connsiteY44" fmla="*/ 164155 h 346496"/>
                <a:gd name="connsiteX45" fmla="*/ 135011 w 593082"/>
                <a:gd name="connsiteY45" fmla="*/ 152159 h 346496"/>
                <a:gd name="connsiteX46" fmla="*/ 260378 w 593082"/>
                <a:gd name="connsiteY46" fmla="*/ 104174 h 346496"/>
                <a:gd name="connsiteX47" fmla="*/ 260378 w 593082"/>
                <a:gd name="connsiteY47" fmla="*/ 15773 h 346496"/>
                <a:gd name="connsiteX48" fmla="*/ 144654 w 593082"/>
                <a:gd name="connsiteY48" fmla="*/ 0 h 346496"/>
                <a:gd name="connsiteX49" fmla="*/ 173585 w 593082"/>
                <a:gd name="connsiteY49" fmla="*/ 0 h 346496"/>
                <a:gd name="connsiteX50" fmla="*/ 173585 w 593082"/>
                <a:gd name="connsiteY50" fmla="*/ 25000 h 346496"/>
                <a:gd name="connsiteX51" fmla="*/ 163941 w 593082"/>
                <a:gd name="connsiteY51" fmla="*/ 36996 h 346496"/>
                <a:gd name="connsiteX52" fmla="*/ 55451 w 593082"/>
                <a:gd name="connsiteY52" fmla="*/ 75383 h 346496"/>
                <a:gd name="connsiteX53" fmla="*/ 55451 w 593082"/>
                <a:gd name="connsiteY53" fmla="*/ 87379 h 346496"/>
                <a:gd name="connsiteX54" fmla="*/ 55451 w 593082"/>
                <a:gd name="connsiteY54" fmla="*/ 99376 h 346496"/>
                <a:gd name="connsiteX55" fmla="*/ 81971 w 593082"/>
                <a:gd name="connsiteY55" fmla="*/ 137763 h 346496"/>
                <a:gd name="connsiteX56" fmla="*/ 40985 w 593082"/>
                <a:gd name="connsiteY56" fmla="*/ 178550 h 346496"/>
                <a:gd name="connsiteX57" fmla="*/ 0 w 593082"/>
                <a:gd name="connsiteY57" fmla="*/ 137763 h 346496"/>
                <a:gd name="connsiteX58" fmla="*/ 26520 w 593082"/>
                <a:gd name="connsiteY58" fmla="*/ 99376 h 346496"/>
                <a:gd name="connsiteX59" fmla="*/ 26520 w 593082"/>
                <a:gd name="connsiteY59" fmla="*/ 87379 h 346496"/>
                <a:gd name="connsiteX60" fmla="*/ 26520 w 593082"/>
                <a:gd name="connsiteY60" fmla="*/ 65786 h 346496"/>
                <a:gd name="connsiteX61" fmla="*/ 36164 w 593082"/>
                <a:gd name="connsiteY61" fmla="*/ 51391 h 346496"/>
                <a:gd name="connsiteX62" fmla="*/ 144654 w 593082"/>
                <a:gd name="connsiteY62" fmla="*/ 13003 h 346496"/>
                <a:gd name="connsiteX63" fmla="*/ 144654 w 593082"/>
                <a:gd name="connsiteY63" fmla="*/ 7905 h 346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93082" h="346496">
                  <a:moveTo>
                    <a:pt x="537631" y="0"/>
                  </a:moveTo>
                  <a:lnTo>
                    <a:pt x="566562" y="0"/>
                  </a:lnTo>
                  <a:lnTo>
                    <a:pt x="566562" y="10679"/>
                  </a:lnTo>
                  <a:cubicBezTo>
                    <a:pt x="566562" y="23500"/>
                    <a:pt x="566562" y="40595"/>
                    <a:pt x="566562" y="63387"/>
                  </a:cubicBezTo>
                  <a:cubicBezTo>
                    <a:pt x="581028" y="70585"/>
                    <a:pt x="593082" y="84980"/>
                    <a:pt x="593082" y="101775"/>
                  </a:cubicBezTo>
                  <a:cubicBezTo>
                    <a:pt x="593082" y="125767"/>
                    <a:pt x="573795" y="142562"/>
                    <a:pt x="552097" y="142562"/>
                  </a:cubicBezTo>
                  <a:cubicBezTo>
                    <a:pt x="530399" y="142562"/>
                    <a:pt x="511111" y="125767"/>
                    <a:pt x="511111" y="101775"/>
                  </a:cubicBezTo>
                  <a:cubicBezTo>
                    <a:pt x="511111" y="84980"/>
                    <a:pt x="523166" y="70585"/>
                    <a:pt x="537631" y="63387"/>
                  </a:cubicBezTo>
                  <a:cubicBezTo>
                    <a:pt x="537631" y="63387"/>
                    <a:pt x="537631" y="63387"/>
                    <a:pt x="537631" y="24924"/>
                  </a:cubicBezTo>
                  <a:close/>
                  <a:moveTo>
                    <a:pt x="405032" y="0"/>
                  </a:moveTo>
                  <a:lnTo>
                    <a:pt x="433963" y="0"/>
                  </a:lnTo>
                  <a:lnTo>
                    <a:pt x="433963" y="13219"/>
                  </a:lnTo>
                  <a:cubicBezTo>
                    <a:pt x="433963" y="37820"/>
                    <a:pt x="433963" y="77183"/>
                    <a:pt x="433963" y="140163"/>
                  </a:cubicBezTo>
                  <a:cubicBezTo>
                    <a:pt x="433963" y="140163"/>
                    <a:pt x="433963" y="140163"/>
                    <a:pt x="530399" y="188147"/>
                  </a:cubicBezTo>
                  <a:cubicBezTo>
                    <a:pt x="535220" y="190546"/>
                    <a:pt x="540042" y="197744"/>
                    <a:pt x="540042" y="202542"/>
                  </a:cubicBezTo>
                  <a:cubicBezTo>
                    <a:pt x="540042" y="202542"/>
                    <a:pt x="540042" y="202542"/>
                    <a:pt x="540042" y="267322"/>
                  </a:cubicBezTo>
                  <a:cubicBezTo>
                    <a:pt x="554508" y="272120"/>
                    <a:pt x="564151" y="286515"/>
                    <a:pt x="564151" y="305709"/>
                  </a:cubicBezTo>
                  <a:cubicBezTo>
                    <a:pt x="564151" y="327302"/>
                    <a:pt x="544864" y="346496"/>
                    <a:pt x="523166" y="346496"/>
                  </a:cubicBezTo>
                  <a:cubicBezTo>
                    <a:pt x="501468" y="346496"/>
                    <a:pt x="482181" y="327302"/>
                    <a:pt x="482181" y="305709"/>
                  </a:cubicBezTo>
                  <a:cubicBezTo>
                    <a:pt x="482181" y="286515"/>
                    <a:pt x="494235" y="272120"/>
                    <a:pt x="511111" y="264922"/>
                  </a:cubicBezTo>
                  <a:cubicBezTo>
                    <a:pt x="511111" y="264922"/>
                    <a:pt x="511111" y="264922"/>
                    <a:pt x="511111" y="212139"/>
                  </a:cubicBezTo>
                  <a:cubicBezTo>
                    <a:pt x="511111" y="212139"/>
                    <a:pt x="511111" y="212139"/>
                    <a:pt x="412264" y="161756"/>
                  </a:cubicBezTo>
                  <a:cubicBezTo>
                    <a:pt x="407443" y="159356"/>
                    <a:pt x="405032" y="154558"/>
                    <a:pt x="405032" y="149759"/>
                  </a:cubicBezTo>
                  <a:cubicBezTo>
                    <a:pt x="405032" y="149759"/>
                    <a:pt x="405032" y="149759"/>
                    <a:pt x="405032" y="30819"/>
                  </a:cubicBezTo>
                  <a:close/>
                  <a:moveTo>
                    <a:pt x="327883" y="0"/>
                  </a:moveTo>
                  <a:lnTo>
                    <a:pt x="356814" y="0"/>
                  </a:lnTo>
                  <a:lnTo>
                    <a:pt x="356814" y="4906"/>
                  </a:lnTo>
                  <a:cubicBezTo>
                    <a:pt x="356814" y="37595"/>
                    <a:pt x="356814" y="102974"/>
                    <a:pt x="356814" y="233732"/>
                  </a:cubicBezTo>
                  <a:cubicBezTo>
                    <a:pt x="371279" y="238531"/>
                    <a:pt x="383334" y="252926"/>
                    <a:pt x="383334" y="269721"/>
                  </a:cubicBezTo>
                  <a:cubicBezTo>
                    <a:pt x="383334" y="293713"/>
                    <a:pt x="364046" y="310508"/>
                    <a:pt x="342348" y="310508"/>
                  </a:cubicBezTo>
                  <a:cubicBezTo>
                    <a:pt x="318239" y="310508"/>
                    <a:pt x="301363" y="293713"/>
                    <a:pt x="301363" y="269721"/>
                  </a:cubicBezTo>
                  <a:cubicBezTo>
                    <a:pt x="301363" y="252926"/>
                    <a:pt x="311007" y="238531"/>
                    <a:pt x="327883" y="233732"/>
                  </a:cubicBezTo>
                  <a:cubicBezTo>
                    <a:pt x="327883" y="233732"/>
                    <a:pt x="327883" y="233732"/>
                    <a:pt x="327883" y="58537"/>
                  </a:cubicBezTo>
                  <a:close/>
                  <a:moveTo>
                    <a:pt x="260378" y="0"/>
                  </a:moveTo>
                  <a:lnTo>
                    <a:pt x="289308" y="0"/>
                  </a:lnTo>
                  <a:lnTo>
                    <a:pt x="289308" y="7361"/>
                  </a:lnTo>
                  <a:cubicBezTo>
                    <a:pt x="289308" y="28448"/>
                    <a:pt x="289308" y="62188"/>
                    <a:pt x="289308" y="116170"/>
                  </a:cubicBezTo>
                  <a:cubicBezTo>
                    <a:pt x="289308" y="120969"/>
                    <a:pt x="284487" y="125767"/>
                    <a:pt x="279665" y="128166"/>
                  </a:cubicBezTo>
                  <a:cubicBezTo>
                    <a:pt x="279665" y="128166"/>
                    <a:pt x="279665" y="128166"/>
                    <a:pt x="154298" y="176151"/>
                  </a:cubicBezTo>
                  <a:cubicBezTo>
                    <a:pt x="154298" y="176151"/>
                    <a:pt x="154298" y="176151"/>
                    <a:pt x="154298" y="204942"/>
                  </a:cubicBezTo>
                  <a:cubicBezTo>
                    <a:pt x="168763" y="209740"/>
                    <a:pt x="180818" y="226535"/>
                    <a:pt x="180818" y="243329"/>
                  </a:cubicBezTo>
                  <a:cubicBezTo>
                    <a:pt x="180818" y="267322"/>
                    <a:pt x="163941" y="284116"/>
                    <a:pt x="139832" y="284116"/>
                  </a:cubicBezTo>
                  <a:cubicBezTo>
                    <a:pt x="118134" y="284116"/>
                    <a:pt x="98847" y="267322"/>
                    <a:pt x="98847" y="243329"/>
                  </a:cubicBezTo>
                  <a:cubicBezTo>
                    <a:pt x="98847" y="226535"/>
                    <a:pt x="110902" y="212139"/>
                    <a:pt x="125367" y="204942"/>
                  </a:cubicBezTo>
                  <a:cubicBezTo>
                    <a:pt x="125367" y="204942"/>
                    <a:pt x="125367" y="204942"/>
                    <a:pt x="125367" y="164155"/>
                  </a:cubicBezTo>
                  <a:cubicBezTo>
                    <a:pt x="125367" y="159356"/>
                    <a:pt x="130189" y="154558"/>
                    <a:pt x="135011" y="152159"/>
                  </a:cubicBezTo>
                  <a:cubicBezTo>
                    <a:pt x="135011" y="152159"/>
                    <a:pt x="135011" y="152159"/>
                    <a:pt x="260378" y="104174"/>
                  </a:cubicBezTo>
                  <a:cubicBezTo>
                    <a:pt x="260378" y="104174"/>
                    <a:pt x="260378" y="104174"/>
                    <a:pt x="260378" y="15773"/>
                  </a:cubicBezTo>
                  <a:close/>
                  <a:moveTo>
                    <a:pt x="144654" y="0"/>
                  </a:moveTo>
                  <a:lnTo>
                    <a:pt x="173585" y="0"/>
                  </a:lnTo>
                  <a:lnTo>
                    <a:pt x="173585" y="25000"/>
                  </a:lnTo>
                  <a:cubicBezTo>
                    <a:pt x="173585" y="29798"/>
                    <a:pt x="168763" y="34596"/>
                    <a:pt x="163941" y="36996"/>
                  </a:cubicBezTo>
                  <a:cubicBezTo>
                    <a:pt x="163941" y="36996"/>
                    <a:pt x="163941" y="36996"/>
                    <a:pt x="55451" y="75383"/>
                  </a:cubicBezTo>
                  <a:cubicBezTo>
                    <a:pt x="55451" y="80182"/>
                    <a:pt x="55451" y="84980"/>
                    <a:pt x="55451" y="87379"/>
                  </a:cubicBezTo>
                  <a:cubicBezTo>
                    <a:pt x="55451" y="92178"/>
                    <a:pt x="55451" y="96976"/>
                    <a:pt x="55451" y="99376"/>
                  </a:cubicBezTo>
                  <a:cubicBezTo>
                    <a:pt x="69916" y="106573"/>
                    <a:pt x="81971" y="120969"/>
                    <a:pt x="81971" y="137763"/>
                  </a:cubicBezTo>
                  <a:cubicBezTo>
                    <a:pt x="81971" y="159356"/>
                    <a:pt x="62684" y="178550"/>
                    <a:pt x="40985" y="178550"/>
                  </a:cubicBezTo>
                  <a:cubicBezTo>
                    <a:pt x="16876" y="178550"/>
                    <a:pt x="0" y="159356"/>
                    <a:pt x="0" y="137763"/>
                  </a:cubicBezTo>
                  <a:cubicBezTo>
                    <a:pt x="0" y="120969"/>
                    <a:pt x="9644" y="104174"/>
                    <a:pt x="26520" y="99376"/>
                  </a:cubicBezTo>
                  <a:cubicBezTo>
                    <a:pt x="26520" y="96976"/>
                    <a:pt x="26520" y="92178"/>
                    <a:pt x="26520" y="87379"/>
                  </a:cubicBezTo>
                  <a:cubicBezTo>
                    <a:pt x="26520" y="80182"/>
                    <a:pt x="26520" y="72984"/>
                    <a:pt x="26520" y="65786"/>
                  </a:cubicBezTo>
                  <a:cubicBezTo>
                    <a:pt x="26520" y="58589"/>
                    <a:pt x="31342" y="53790"/>
                    <a:pt x="36164" y="51391"/>
                  </a:cubicBezTo>
                  <a:cubicBezTo>
                    <a:pt x="36164" y="51391"/>
                    <a:pt x="36164" y="51391"/>
                    <a:pt x="144654" y="13003"/>
                  </a:cubicBezTo>
                  <a:cubicBezTo>
                    <a:pt x="144654" y="13003"/>
                    <a:pt x="144654" y="13003"/>
                    <a:pt x="144654" y="790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</p:grpSp>
      <p:grpSp>
        <p:nvGrpSpPr>
          <p:cNvPr id="106" name="Group 105"/>
          <p:cNvGrpSpPr>
            <a:grpSpLocks noChangeAspect="1"/>
          </p:cNvGrpSpPr>
          <p:nvPr/>
        </p:nvGrpSpPr>
        <p:grpSpPr bwMode="auto">
          <a:xfrm>
            <a:off x="3279432" y="3297627"/>
            <a:ext cx="439610" cy="441660"/>
            <a:chOff x="2477" y="1513"/>
            <a:chExt cx="1286" cy="1292"/>
          </a:xfrm>
          <a:solidFill>
            <a:srgbClr val="32A0A0"/>
          </a:solidFill>
        </p:grpSpPr>
        <p:sp>
          <p:nvSpPr>
            <p:cNvPr id="107" name="Freeform 106"/>
            <p:cNvSpPr>
              <a:spLocks noEditPoints="1"/>
            </p:cNvSpPr>
            <p:nvPr/>
          </p:nvSpPr>
          <p:spPr bwMode="auto">
            <a:xfrm>
              <a:off x="2477" y="1513"/>
              <a:ext cx="1286" cy="1292"/>
            </a:xfrm>
            <a:custGeom>
              <a:avLst/>
              <a:gdLst>
                <a:gd name="T0" fmla="*/ 271 w 542"/>
                <a:gd name="T1" fmla="*/ 0 h 544"/>
                <a:gd name="T2" fmla="*/ 0 w 542"/>
                <a:gd name="T3" fmla="*/ 272 h 544"/>
                <a:gd name="T4" fmla="*/ 271 w 542"/>
                <a:gd name="T5" fmla="*/ 544 h 544"/>
                <a:gd name="T6" fmla="*/ 542 w 542"/>
                <a:gd name="T7" fmla="*/ 272 h 544"/>
                <a:gd name="T8" fmla="*/ 271 w 542"/>
                <a:gd name="T9" fmla="*/ 0 h 544"/>
                <a:gd name="T10" fmla="*/ 271 w 542"/>
                <a:gd name="T11" fmla="*/ 510 h 544"/>
                <a:gd name="T12" fmla="*/ 34 w 542"/>
                <a:gd name="T13" fmla="*/ 272 h 544"/>
                <a:gd name="T14" fmla="*/ 271 w 542"/>
                <a:gd name="T15" fmla="*/ 34 h 544"/>
                <a:gd name="T16" fmla="*/ 508 w 542"/>
                <a:gd name="T17" fmla="*/ 272 h 544"/>
                <a:gd name="T18" fmla="*/ 271 w 542"/>
                <a:gd name="T19" fmla="*/ 51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2" h="544">
                  <a:moveTo>
                    <a:pt x="271" y="0"/>
                  </a:moveTo>
                  <a:cubicBezTo>
                    <a:pt x="121" y="0"/>
                    <a:pt x="0" y="122"/>
                    <a:pt x="0" y="272"/>
                  </a:cubicBezTo>
                  <a:cubicBezTo>
                    <a:pt x="0" y="422"/>
                    <a:pt x="121" y="544"/>
                    <a:pt x="271" y="544"/>
                  </a:cubicBezTo>
                  <a:cubicBezTo>
                    <a:pt x="420" y="544"/>
                    <a:pt x="542" y="422"/>
                    <a:pt x="542" y="272"/>
                  </a:cubicBezTo>
                  <a:cubicBezTo>
                    <a:pt x="542" y="122"/>
                    <a:pt x="420" y="0"/>
                    <a:pt x="271" y="0"/>
                  </a:cubicBezTo>
                  <a:close/>
                  <a:moveTo>
                    <a:pt x="271" y="510"/>
                  </a:moveTo>
                  <a:cubicBezTo>
                    <a:pt x="140" y="510"/>
                    <a:pt x="34" y="403"/>
                    <a:pt x="34" y="272"/>
                  </a:cubicBezTo>
                  <a:cubicBezTo>
                    <a:pt x="34" y="141"/>
                    <a:pt x="140" y="34"/>
                    <a:pt x="271" y="34"/>
                  </a:cubicBezTo>
                  <a:cubicBezTo>
                    <a:pt x="402" y="34"/>
                    <a:pt x="508" y="141"/>
                    <a:pt x="508" y="272"/>
                  </a:cubicBezTo>
                  <a:cubicBezTo>
                    <a:pt x="508" y="403"/>
                    <a:pt x="402" y="510"/>
                    <a:pt x="271" y="5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auto">
            <a:xfrm>
              <a:off x="2904" y="1812"/>
              <a:ext cx="62" cy="93"/>
            </a:xfrm>
            <a:custGeom>
              <a:avLst/>
              <a:gdLst>
                <a:gd name="T0" fmla="*/ 11 w 26"/>
                <a:gd name="T1" fmla="*/ 14 h 39"/>
                <a:gd name="T2" fmla="*/ 11 w 26"/>
                <a:gd name="T3" fmla="*/ 11 h 39"/>
                <a:gd name="T4" fmla="*/ 13 w 26"/>
                <a:gd name="T5" fmla="*/ 12 h 39"/>
                <a:gd name="T6" fmla="*/ 10 w 26"/>
                <a:gd name="T7" fmla="*/ 17 h 39"/>
                <a:gd name="T8" fmla="*/ 10 w 26"/>
                <a:gd name="T9" fmla="*/ 18 h 39"/>
                <a:gd name="T10" fmla="*/ 13 w 26"/>
                <a:gd name="T11" fmla="*/ 20 h 39"/>
                <a:gd name="T12" fmla="*/ 12 w 26"/>
                <a:gd name="T13" fmla="*/ 23 h 39"/>
                <a:gd name="T14" fmla="*/ 4 w 26"/>
                <a:gd name="T15" fmla="*/ 31 h 39"/>
                <a:gd name="T16" fmla="*/ 9 w 26"/>
                <a:gd name="T17" fmla="*/ 33 h 39"/>
                <a:gd name="T18" fmla="*/ 0 w 26"/>
                <a:gd name="T19" fmla="*/ 39 h 39"/>
                <a:gd name="T20" fmla="*/ 10 w 26"/>
                <a:gd name="T21" fmla="*/ 37 h 39"/>
                <a:gd name="T22" fmla="*/ 20 w 26"/>
                <a:gd name="T23" fmla="*/ 36 h 39"/>
                <a:gd name="T24" fmla="*/ 19 w 26"/>
                <a:gd name="T25" fmla="*/ 35 h 39"/>
                <a:gd name="T26" fmla="*/ 22 w 26"/>
                <a:gd name="T27" fmla="*/ 32 h 39"/>
                <a:gd name="T28" fmla="*/ 16 w 26"/>
                <a:gd name="T29" fmla="*/ 12 h 39"/>
                <a:gd name="T30" fmla="*/ 22 w 26"/>
                <a:gd name="T31" fmla="*/ 5 h 39"/>
                <a:gd name="T32" fmla="*/ 21 w 26"/>
                <a:gd name="T33" fmla="*/ 4 h 39"/>
                <a:gd name="T34" fmla="*/ 17 w 26"/>
                <a:gd name="T35" fmla="*/ 5 h 39"/>
                <a:gd name="T36" fmla="*/ 18 w 26"/>
                <a:gd name="T37" fmla="*/ 3 h 39"/>
                <a:gd name="T38" fmla="*/ 18 w 26"/>
                <a:gd name="T39" fmla="*/ 3 h 39"/>
                <a:gd name="T40" fmla="*/ 22 w 26"/>
                <a:gd name="T41" fmla="*/ 0 h 39"/>
                <a:gd name="T42" fmla="*/ 21 w 26"/>
                <a:gd name="T43" fmla="*/ 0 h 39"/>
                <a:gd name="T44" fmla="*/ 21 w 26"/>
                <a:gd name="T45" fmla="*/ 0 h 39"/>
                <a:gd name="T46" fmla="*/ 21 w 26"/>
                <a:gd name="T47" fmla="*/ 0 h 39"/>
                <a:gd name="T48" fmla="*/ 21 w 26"/>
                <a:gd name="T49" fmla="*/ 0 h 39"/>
                <a:gd name="T50" fmla="*/ 21 w 26"/>
                <a:gd name="T51" fmla="*/ 0 h 39"/>
                <a:gd name="T52" fmla="*/ 18 w 26"/>
                <a:gd name="T53" fmla="*/ 0 h 39"/>
                <a:gd name="T54" fmla="*/ 14 w 26"/>
                <a:gd name="T55" fmla="*/ 7 h 39"/>
                <a:gd name="T56" fmla="*/ 9 w 26"/>
                <a:gd name="T57" fmla="*/ 12 h 39"/>
                <a:gd name="T58" fmla="*/ 10 w 26"/>
                <a:gd name="T59" fmla="*/ 11 h 39"/>
                <a:gd name="T60" fmla="*/ 9 w 26"/>
                <a:gd name="T61" fmla="*/ 14 h 39"/>
                <a:gd name="T62" fmla="*/ 11 w 26"/>
                <a:gd name="T63" fmla="*/ 1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39">
                  <a:moveTo>
                    <a:pt x="11" y="14"/>
                  </a:moveTo>
                  <a:cubicBezTo>
                    <a:pt x="11" y="14"/>
                    <a:pt x="11" y="13"/>
                    <a:pt x="11" y="11"/>
                  </a:cubicBezTo>
                  <a:cubicBezTo>
                    <a:pt x="11" y="12"/>
                    <a:pt x="12" y="12"/>
                    <a:pt x="13" y="12"/>
                  </a:cubicBezTo>
                  <a:cubicBezTo>
                    <a:pt x="12" y="13"/>
                    <a:pt x="11" y="15"/>
                    <a:pt x="10" y="17"/>
                  </a:cubicBezTo>
                  <a:cubicBezTo>
                    <a:pt x="10" y="17"/>
                    <a:pt x="10" y="18"/>
                    <a:pt x="10" y="18"/>
                  </a:cubicBezTo>
                  <a:cubicBezTo>
                    <a:pt x="11" y="19"/>
                    <a:pt x="12" y="18"/>
                    <a:pt x="13" y="20"/>
                  </a:cubicBezTo>
                  <a:cubicBezTo>
                    <a:pt x="13" y="20"/>
                    <a:pt x="13" y="20"/>
                    <a:pt x="12" y="23"/>
                  </a:cubicBezTo>
                  <a:cubicBezTo>
                    <a:pt x="9" y="25"/>
                    <a:pt x="7" y="29"/>
                    <a:pt x="4" y="31"/>
                  </a:cubicBezTo>
                  <a:cubicBezTo>
                    <a:pt x="6" y="32"/>
                    <a:pt x="7" y="33"/>
                    <a:pt x="9" y="33"/>
                  </a:cubicBezTo>
                  <a:cubicBezTo>
                    <a:pt x="1" y="38"/>
                    <a:pt x="0" y="38"/>
                    <a:pt x="0" y="39"/>
                  </a:cubicBezTo>
                  <a:cubicBezTo>
                    <a:pt x="2" y="39"/>
                    <a:pt x="4" y="39"/>
                    <a:pt x="10" y="37"/>
                  </a:cubicBezTo>
                  <a:cubicBezTo>
                    <a:pt x="14" y="36"/>
                    <a:pt x="18" y="35"/>
                    <a:pt x="20" y="36"/>
                  </a:cubicBezTo>
                  <a:cubicBezTo>
                    <a:pt x="20" y="35"/>
                    <a:pt x="19" y="35"/>
                    <a:pt x="19" y="35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6" y="28"/>
                    <a:pt x="16" y="12"/>
                    <a:pt x="16" y="12"/>
                  </a:cubicBezTo>
                  <a:cubicBezTo>
                    <a:pt x="17" y="9"/>
                    <a:pt x="22" y="9"/>
                    <a:pt x="22" y="5"/>
                  </a:cubicBezTo>
                  <a:cubicBezTo>
                    <a:pt x="22" y="5"/>
                    <a:pt x="22" y="4"/>
                    <a:pt x="21" y="4"/>
                  </a:cubicBezTo>
                  <a:cubicBezTo>
                    <a:pt x="20" y="4"/>
                    <a:pt x="19" y="5"/>
                    <a:pt x="17" y="5"/>
                  </a:cubicBezTo>
                  <a:cubicBezTo>
                    <a:pt x="17" y="4"/>
                    <a:pt x="18" y="4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21" y="1"/>
                    <a:pt x="21" y="1"/>
                    <a:pt x="2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18" y="0"/>
                  </a:cubicBezTo>
                  <a:cubicBezTo>
                    <a:pt x="16" y="1"/>
                    <a:pt x="15" y="2"/>
                    <a:pt x="14" y="7"/>
                  </a:cubicBezTo>
                  <a:cubicBezTo>
                    <a:pt x="13" y="8"/>
                    <a:pt x="13" y="9"/>
                    <a:pt x="9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9" y="14"/>
                    <a:pt x="9" y="14"/>
                  </a:cubicBezTo>
                  <a:cubicBezTo>
                    <a:pt x="10" y="13"/>
                    <a:pt x="10" y="13"/>
                    <a:pt x="1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2883" y="1855"/>
              <a:ext cx="42" cy="31"/>
            </a:xfrm>
            <a:custGeom>
              <a:avLst/>
              <a:gdLst>
                <a:gd name="T0" fmla="*/ 9 w 18"/>
                <a:gd name="T1" fmla="*/ 10 h 13"/>
                <a:gd name="T2" fmla="*/ 13 w 18"/>
                <a:gd name="T3" fmla="*/ 5 h 13"/>
                <a:gd name="T4" fmla="*/ 15 w 18"/>
                <a:gd name="T5" fmla="*/ 2 h 13"/>
                <a:gd name="T6" fmla="*/ 17 w 18"/>
                <a:gd name="T7" fmla="*/ 0 h 13"/>
                <a:gd name="T8" fmla="*/ 17 w 18"/>
                <a:gd name="T9" fmla="*/ 0 h 13"/>
                <a:gd name="T10" fmla="*/ 12 w 18"/>
                <a:gd name="T11" fmla="*/ 0 h 13"/>
                <a:gd name="T12" fmla="*/ 9 w 18"/>
                <a:gd name="T13" fmla="*/ 0 h 13"/>
                <a:gd name="T14" fmla="*/ 10 w 18"/>
                <a:gd name="T15" fmla="*/ 0 h 13"/>
                <a:gd name="T16" fmla="*/ 3 w 18"/>
                <a:gd name="T17" fmla="*/ 6 h 13"/>
                <a:gd name="T18" fmla="*/ 0 w 18"/>
                <a:gd name="T19" fmla="*/ 10 h 13"/>
                <a:gd name="T20" fmla="*/ 1 w 18"/>
                <a:gd name="T21" fmla="*/ 11 h 13"/>
                <a:gd name="T22" fmla="*/ 9 w 18"/>
                <a:gd name="T2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3">
                  <a:moveTo>
                    <a:pt x="9" y="10"/>
                  </a:moveTo>
                  <a:cubicBezTo>
                    <a:pt x="11" y="9"/>
                    <a:pt x="11" y="8"/>
                    <a:pt x="13" y="5"/>
                  </a:cubicBezTo>
                  <a:cubicBezTo>
                    <a:pt x="13" y="3"/>
                    <a:pt x="14" y="3"/>
                    <a:pt x="15" y="2"/>
                  </a:cubicBezTo>
                  <a:cubicBezTo>
                    <a:pt x="15" y="1"/>
                    <a:pt x="17" y="1"/>
                    <a:pt x="17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6" y="0"/>
                    <a:pt x="15" y="0"/>
                    <a:pt x="12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1"/>
                    <a:pt x="4" y="2"/>
                    <a:pt x="3" y="6"/>
                  </a:cubicBezTo>
                  <a:cubicBezTo>
                    <a:pt x="3" y="9"/>
                    <a:pt x="2" y="10"/>
                    <a:pt x="0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4" y="13"/>
                    <a:pt x="9" y="10"/>
                    <a:pt x="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3191" y="1620"/>
              <a:ext cx="43" cy="61"/>
            </a:xfrm>
            <a:custGeom>
              <a:avLst/>
              <a:gdLst>
                <a:gd name="T0" fmla="*/ 4 w 18"/>
                <a:gd name="T1" fmla="*/ 9 h 26"/>
                <a:gd name="T2" fmla="*/ 5 w 18"/>
                <a:gd name="T3" fmla="*/ 13 h 26"/>
                <a:gd name="T4" fmla="*/ 5 w 18"/>
                <a:gd name="T5" fmla="*/ 14 h 26"/>
                <a:gd name="T6" fmla="*/ 6 w 18"/>
                <a:gd name="T7" fmla="*/ 14 h 26"/>
                <a:gd name="T8" fmla="*/ 6 w 18"/>
                <a:gd name="T9" fmla="*/ 21 h 26"/>
                <a:gd name="T10" fmla="*/ 6 w 18"/>
                <a:gd name="T11" fmla="*/ 21 h 26"/>
                <a:gd name="T12" fmla="*/ 13 w 18"/>
                <a:gd name="T13" fmla="*/ 26 h 26"/>
                <a:gd name="T14" fmla="*/ 12 w 18"/>
                <a:gd name="T15" fmla="*/ 26 h 26"/>
                <a:gd name="T16" fmla="*/ 18 w 18"/>
                <a:gd name="T17" fmla="*/ 26 h 26"/>
                <a:gd name="T18" fmla="*/ 15 w 18"/>
                <a:gd name="T19" fmla="*/ 23 h 26"/>
                <a:gd name="T20" fmla="*/ 8 w 18"/>
                <a:gd name="T21" fmla="*/ 15 h 26"/>
                <a:gd name="T22" fmla="*/ 8 w 18"/>
                <a:gd name="T23" fmla="*/ 15 h 26"/>
                <a:gd name="T24" fmla="*/ 7 w 18"/>
                <a:gd name="T25" fmla="*/ 13 h 26"/>
                <a:gd name="T26" fmla="*/ 7 w 18"/>
                <a:gd name="T27" fmla="*/ 9 h 26"/>
                <a:gd name="T28" fmla="*/ 7 w 18"/>
                <a:gd name="T29" fmla="*/ 7 h 26"/>
                <a:gd name="T30" fmla="*/ 4 w 18"/>
                <a:gd name="T31" fmla="*/ 0 h 26"/>
                <a:gd name="T32" fmla="*/ 3 w 18"/>
                <a:gd name="T33" fmla="*/ 0 h 26"/>
                <a:gd name="T34" fmla="*/ 3 w 18"/>
                <a:gd name="T35" fmla="*/ 0 h 26"/>
                <a:gd name="T36" fmla="*/ 4 w 18"/>
                <a:gd name="T37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6">
                  <a:moveTo>
                    <a:pt x="4" y="9"/>
                  </a:moveTo>
                  <a:cubicBezTo>
                    <a:pt x="3" y="11"/>
                    <a:pt x="4" y="12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5" y="15"/>
                    <a:pt x="6" y="20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2"/>
                    <a:pt x="11" y="24"/>
                    <a:pt x="13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8" y="26"/>
                    <a:pt x="15" y="23"/>
                  </a:cubicBezTo>
                  <a:cubicBezTo>
                    <a:pt x="8" y="16"/>
                    <a:pt x="8" y="16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0" y="14"/>
                    <a:pt x="8" y="13"/>
                    <a:pt x="7" y="13"/>
                  </a:cubicBezTo>
                  <a:cubicBezTo>
                    <a:pt x="8" y="12"/>
                    <a:pt x="7" y="10"/>
                    <a:pt x="7" y="9"/>
                  </a:cubicBezTo>
                  <a:cubicBezTo>
                    <a:pt x="7" y="9"/>
                    <a:pt x="7" y="9"/>
                    <a:pt x="7" y="7"/>
                  </a:cubicBezTo>
                  <a:cubicBezTo>
                    <a:pt x="6" y="3"/>
                    <a:pt x="5" y="1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3578" y="2297"/>
              <a:ext cx="17" cy="35"/>
            </a:xfrm>
            <a:custGeom>
              <a:avLst/>
              <a:gdLst>
                <a:gd name="T0" fmla="*/ 2 w 7"/>
                <a:gd name="T1" fmla="*/ 0 h 15"/>
                <a:gd name="T2" fmla="*/ 2 w 7"/>
                <a:gd name="T3" fmla="*/ 14 h 15"/>
                <a:gd name="T4" fmla="*/ 6 w 7"/>
                <a:gd name="T5" fmla="*/ 9 h 15"/>
                <a:gd name="T6" fmla="*/ 2 w 7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5">
                  <a:moveTo>
                    <a:pt x="2" y="0"/>
                  </a:moveTo>
                  <a:cubicBezTo>
                    <a:pt x="2" y="0"/>
                    <a:pt x="0" y="12"/>
                    <a:pt x="2" y="14"/>
                  </a:cubicBezTo>
                  <a:cubicBezTo>
                    <a:pt x="3" y="15"/>
                    <a:pt x="6" y="13"/>
                    <a:pt x="6" y="9"/>
                  </a:cubicBezTo>
                  <a:cubicBezTo>
                    <a:pt x="7" y="5"/>
                    <a:pt x="5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3253" y="2537"/>
              <a:ext cx="71" cy="102"/>
            </a:xfrm>
            <a:custGeom>
              <a:avLst/>
              <a:gdLst>
                <a:gd name="T0" fmla="*/ 18 w 30"/>
                <a:gd name="T1" fmla="*/ 7 h 43"/>
                <a:gd name="T2" fmla="*/ 5 w 30"/>
                <a:gd name="T3" fmla="*/ 19 h 43"/>
                <a:gd name="T4" fmla="*/ 1 w 30"/>
                <a:gd name="T5" fmla="*/ 33 h 43"/>
                <a:gd name="T6" fmla="*/ 0 w 30"/>
                <a:gd name="T7" fmla="*/ 35 h 43"/>
                <a:gd name="T8" fmla="*/ 0 w 30"/>
                <a:gd name="T9" fmla="*/ 39 h 43"/>
                <a:gd name="T10" fmla="*/ 11 w 30"/>
                <a:gd name="T11" fmla="*/ 38 h 43"/>
                <a:gd name="T12" fmla="*/ 29 w 30"/>
                <a:gd name="T13" fmla="*/ 10 h 43"/>
                <a:gd name="T14" fmla="*/ 27 w 30"/>
                <a:gd name="T15" fmla="*/ 0 h 43"/>
                <a:gd name="T16" fmla="*/ 18 w 30"/>
                <a:gd name="T17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3">
                  <a:moveTo>
                    <a:pt x="18" y="7"/>
                  </a:moveTo>
                  <a:cubicBezTo>
                    <a:pt x="15" y="10"/>
                    <a:pt x="7" y="16"/>
                    <a:pt x="5" y="19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5"/>
                    <a:pt x="0" y="35"/>
                  </a:cubicBezTo>
                  <a:cubicBezTo>
                    <a:pt x="0" y="36"/>
                    <a:pt x="0" y="38"/>
                    <a:pt x="0" y="39"/>
                  </a:cubicBezTo>
                  <a:cubicBezTo>
                    <a:pt x="1" y="43"/>
                    <a:pt x="9" y="41"/>
                    <a:pt x="11" y="38"/>
                  </a:cubicBezTo>
                  <a:cubicBezTo>
                    <a:pt x="19" y="30"/>
                    <a:pt x="29" y="10"/>
                    <a:pt x="29" y="10"/>
                  </a:cubicBezTo>
                  <a:cubicBezTo>
                    <a:pt x="29" y="9"/>
                    <a:pt x="30" y="3"/>
                    <a:pt x="27" y="0"/>
                  </a:cubicBezTo>
                  <a:cubicBezTo>
                    <a:pt x="27" y="1"/>
                    <a:pt x="26" y="1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3006" y="2050"/>
              <a:ext cx="24" cy="16"/>
            </a:xfrm>
            <a:custGeom>
              <a:avLst/>
              <a:gdLst>
                <a:gd name="T0" fmla="*/ 9 w 10"/>
                <a:gd name="T1" fmla="*/ 3 h 7"/>
                <a:gd name="T2" fmla="*/ 9 w 10"/>
                <a:gd name="T3" fmla="*/ 1 h 7"/>
                <a:gd name="T4" fmla="*/ 10 w 10"/>
                <a:gd name="T5" fmla="*/ 1 h 7"/>
                <a:gd name="T6" fmla="*/ 3 w 10"/>
                <a:gd name="T7" fmla="*/ 0 h 7"/>
                <a:gd name="T8" fmla="*/ 0 w 10"/>
                <a:gd name="T9" fmla="*/ 1 h 7"/>
                <a:gd name="T10" fmla="*/ 8 w 10"/>
                <a:gd name="T11" fmla="*/ 7 h 7"/>
                <a:gd name="T12" fmla="*/ 9 w 10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7">
                  <a:moveTo>
                    <a:pt x="9" y="3"/>
                  </a:moveTo>
                  <a:cubicBezTo>
                    <a:pt x="9" y="2"/>
                    <a:pt x="9" y="1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9" y="1"/>
                    <a:pt x="6" y="2"/>
                    <a:pt x="3" y="0"/>
                  </a:cubicBezTo>
                  <a:cubicBezTo>
                    <a:pt x="2" y="0"/>
                    <a:pt x="0" y="0"/>
                    <a:pt x="0" y="1"/>
                  </a:cubicBezTo>
                  <a:cubicBezTo>
                    <a:pt x="0" y="3"/>
                    <a:pt x="7" y="7"/>
                    <a:pt x="8" y="7"/>
                  </a:cubicBezTo>
                  <a:cubicBezTo>
                    <a:pt x="9" y="7"/>
                    <a:pt x="9" y="5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4" name="Rectangle 113"/>
            <p:cNvSpPr>
              <a:spLocks noChangeArrowheads="1"/>
            </p:cNvSpPr>
            <p:nvPr/>
          </p:nvSpPr>
          <p:spPr bwMode="auto">
            <a:xfrm>
              <a:off x="3127" y="1686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5" name="Freeform 114"/>
            <p:cNvSpPr>
              <a:spLocks noEditPoints="1"/>
            </p:cNvSpPr>
            <p:nvPr/>
          </p:nvSpPr>
          <p:spPr bwMode="auto">
            <a:xfrm>
              <a:off x="2745" y="1593"/>
              <a:ext cx="999" cy="1117"/>
            </a:xfrm>
            <a:custGeom>
              <a:avLst/>
              <a:gdLst>
                <a:gd name="T0" fmla="*/ 388 w 421"/>
                <a:gd name="T1" fmla="*/ 142 h 470"/>
                <a:gd name="T2" fmla="*/ 341 w 421"/>
                <a:gd name="T3" fmla="*/ 61 h 470"/>
                <a:gd name="T4" fmla="*/ 253 w 421"/>
                <a:gd name="T5" fmla="*/ 3 h 470"/>
                <a:gd name="T6" fmla="*/ 250 w 421"/>
                <a:gd name="T7" fmla="*/ 9 h 470"/>
                <a:gd name="T8" fmla="*/ 238 w 421"/>
                <a:gd name="T9" fmla="*/ 17 h 470"/>
                <a:gd name="T10" fmla="*/ 220 w 421"/>
                <a:gd name="T11" fmla="*/ 19 h 470"/>
                <a:gd name="T12" fmla="*/ 231 w 421"/>
                <a:gd name="T13" fmla="*/ 31 h 470"/>
                <a:gd name="T14" fmla="*/ 217 w 421"/>
                <a:gd name="T15" fmla="*/ 45 h 470"/>
                <a:gd name="T16" fmla="*/ 191 w 421"/>
                <a:gd name="T17" fmla="*/ 49 h 470"/>
                <a:gd name="T18" fmla="*/ 191 w 421"/>
                <a:gd name="T19" fmla="*/ 49 h 470"/>
                <a:gd name="T20" fmla="*/ 189 w 421"/>
                <a:gd name="T21" fmla="*/ 67 h 470"/>
                <a:gd name="T22" fmla="*/ 186 w 421"/>
                <a:gd name="T23" fmla="*/ 60 h 470"/>
                <a:gd name="T24" fmla="*/ 165 w 421"/>
                <a:gd name="T25" fmla="*/ 39 h 470"/>
                <a:gd name="T26" fmla="*/ 153 w 421"/>
                <a:gd name="T27" fmla="*/ 41 h 470"/>
                <a:gd name="T28" fmla="*/ 146 w 421"/>
                <a:gd name="T29" fmla="*/ 48 h 470"/>
                <a:gd name="T30" fmla="*/ 142 w 421"/>
                <a:gd name="T31" fmla="*/ 50 h 470"/>
                <a:gd name="T32" fmla="*/ 128 w 421"/>
                <a:gd name="T33" fmla="*/ 71 h 470"/>
                <a:gd name="T34" fmla="*/ 109 w 421"/>
                <a:gd name="T35" fmla="*/ 94 h 470"/>
                <a:gd name="T36" fmla="*/ 156 w 421"/>
                <a:gd name="T37" fmla="*/ 65 h 470"/>
                <a:gd name="T38" fmla="*/ 148 w 421"/>
                <a:gd name="T39" fmla="*/ 101 h 470"/>
                <a:gd name="T40" fmla="*/ 101 w 421"/>
                <a:gd name="T41" fmla="*/ 122 h 470"/>
                <a:gd name="T42" fmla="*/ 46 w 421"/>
                <a:gd name="T43" fmla="*/ 166 h 470"/>
                <a:gd name="T44" fmla="*/ 130 w 421"/>
                <a:gd name="T45" fmla="*/ 185 h 470"/>
                <a:gd name="T46" fmla="*/ 145 w 421"/>
                <a:gd name="T47" fmla="*/ 183 h 470"/>
                <a:gd name="T48" fmla="*/ 181 w 421"/>
                <a:gd name="T49" fmla="*/ 162 h 470"/>
                <a:gd name="T50" fmla="*/ 184 w 421"/>
                <a:gd name="T51" fmla="*/ 174 h 470"/>
                <a:gd name="T52" fmla="*/ 190 w 421"/>
                <a:gd name="T53" fmla="*/ 199 h 470"/>
                <a:gd name="T54" fmla="*/ 105 w 421"/>
                <a:gd name="T55" fmla="*/ 197 h 470"/>
                <a:gd name="T56" fmla="*/ 89 w 421"/>
                <a:gd name="T57" fmla="*/ 337 h 470"/>
                <a:gd name="T58" fmla="*/ 186 w 421"/>
                <a:gd name="T59" fmla="*/ 435 h 470"/>
                <a:gd name="T60" fmla="*/ 254 w 421"/>
                <a:gd name="T61" fmla="*/ 306 h 470"/>
                <a:gd name="T62" fmla="*/ 179 w 421"/>
                <a:gd name="T63" fmla="*/ 229 h 470"/>
                <a:gd name="T64" fmla="*/ 285 w 421"/>
                <a:gd name="T65" fmla="*/ 257 h 470"/>
                <a:gd name="T66" fmla="*/ 240 w 421"/>
                <a:gd name="T67" fmla="*/ 229 h 470"/>
                <a:gd name="T68" fmla="*/ 325 w 421"/>
                <a:gd name="T69" fmla="*/ 256 h 470"/>
                <a:gd name="T70" fmla="*/ 371 w 421"/>
                <a:gd name="T71" fmla="*/ 237 h 470"/>
                <a:gd name="T72" fmla="*/ 398 w 421"/>
                <a:gd name="T73" fmla="*/ 308 h 470"/>
                <a:gd name="T74" fmla="*/ 403 w 421"/>
                <a:gd name="T75" fmla="*/ 220 h 470"/>
                <a:gd name="T76" fmla="*/ 166 w 421"/>
                <a:gd name="T77" fmla="*/ 370 h 470"/>
                <a:gd name="T78" fmla="*/ 186 w 421"/>
                <a:gd name="T79" fmla="*/ 398 h 470"/>
                <a:gd name="T80" fmla="*/ 183 w 421"/>
                <a:gd name="T81" fmla="*/ 391 h 470"/>
                <a:gd name="T82" fmla="*/ 180 w 421"/>
                <a:gd name="T83" fmla="*/ 356 h 470"/>
                <a:gd name="T84" fmla="*/ 180 w 421"/>
                <a:gd name="T85" fmla="*/ 356 h 470"/>
                <a:gd name="T86" fmla="*/ 232 w 421"/>
                <a:gd name="T87" fmla="*/ 36 h 470"/>
                <a:gd name="T88" fmla="*/ 249 w 421"/>
                <a:gd name="T89" fmla="*/ 198 h 470"/>
                <a:gd name="T90" fmla="*/ 225 w 421"/>
                <a:gd name="T91" fmla="*/ 161 h 470"/>
                <a:gd name="T92" fmla="*/ 253 w 421"/>
                <a:gd name="T93" fmla="*/ 182 h 470"/>
                <a:gd name="T94" fmla="*/ 266 w 421"/>
                <a:gd name="T95" fmla="*/ 157 h 470"/>
                <a:gd name="T96" fmla="*/ 269 w 421"/>
                <a:gd name="T97" fmla="*/ 158 h 470"/>
                <a:gd name="T98" fmla="*/ 306 w 421"/>
                <a:gd name="T99" fmla="*/ 140 h 470"/>
                <a:gd name="T100" fmla="*/ 313 w 421"/>
                <a:gd name="T101" fmla="*/ 137 h 470"/>
                <a:gd name="T102" fmla="*/ 341 w 421"/>
                <a:gd name="T103" fmla="*/ 9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1" h="470">
                  <a:moveTo>
                    <a:pt x="403" y="220"/>
                  </a:moveTo>
                  <a:cubicBezTo>
                    <a:pt x="403" y="221"/>
                    <a:pt x="404" y="222"/>
                    <a:pt x="405" y="222"/>
                  </a:cubicBezTo>
                  <a:cubicBezTo>
                    <a:pt x="421" y="205"/>
                    <a:pt x="392" y="141"/>
                    <a:pt x="392" y="140"/>
                  </a:cubicBezTo>
                  <a:cubicBezTo>
                    <a:pt x="391" y="141"/>
                    <a:pt x="391" y="142"/>
                    <a:pt x="390" y="142"/>
                  </a:cubicBezTo>
                  <a:cubicBezTo>
                    <a:pt x="390" y="142"/>
                    <a:pt x="389" y="142"/>
                    <a:pt x="388" y="142"/>
                  </a:cubicBezTo>
                  <a:cubicBezTo>
                    <a:pt x="386" y="139"/>
                    <a:pt x="386" y="138"/>
                    <a:pt x="385" y="129"/>
                  </a:cubicBezTo>
                  <a:cubicBezTo>
                    <a:pt x="386" y="130"/>
                    <a:pt x="387" y="132"/>
                    <a:pt x="388" y="133"/>
                  </a:cubicBezTo>
                  <a:cubicBezTo>
                    <a:pt x="388" y="133"/>
                    <a:pt x="388" y="132"/>
                    <a:pt x="389" y="131"/>
                  </a:cubicBezTo>
                  <a:cubicBezTo>
                    <a:pt x="390" y="133"/>
                    <a:pt x="394" y="137"/>
                    <a:pt x="399" y="149"/>
                  </a:cubicBezTo>
                  <a:cubicBezTo>
                    <a:pt x="399" y="149"/>
                    <a:pt x="390" y="108"/>
                    <a:pt x="341" y="61"/>
                  </a:cubicBezTo>
                  <a:cubicBezTo>
                    <a:pt x="342" y="61"/>
                    <a:pt x="343" y="62"/>
                    <a:pt x="343" y="62"/>
                  </a:cubicBezTo>
                  <a:cubicBezTo>
                    <a:pt x="292" y="21"/>
                    <a:pt x="292" y="21"/>
                    <a:pt x="289" y="19"/>
                  </a:cubicBezTo>
                  <a:cubicBezTo>
                    <a:pt x="275" y="12"/>
                    <a:pt x="268" y="8"/>
                    <a:pt x="256" y="3"/>
                  </a:cubicBezTo>
                  <a:cubicBezTo>
                    <a:pt x="253" y="2"/>
                    <a:pt x="249" y="1"/>
                    <a:pt x="246" y="0"/>
                  </a:cubicBezTo>
                  <a:cubicBezTo>
                    <a:pt x="247" y="0"/>
                    <a:pt x="249" y="1"/>
                    <a:pt x="253" y="3"/>
                  </a:cubicBezTo>
                  <a:cubicBezTo>
                    <a:pt x="249" y="2"/>
                    <a:pt x="249" y="2"/>
                    <a:pt x="245" y="3"/>
                  </a:cubicBezTo>
                  <a:cubicBezTo>
                    <a:pt x="245" y="3"/>
                    <a:pt x="246" y="4"/>
                    <a:pt x="247" y="4"/>
                  </a:cubicBezTo>
                  <a:cubicBezTo>
                    <a:pt x="246" y="4"/>
                    <a:pt x="245" y="4"/>
                    <a:pt x="244" y="3"/>
                  </a:cubicBezTo>
                  <a:cubicBezTo>
                    <a:pt x="246" y="6"/>
                    <a:pt x="250" y="7"/>
                    <a:pt x="253" y="8"/>
                  </a:cubicBezTo>
                  <a:cubicBezTo>
                    <a:pt x="252" y="9"/>
                    <a:pt x="251" y="9"/>
                    <a:pt x="250" y="9"/>
                  </a:cubicBezTo>
                  <a:cubicBezTo>
                    <a:pt x="252" y="10"/>
                    <a:pt x="254" y="11"/>
                    <a:pt x="255" y="12"/>
                  </a:cubicBezTo>
                  <a:cubicBezTo>
                    <a:pt x="249" y="11"/>
                    <a:pt x="244" y="8"/>
                    <a:pt x="238" y="8"/>
                  </a:cubicBezTo>
                  <a:cubicBezTo>
                    <a:pt x="239" y="8"/>
                    <a:pt x="241" y="9"/>
                    <a:pt x="242" y="10"/>
                  </a:cubicBezTo>
                  <a:cubicBezTo>
                    <a:pt x="238" y="13"/>
                    <a:pt x="238" y="13"/>
                    <a:pt x="232" y="10"/>
                  </a:cubicBezTo>
                  <a:cubicBezTo>
                    <a:pt x="234" y="13"/>
                    <a:pt x="237" y="13"/>
                    <a:pt x="238" y="17"/>
                  </a:cubicBezTo>
                  <a:cubicBezTo>
                    <a:pt x="229" y="8"/>
                    <a:pt x="212" y="3"/>
                    <a:pt x="200" y="3"/>
                  </a:cubicBezTo>
                  <a:cubicBezTo>
                    <a:pt x="206" y="6"/>
                    <a:pt x="206" y="6"/>
                    <a:pt x="210" y="7"/>
                  </a:cubicBezTo>
                  <a:cubicBezTo>
                    <a:pt x="210" y="8"/>
                    <a:pt x="210" y="9"/>
                    <a:pt x="210" y="9"/>
                  </a:cubicBezTo>
                  <a:cubicBezTo>
                    <a:pt x="218" y="16"/>
                    <a:pt x="218" y="16"/>
                    <a:pt x="220" y="17"/>
                  </a:cubicBezTo>
                  <a:cubicBezTo>
                    <a:pt x="220" y="18"/>
                    <a:pt x="220" y="19"/>
                    <a:pt x="220" y="19"/>
                  </a:cubicBezTo>
                  <a:cubicBezTo>
                    <a:pt x="223" y="23"/>
                    <a:pt x="223" y="23"/>
                    <a:pt x="230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27" y="26"/>
                    <a:pt x="227" y="26"/>
                    <a:pt x="222" y="26"/>
                  </a:cubicBezTo>
                  <a:cubicBezTo>
                    <a:pt x="225" y="27"/>
                    <a:pt x="228" y="30"/>
                    <a:pt x="231" y="31"/>
                  </a:cubicBezTo>
                  <a:cubicBezTo>
                    <a:pt x="229" y="30"/>
                    <a:pt x="228" y="30"/>
                    <a:pt x="227" y="30"/>
                  </a:cubicBezTo>
                  <a:cubicBezTo>
                    <a:pt x="223" y="26"/>
                    <a:pt x="219" y="24"/>
                    <a:pt x="212" y="25"/>
                  </a:cubicBezTo>
                  <a:cubicBezTo>
                    <a:pt x="219" y="37"/>
                    <a:pt x="224" y="40"/>
                    <a:pt x="229" y="43"/>
                  </a:cubicBezTo>
                  <a:cubicBezTo>
                    <a:pt x="225" y="43"/>
                    <a:pt x="220" y="41"/>
                    <a:pt x="216" y="40"/>
                  </a:cubicBezTo>
                  <a:cubicBezTo>
                    <a:pt x="216" y="41"/>
                    <a:pt x="216" y="44"/>
                    <a:pt x="217" y="45"/>
                  </a:cubicBezTo>
                  <a:cubicBezTo>
                    <a:pt x="212" y="47"/>
                    <a:pt x="205" y="47"/>
                    <a:pt x="205" y="47"/>
                  </a:cubicBezTo>
                  <a:cubicBezTo>
                    <a:pt x="200" y="51"/>
                    <a:pt x="199" y="52"/>
                    <a:pt x="195" y="54"/>
                  </a:cubicBezTo>
                  <a:cubicBezTo>
                    <a:pt x="195" y="52"/>
                    <a:pt x="195" y="51"/>
                    <a:pt x="194" y="49"/>
                  </a:cubicBezTo>
                  <a:cubicBezTo>
                    <a:pt x="194" y="49"/>
                    <a:pt x="193" y="49"/>
                    <a:pt x="192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49"/>
                    <a:pt x="191" y="49"/>
                    <a:pt x="191" y="49"/>
                  </a:cubicBezTo>
                  <a:cubicBezTo>
                    <a:pt x="191" y="53"/>
                    <a:pt x="193" y="59"/>
                    <a:pt x="194" y="61"/>
                  </a:cubicBezTo>
                  <a:cubicBezTo>
                    <a:pt x="193" y="60"/>
                    <a:pt x="191" y="59"/>
                    <a:pt x="190" y="59"/>
                  </a:cubicBezTo>
                  <a:cubicBezTo>
                    <a:pt x="188" y="62"/>
                    <a:pt x="188" y="62"/>
                    <a:pt x="189" y="67"/>
                  </a:cubicBezTo>
                  <a:cubicBezTo>
                    <a:pt x="186" y="67"/>
                    <a:pt x="186" y="67"/>
                    <a:pt x="181" y="65"/>
                  </a:cubicBezTo>
                  <a:cubicBezTo>
                    <a:pt x="181" y="66"/>
                    <a:pt x="181" y="67"/>
                    <a:pt x="182" y="68"/>
                  </a:cubicBezTo>
                  <a:cubicBezTo>
                    <a:pt x="182" y="68"/>
                    <a:pt x="183" y="69"/>
                    <a:pt x="184" y="69"/>
                  </a:cubicBezTo>
                  <a:cubicBezTo>
                    <a:pt x="180" y="68"/>
                    <a:pt x="180" y="68"/>
                    <a:pt x="170" y="56"/>
                  </a:cubicBezTo>
                  <a:cubicBezTo>
                    <a:pt x="180" y="59"/>
                    <a:pt x="181" y="60"/>
                    <a:pt x="186" y="60"/>
                  </a:cubicBezTo>
                  <a:cubicBezTo>
                    <a:pt x="187" y="59"/>
                    <a:pt x="187" y="58"/>
                    <a:pt x="188" y="58"/>
                  </a:cubicBezTo>
                  <a:cubicBezTo>
                    <a:pt x="184" y="50"/>
                    <a:pt x="175" y="49"/>
                    <a:pt x="169" y="44"/>
                  </a:cubicBezTo>
                  <a:cubicBezTo>
                    <a:pt x="168" y="44"/>
                    <a:pt x="166" y="43"/>
                    <a:pt x="165" y="42"/>
                  </a:cubicBezTo>
                  <a:cubicBezTo>
                    <a:pt x="165" y="42"/>
                    <a:pt x="166" y="42"/>
                    <a:pt x="167" y="41"/>
                  </a:cubicBezTo>
                  <a:cubicBezTo>
                    <a:pt x="166" y="41"/>
                    <a:pt x="166" y="40"/>
                    <a:pt x="165" y="39"/>
                  </a:cubicBezTo>
                  <a:cubicBezTo>
                    <a:pt x="161" y="40"/>
                    <a:pt x="161" y="40"/>
                    <a:pt x="159" y="42"/>
                  </a:cubicBezTo>
                  <a:cubicBezTo>
                    <a:pt x="159" y="41"/>
                    <a:pt x="159" y="40"/>
                    <a:pt x="159" y="39"/>
                  </a:cubicBezTo>
                  <a:cubicBezTo>
                    <a:pt x="159" y="39"/>
                    <a:pt x="158" y="39"/>
                    <a:pt x="157" y="39"/>
                  </a:cubicBezTo>
                  <a:cubicBezTo>
                    <a:pt x="156" y="40"/>
                    <a:pt x="156" y="41"/>
                    <a:pt x="156" y="41"/>
                  </a:cubicBezTo>
                  <a:cubicBezTo>
                    <a:pt x="155" y="41"/>
                    <a:pt x="154" y="41"/>
                    <a:pt x="153" y="41"/>
                  </a:cubicBezTo>
                  <a:cubicBezTo>
                    <a:pt x="153" y="42"/>
                    <a:pt x="153" y="43"/>
                    <a:pt x="154" y="44"/>
                  </a:cubicBezTo>
                  <a:cubicBezTo>
                    <a:pt x="153" y="44"/>
                    <a:pt x="152" y="44"/>
                    <a:pt x="151" y="45"/>
                  </a:cubicBezTo>
                  <a:cubicBezTo>
                    <a:pt x="151" y="44"/>
                    <a:pt x="150" y="44"/>
                    <a:pt x="150" y="43"/>
                  </a:cubicBezTo>
                  <a:cubicBezTo>
                    <a:pt x="149" y="44"/>
                    <a:pt x="147" y="45"/>
                    <a:pt x="146" y="45"/>
                  </a:cubicBezTo>
                  <a:cubicBezTo>
                    <a:pt x="146" y="46"/>
                    <a:pt x="146" y="47"/>
                    <a:pt x="146" y="48"/>
                  </a:cubicBezTo>
                  <a:cubicBezTo>
                    <a:pt x="145" y="48"/>
                    <a:pt x="144" y="48"/>
                    <a:pt x="144" y="48"/>
                  </a:cubicBezTo>
                  <a:cubicBezTo>
                    <a:pt x="144" y="47"/>
                    <a:pt x="144" y="46"/>
                    <a:pt x="144" y="46"/>
                  </a:cubicBezTo>
                  <a:cubicBezTo>
                    <a:pt x="144" y="46"/>
                    <a:pt x="143" y="47"/>
                    <a:pt x="142" y="48"/>
                  </a:cubicBezTo>
                  <a:cubicBezTo>
                    <a:pt x="141" y="49"/>
                    <a:pt x="140" y="50"/>
                    <a:pt x="139" y="50"/>
                  </a:cubicBezTo>
                  <a:cubicBezTo>
                    <a:pt x="140" y="50"/>
                    <a:pt x="141" y="50"/>
                    <a:pt x="142" y="50"/>
                  </a:cubicBezTo>
                  <a:cubicBezTo>
                    <a:pt x="142" y="50"/>
                    <a:pt x="140" y="56"/>
                    <a:pt x="136" y="59"/>
                  </a:cubicBezTo>
                  <a:cubicBezTo>
                    <a:pt x="136" y="59"/>
                    <a:pt x="137" y="59"/>
                    <a:pt x="137" y="59"/>
                  </a:cubicBezTo>
                  <a:cubicBezTo>
                    <a:pt x="136" y="60"/>
                    <a:pt x="136" y="60"/>
                    <a:pt x="135" y="60"/>
                  </a:cubicBezTo>
                  <a:cubicBezTo>
                    <a:pt x="134" y="62"/>
                    <a:pt x="133" y="66"/>
                    <a:pt x="126" y="71"/>
                  </a:cubicBezTo>
                  <a:cubicBezTo>
                    <a:pt x="126" y="71"/>
                    <a:pt x="127" y="71"/>
                    <a:pt x="128" y="71"/>
                  </a:cubicBezTo>
                  <a:cubicBezTo>
                    <a:pt x="122" y="73"/>
                    <a:pt x="114" y="75"/>
                    <a:pt x="110" y="86"/>
                  </a:cubicBezTo>
                  <a:cubicBezTo>
                    <a:pt x="111" y="86"/>
                    <a:pt x="112" y="86"/>
                    <a:pt x="113" y="87"/>
                  </a:cubicBezTo>
                  <a:cubicBezTo>
                    <a:pt x="112" y="88"/>
                    <a:pt x="111" y="90"/>
                    <a:pt x="109" y="90"/>
                  </a:cubicBezTo>
                  <a:cubicBezTo>
                    <a:pt x="110" y="90"/>
                    <a:pt x="111" y="90"/>
                    <a:pt x="112" y="90"/>
                  </a:cubicBezTo>
                  <a:cubicBezTo>
                    <a:pt x="111" y="92"/>
                    <a:pt x="110" y="93"/>
                    <a:pt x="109" y="94"/>
                  </a:cubicBezTo>
                  <a:cubicBezTo>
                    <a:pt x="111" y="95"/>
                    <a:pt x="114" y="96"/>
                    <a:pt x="121" y="92"/>
                  </a:cubicBezTo>
                  <a:cubicBezTo>
                    <a:pt x="122" y="97"/>
                    <a:pt x="124" y="105"/>
                    <a:pt x="125" y="111"/>
                  </a:cubicBezTo>
                  <a:cubicBezTo>
                    <a:pt x="129" y="110"/>
                    <a:pt x="141" y="95"/>
                    <a:pt x="140" y="88"/>
                  </a:cubicBezTo>
                  <a:cubicBezTo>
                    <a:pt x="138" y="80"/>
                    <a:pt x="142" y="72"/>
                    <a:pt x="152" y="63"/>
                  </a:cubicBezTo>
                  <a:cubicBezTo>
                    <a:pt x="153" y="63"/>
                    <a:pt x="155" y="64"/>
                    <a:pt x="156" y="65"/>
                  </a:cubicBezTo>
                  <a:cubicBezTo>
                    <a:pt x="150" y="88"/>
                    <a:pt x="150" y="88"/>
                    <a:pt x="150" y="88"/>
                  </a:cubicBezTo>
                  <a:cubicBezTo>
                    <a:pt x="156" y="89"/>
                    <a:pt x="161" y="89"/>
                    <a:pt x="167" y="90"/>
                  </a:cubicBezTo>
                  <a:cubicBezTo>
                    <a:pt x="165" y="91"/>
                    <a:pt x="163" y="93"/>
                    <a:pt x="151" y="95"/>
                  </a:cubicBezTo>
                  <a:cubicBezTo>
                    <a:pt x="156" y="100"/>
                    <a:pt x="154" y="102"/>
                    <a:pt x="152" y="104"/>
                  </a:cubicBezTo>
                  <a:cubicBezTo>
                    <a:pt x="151" y="103"/>
                    <a:pt x="149" y="102"/>
                    <a:pt x="148" y="101"/>
                  </a:cubicBezTo>
                  <a:cubicBezTo>
                    <a:pt x="145" y="105"/>
                    <a:pt x="146" y="111"/>
                    <a:pt x="141" y="114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16" y="112"/>
                    <a:pt x="116" y="112"/>
                    <a:pt x="119" y="101"/>
                  </a:cubicBezTo>
                  <a:cubicBezTo>
                    <a:pt x="108" y="103"/>
                    <a:pt x="113" y="119"/>
                    <a:pt x="113" y="119"/>
                  </a:cubicBezTo>
                  <a:cubicBezTo>
                    <a:pt x="110" y="118"/>
                    <a:pt x="108" y="118"/>
                    <a:pt x="101" y="122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92" y="126"/>
                    <a:pt x="87" y="136"/>
                    <a:pt x="77" y="136"/>
                  </a:cubicBezTo>
                  <a:cubicBezTo>
                    <a:pt x="74" y="139"/>
                    <a:pt x="74" y="139"/>
                    <a:pt x="67" y="140"/>
                  </a:cubicBezTo>
                  <a:cubicBezTo>
                    <a:pt x="68" y="162"/>
                    <a:pt x="68" y="162"/>
                    <a:pt x="66" y="163"/>
                  </a:cubicBezTo>
                  <a:cubicBezTo>
                    <a:pt x="60" y="165"/>
                    <a:pt x="49" y="157"/>
                    <a:pt x="46" y="166"/>
                  </a:cubicBezTo>
                  <a:cubicBezTo>
                    <a:pt x="41" y="186"/>
                    <a:pt x="41" y="186"/>
                    <a:pt x="43" y="189"/>
                  </a:cubicBezTo>
                  <a:cubicBezTo>
                    <a:pt x="45" y="193"/>
                    <a:pt x="56" y="199"/>
                    <a:pt x="61" y="193"/>
                  </a:cubicBezTo>
                  <a:cubicBezTo>
                    <a:pt x="113" y="135"/>
                    <a:pt x="123" y="189"/>
                    <a:pt x="122" y="190"/>
                  </a:cubicBezTo>
                  <a:cubicBezTo>
                    <a:pt x="122" y="191"/>
                    <a:pt x="122" y="192"/>
                    <a:pt x="121" y="193"/>
                  </a:cubicBezTo>
                  <a:cubicBezTo>
                    <a:pt x="124" y="188"/>
                    <a:pt x="124" y="188"/>
                    <a:pt x="130" y="185"/>
                  </a:cubicBezTo>
                  <a:cubicBezTo>
                    <a:pt x="116" y="164"/>
                    <a:pt x="116" y="164"/>
                    <a:pt x="118" y="158"/>
                  </a:cubicBezTo>
                  <a:cubicBezTo>
                    <a:pt x="144" y="194"/>
                    <a:pt x="144" y="194"/>
                    <a:pt x="145" y="201"/>
                  </a:cubicBezTo>
                  <a:cubicBezTo>
                    <a:pt x="146" y="198"/>
                    <a:pt x="147" y="197"/>
                    <a:pt x="149" y="194"/>
                  </a:cubicBezTo>
                  <a:cubicBezTo>
                    <a:pt x="149" y="192"/>
                    <a:pt x="149" y="192"/>
                    <a:pt x="144" y="184"/>
                  </a:cubicBezTo>
                  <a:cubicBezTo>
                    <a:pt x="145" y="183"/>
                    <a:pt x="145" y="183"/>
                    <a:pt x="145" y="183"/>
                  </a:cubicBezTo>
                  <a:cubicBezTo>
                    <a:pt x="146" y="183"/>
                    <a:pt x="148" y="184"/>
                    <a:pt x="150" y="184"/>
                  </a:cubicBezTo>
                  <a:cubicBezTo>
                    <a:pt x="149" y="183"/>
                    <a:pt x="149" y="182"/>
                    <a:pt x="149" y="182"/>
                  </a:cubicBezTo>
                  <a:cubicBezTo>
                    <a:pt x="152" y="181"/>
                    <a:pt x="160" y="181"/>
                    <a:pt x="166" y="180"/>
                  </a:cubicBezTo>
                  <a:cubicBezTo>
                    <a:pt x="156" y="161"/>
                    <a:pt x="180" y="156"/>
                    <a:pt x="182" y="156"/>
                  </a:cubicBezTo>
                  <a:cubicBezTo>
                    <a:pt x="181" y="158"/>
                    <a:pt x="181" y="160"/>
                    <a:pt x="181" y="162"/>
                  </a:cubicBezTo>
                  <a:cubicBezTo>
                    <a:pt x="182" y="161"/>
                    <a:pt x="185" y="161"/>
                    <a:pt x="186" y="160"/>
                  </a:cubicBezTo>
                  <a:cubicBezTo>
                    <a:pt x="186" y="159"/>
                    <a:pt x="185" y="158"/>
                    <a:pt x="185" y="158"/>
                  </a:cubicBezTo>
                  <a:cubicBezTo>
                    <a:pt x="187" y="153"/>
                    <a:pt x="188" y="153"/>
                    <a:pt x="197" y="152"/>
                  </a:cubicBezTo>
                  <a:cubicBezTo>
                    <a:pt x="192" y="164"/>
                    <a:pt x="208" y="166"/>
                    <a:pt x="210" y="176"/>
                  </a:cubicBezTo>
                  <a:cubicBezTo>
                    <a:pt x="207" y="178"/>
                    <a:pt x="207" y="178"/>
                    <a:pt x="184" y="174"/>
                  </a:cubicBezTo>
                  <a:cubicBezTo>
                    <a:pt x="172" y="173"/>
                    <a:pt x="166" y="183"/>
                    <a:pt x="157" y="187"/>
                  </a:cubicBezTo>
                  <a:cubicBezTo>
                    <a:pt x="157" y="187"/>
                    <a:pt x="157" y="187"/>
                    <a:pt x="159" y="198"/>
                  </a:cubicBezTo>
                  <a:cubicBezTo>
                    <a:pt x="160" y="199"/>
                    <a:pt x="161" y="199"/>
                    <a:pt x="161" y="199"/>
                  </a:cubicBezTo>
                  <a:cubicBezTo>
                    <a:pt x="162" y="200"/>
                    <a:pt x="162" y="201"/>
                    <a:pt x="162" y="202"/>
                  </a:cubicBezTo>
                  <a:cubicBezTo>
                    <a:pt x="172" y="204"/>
                    <a:pt x="180" y="200"/>
                    <a:pt x="190" y="199"/>
                  </a:cubicBezTo>
                  <a:cubicBezTo>
                    <a:pt x="204" y="224"/>
                    <a:pt x="169" y="228"/>
                    <a:pt x="154" y="224"/>
                  </a:cubicBezTo>
                  <a:cubicBezTo>
                    <a:pt x="148" y="222"/>
                    <a:pt x="144" y="217"/>
                    <a:pt x="138" y="217"/>
                  </a:cubicBezTo>
                  <a:cubicBezTo>
                    <a:pt x="135" y="220"/>
                    <a:pt x="134" y="225"/>
                    <a:pt x="131" y="228"/>
                  </a:cubicBezTo>
                  <a:cubicBezTo>
                    <a:pt x="119" y="228"/>
                    <a:pt x="96" y="206"/>
                    <a:pt x="101" y="200"/>
                  </a:cubicBezTo>
                  <a:cubicBezTo>
                    <a:pt x="102" y="199"/>
                    <a:pt x="104" y="198"/>
                    <a:pt x="105" y="197"/>
                  </a:cubicBezTo>
                  <a:cubicBezTo>
                    <a:pt x="47" y="199"/>
                    <a:pt x="47" y="199"/>
                    <a:pt x="47" y="199"/>
                  </a:cubicBezTo>
                  <a:cubicBezTo>
                    <a:pt x="33" y="220"/>
                    <a:pt x="0" y="227"/>
                    <a:pt x="1" y="259"/>
                  </a:cubicBezTo>
                  <a:cubicBezTo>
                    <a:pt x="3" y="295"/>
                    <a:pt x="3" y="295"/>
                    <a:pt x="10" y="305"/>
                  </a:cubicBezTo>
                  <a:cubicBezTo>
                    <a:pt x="24" y="323"/>
                    <a:pt x="34" y="335"/>
                    <a:pt x="53" y="330"/>
                  </a:cubicBezTo>
                  <a:cubicBezTo>
                    <a:pt x="61" y="328"/>
                    <a:pt x="77" y="324"/>
                    <a:pt x="89" y="337"/>
                  </a:cubicBezTo>
                  <a:cubicBezTo>
                    <a:pt x="90" y="338"/>
                    <a:pt x="91" y="340"/>
                    <a:pt x="92" y="342"/>
                  </a:cubicBezTo>
                  <a:cubicBezTo>
                    <a:pt x="94" y="347"/>
                    <a:pt x="90" y="352"/>
                    <a:pt x="91" y="357"/>
                  </a:cubicBezTo>
                  <a:cubicBezTo>
                    <a:pt x="97" y="371"/>
                    <a:pt x="112" y="380"/>
                    <a:pt x="112" y="396"/>
                  </a:cubicBezTo>
                  <a:cubicBezTo>
                    <a:pt x="112" y="456"/>
                    <a:pt x="143" y="470"/>
                    <a:pt x="159" y="461"/>
                  </a:cubicBezTo>
                  <a:cubicBezTo>
                    <a:pt x="160" y="460"/>
                    <a:pt x="186" y="435"/>
                    <a:pt x="186" y="435"/>
                  </a:cubicBezTo>
                  <a:cubicBezTo>
                    <a:pt x="189" y="430"/>
                    <a:pt x="183" y="424"/>
                    <a:pt x="187" y="419"/>
                  </a:cubicBezTo>
                  <a:cubicBezTo>
                    <a:pt x="191" y="414"/>
                    <a:pt x="197" y="417"/>
                    <a:pt x="201" y="415"/>
                  </a:cubicBezTo>
                  <a:cubicBezTo>
                    <a:pt x="213" y="409"/>
                    <a:pt x="207" y="392"/>
                    <a:pt x="204" y="384"/>
                  </a:cubicBezTo>
                  <a:cubicBezTo>
                    <a:pt x="202" y="375"/>
                    <a:pt x="205" y="367"/>
                    <a:pt x="229" y="348"/>
                  </a:cubicBezTo>
                  <a:cubicBezTo>
                    <a:pt x="242" y="338"/>
                    <a:pt x="253" y="312"/>
                    <a:pt x="254" y="306"/>
                  </a:cubicBezTo>
                  <a:cubicBezTo>
                    <a:pt x="243" y="303"/>
                    <a:pt x="232" y="310"/>
                    <a:pt x="220" y="309"/>
                  </a:cubicBezTo>
                  <a:cubicBezTo>
                    <a:pt x="221" y="308"/>
                    <a:pt x="222" y="308"/>
                    <a:pt x="223" y="308"/>
                  </a:cubicBezTo>
                  <a:cubicBezTo>
                    <a:pt x="220" y="299"/>
                    <a:pt x="209" y="295"/>
                    <a:pt x="209" y="295"/>
                  </a:cubicBezTo>
                  <a:cubicBezTo>
                    <a:pt x="207" y="292"/>
                    <a:pt x="207" y="292"/>
                    <a:pt x="207" y="292"/>
                  </a:cubicBezTo>
                  <a:cubicBezTo>
                    <a:pt x="199" y="271"/>
                    <a:pt x="188" y="250"/>
                    <a:pt x="179" y="229"/>
                  </a:cubicBezTo>
                  <a:cubicBezTo>
                    <a:pt x="181" y="232"/>
                    <a:pt x="182" y="234"/>
                    <a:pt x="185" y="238"/>
                  </a:cubicBezTo>
                  <a:cubicBezTo>
                    <a:pt x="186" y="238"/>
                    <a:pt x="187" y="238"/>
                    <a:pt x="187" y="237"/>
                  </a:cubicBezTo>
                  <a:cubicBezTo>
                    <a:pt x="188" y="238"/>
                    <a:pt x="225" y="300"/>
                    <a:pt x="229" y="302"/>
                  </a:cubicBezTo>
                  <a:cubicBezTo>
                    <a:pt x="235" y="304"/>
                    <a:pt x="274" y="279"/>
                    <a:pt x="278" y="271"/>
                  </a:cubicBezTo>
                  <a:cubicBezTo>
                    <a:pt x="279" y="267"/>
                    <a:pt x="279" y="267"/>
                    <a:pt x="285" y="257"/>
                  </a:cubicBezTo>
                  <a:cubicBezTo>
                    <a:pt x="282" y="251"/>
                    <a:pt x="274" y="250"/>
                    <a:pt x="270" y="244"/>
                  </a:cubicBezTo>
                  <a:cubicBezTo>
                    <a:pt x="271" y="243"/>
                    <a:pt x="271" y="242"/>
                    <a:pt x="271" y="241"/>
                  </a:cubicBezTo>
                  <a:cubicBezTo>
                    <a:pt x="262" y="255"/>
                    <a:pt x="259" y="252"/>
                    <a:pt x="253" y="244"/>
                  </a:cubicBezTo>
                  <a:cubicBezTo>
                    <a:pt x="252" y="245"/>
                    <a:pt x="251" y="247"/>
                    <a:pt x="250" y="248"/>
                  </a:cubicBezTo>
                  <a:cubicBezTo>
                    <a:pt x="246" y="242"/>
                    <a:pt x="244" y="235"/>
                    <a:pt x="240" y="229"/>
                  </a:cubicBezTo>
                  <a:cubicBezTo>
                    <a:pt x="262" y="232"/>
                    <a:pt x="273" y="239"/>
                    <a:pt x="277" y="241"/>
                  </a:cubicBezTo>
                  <a:cubicBezTo>
                    <a:pt x="288" y="247"/>
                    <a:pt x="299" y="238"/>
                    <a:pt x="310" y="241"/>
                  </a:cubicBezTo>
                  <a:cubicBezTo>
                    <a:pt x="314" y="242"/>
                    <a:pt x="316" y="247"/>
                    <a:pt x="320" y="249"/>
                  </a:cubicBezTo>
                  <a:cubicBezTo>
                    <a:pt x="320" y="249"/>
                    <a:pt x="319" y="250"/>
                    <a:pt x="319" y="251"/>
                  </a:cubicBezTo>
                  <a:cubicBezTo>
                    <a:pt x="322" y="255"/>
                    <a:pt x="322" y="255"/>
                    <a:pt x="325" y="256"/>
                  </a:cubicBezTo>
                  <a:cubicBezTo>
                    <a:pt x="327" y="254"/>
                    <a:pt x="327" y="254"/>
                    <a:pt x="328" y="249"/>
                  </a:cubicBezTo>
                  <a:cubicBezTo>
                    <a:pt x="342" y="299"/>
                    <a:pt x="342" y="299"/>
                    <a:pt x="345" y="304"/>
                  </a:cubicBezTo>
                  <a:cubicBezTo>
                    <a:pt x="347" y="304"/>
                    <a:pt x="347" y="304"/>
                    <a:pt x="365" y="249"/>
                  </a:cubicBezTo>
                  <a:cubicBezTo>
                    <a:pt x="367" y="243"/>
                    <a:pt x="368" y="238"/>
                    <a:pt x="369" y="236"/>
                  </a:cubicBezTo>
                  <a:cubicBezTo>
                    <a:pt x="370" y="236"/>
                    <a:pt x="370" y="236"/>
                    <a:pt x="371" y="237"/>
                  </a:cubicBezTo>
                  <a:cubicBezTo>
                    <a:pt x="373" y="235"/>
                    <a:pt x="374" y="234"/>
                    <a:pt x="373" y="230"/>
                  </a:cubicBezTo>
                  <a:cubicBezTo>
                    <a:pt x="382" y="242"/>
                    <a:pt x="383" y="248"/>
                    <a:pt x="384" y="257"/>
                  </a:cubicBezTo>
                  <a:cubicBezTo>
                    <a:pt x="387" y="255"/>
                    <a:pt x="387" y="255"/>
                    <a:pt x="388" y="251"/>
                  </a:cubicBezTo>
                  <a:cubicBezTo>
                    <a:pt x="392" y="270"/>
                    <a:pt x="393" y="289"/>
                    <a:pt x="396" y="309"/>
                  </a:cubicBezTo>
                  <a:cubicBezTo>
                    <a:pt x="397" y="309"/>
                    <a:pt x="398" y="308"/>
                    <a:pt x="398" y="308"/>
                  </a:cubicBezTo>
                  <a:cubicBezTo>
                    <a:pt x="402" y="293"/>
                    <a:pt x="390" y="278"/>
                    <a:pt x="394" y="263"/>
                  </a:cubicBezTo>
                  <a:cubicBezTo>
                    <a:pt x="397" y="265"/>
                    <a:pt x="399" y="269"/>
                    <a:pt x="402" y="272"/>
                  </a:cubicBezTo>
                  <a:cubicBezTo>
                    <a:pt x="402" y="273"/>
                    <a:pt x="402" y="273"/>
                    <a:pt x="402" y="273"/>
                  </a:cubicBezTo>
                  <a:cubicBezTo>
                    <a:pt x="402" y="274"/>
                    <a:pt x="402" y="276"/>
                    <a:pt x="402" y="277"/>
                  </a:cubicBezTo>
                  <a:cubicBezTo>
                    <a:pt x="411" y="258"/>
                    <a:pt x="394" y="239"/>
                    <a:pt x="403" y="220"/>
                  </a:cubicBezTo>
                  <a:close/>
                  <a:moveTo>
                    <a:pt x="172" y="386"/>
                  </a:moveTo>
                  <a:cubicBezTo>
                    <a:pt x="172" y="386"/>
                    <a:pt x="171" y="386"/>
                    <a:pt x="171" y="386"/>
                  </a:cubicBezTo>
                  <a:cubicBezTo>
                    <a:pt x="171" y="386"/>
                    <a:pt x="171" y="386"/>
                    <a:pt x="170" y="385"/>
                  </a:cubicBezTo>
                  <a:cubicBezTo>
                    <a:pt x="168" y="383"/>
                    <a:pt x="168" y="379"/>
                    <a:pt x="168" y="376"/>
                  </a:cubicBezTo>
                  <a:cubicBezTo>
                    <a:pt x="167" y="372"/>
                    <a:pt x="167" y="371"/>
                    <a:pt x="166" y="370"/>
                  </a:cubicBezTo>
                  <a:cubicBezTo>
                    <a:pt x="168" y="371"/>
                    <a:pt x="169" y="374"/>
                    <a:pt x="169" y="380"/>
                  </a:cubicBezTo>
                  <a:cubicBezTo>
                    <a:pt x="170" y="384"/>
                    <a:pt x="170" y="385"/>
                    <a:pt x="171" y="386"/>
                  </a:cubicBezTo>
                  <a:cubicBezTo>
                    <a:pt x="171" y="386"/>
                    <a:pt x="172" y="386"/>
                    <a:pt x="172" y="386"/>
                  </a:cubicBezTo>
                  <a:cubicBezTo>
                    <a:pt x="172" y="386"/>
                    <a:pt x="172" y="386"/>
                    <a:pt x="172" y="386"/>
                  </a:cubicBezTo>
                  <a:close/>
                  <a:moveTo>
                    <a:pt x="186" y="398"/>
                  </a:moveTo>
                  <a:cubicBezTo>
                    <a:pt x="186" y="399"/>
                    <a:pt x="186" y="400"/>
                    <a:pt x="186" y="401"/>
                  </a:cubicBezTo>
                  <a:cubicBezTo>
                    <a:pt x="186" y="404"/>
                    <a:pt x="186" y="405"/>
                    <a:pt x="187" y="406"/>
                  </a:cubicBezTo>
                  <a:cubicBezTo>
                    <a:pt x="187" y="405"/>
                    <a:pt x="186" y="405"/>
                    <a:pt x="186" y="405"/>
                  </a:cubicBezTo>
                  <a:cubicBezTo>
                    <a:pt x="185" y="404"/>
                    <a:pt x="185" y="402"/>
                    <a:pt x="185" y="401"/>
                  </a:cubicBezTo>
                  <a:cubicBezTo>
                    <a:pt x="184" y="398"/>
                    <a:pt x="184" y="395"/>
                    <a:pt x="183" y="391"/>
                  </a:cubicBezTo>
                  <a:cubicBezTo>
                    <a:pt x="184" y="393"/>
                    <a:pt x="185" y="394"/>
                    <a:pt x="186" y="395"/>
                  </a:cubicBezTo>
                  <a:cubicBezTo>
                    <a:pt x="186" y="396"/>
                    <a:pt x="186" y="396"/>
                    <a:pt x="186" y="398"/>
                  </a:cubicBezTo>
                  <a:close/>
                  <a:moveTo>
                    <a:pt x="180" y="356"/>
                  </a:moveTo>
                  <a:cubicBezTo>
                    <a:pt x="180" y="356"/>
                    <a:pt x="180" y="356"/>
                    <a:pt x="180" y="356"/>
                  </a:cubicBezTo>
                  <a:cubicBezTo>
                    <a:pt x="180" y="356"/>
                    <a:pt x="180" y="356"/>
                    <a:pt x="180" y="356"/>
                  </a:cubicBezTo>
                  <a:cubicBezTo>
                    <a:pt x="182" y="354"/>
                    <a:pt x="184" y="353"/>
                    <a:pt x="184" y="357"/>
                  </a:cubicBezTo>
                  <a:cubicBezTo>
                    <a:pt x="184" y="359"/>
                    <a:pt x="184" y="360"/>
                    <a:pt x="184" y="361"/>
                  </a:cubicBezTo>
                  <a:cubicBezTo>
                    <a:pt x="183" y="364"/>
                    <a:pt x="183" y="364"/>
                    <a:pt x="183" y="364"/>
                  </a:cubicBezTo>
                  <a:cubicBezTo>
                    <a:pt x="176" y="364"/>
                    <a:pt x="174" y="362"/>
                    <a:pt x="178" y="358"/>
                  </a:cubicBezTo>
                  <a:cubicBezTo>
                    <a:pt x="179" y="357"/>
                    <a:pt x="179" y="357"/>
                    <a:pt x="180" y="356"/>
                  </a:cubicBezTo>
                  <a:close/>
                  <a:moveTo>
                    <a:pt x="243" y="42"/>
                  </a:moveTo>
                  <a:cubicBezTo>
                    <a:pt x="241" y="41"/>
                    <a:pt x="240" y="41"/>
                    <a:pt x="239" y="40"/>
                  </a:cubicBezTo>
                  <a:cubicBezTo>
                    <a:pt x="239" y="41"/>
                    <a:pt x="239" y="42"/>
                    <a:pt x="238" y="42"/>
                  </a:cubicBezTo>
                  <a:cubicBezTo>
                    <a:pt x="242" y="45"/>
                    <a:pt x="242" y="47"/>
                    <a:pt x="243" y="51"/>
                  </a:cubicBezTo>
                  <a:cubicBezTo>
                    <a:pt x="238" y="47"/>
                    <a:pt x="235" y="41"/>
                    <a:pt x="232" y="36"/>
                  </a:cubicBezTo>
                  <a:cubicBezTo>
                    <a:pt x="234" y="37"/>
                    <a:pt x="238" y="39"/>
                    <a:pt x="243" y="42"/>
                  </a:cubicBezTo>
                  <a:close/>
                  <a:moveTo>
                    <a:pt x="223" y="30"/>
                  </a:moveTo>
                  <a:cubicBezTo>
                    <a:pt x="223" y="30"/>
                    <a:pt x="223" y="30"/>
                    <a:pt x="223" y="30"/>
                  </a:cubicBezTo>
                  <a:cubicBezTo>
                    <a:pt x="223" y="30"/>
                    <a:pt x="223" y="30"/>
                    <a:pt x="223" y="30"/>
                  </a:cubicBezTo>
                  <a:close/>
                  <a:moveTo>
                    <a:pt x="249" y="198"/>
                  </a:moveTo>
                  <a:cubicBezTo>
                    <a:pt x="247" y="198"/>
                    <a:pt x="244" y="198"/>
                    <a:pt x="240" y="192"/>
                  </a:cubicBezTo>
                  <a:cubicBezTo>
                    <a:pt x="240" y="191"/>
                    <a:pt x="239" y="191"/>
                    <a:pt x="239" y="190"/>
                  </a:cubicBezTo>
                  <a:cubicBezTo>
                    <a:pt x="236" y="184"/>
                    <a:pt x="235" y="178"/>
                    <a:pt x="232" y="172"/>
                  </a:cubicBezTo>
                  <a:cubicBezTo>
                    <a:pt x="229" y="165"/>
                    <a:pt x="227" y="164"/>
                    <a:pt x="226" y="163"/>
                  </a:cubicBezTo>
                  <a:cubicBezTo>
                    <a:pt x="226" y="163"/>
                    <a:pt x="225" y="162"/>
                    <a:pt x="225" y="161"/>
                  </a:cubicBezTo>
                  <a:cubicBezTo>
                    <a:pt x="225" y="161"/>
                    <a:pt x="224" y="160"/>
                    <a:pt x="227" y="157"/>
                  </a:cubicBezTo>
                  <a:cubicBezTo>
                    <a:pt x="231" y="152"/>
                    <a:pt x="246" y="145"/>
                    <a:pt x="246" y="153"/>
                  </a:cubicBezTo>
                  <a:cubicBezTo>
                    <a:pt x="246" y="156"/>
                    <a:pt x="245" y="157"/>
                    <a:pt x="242" y="158"/>
                  </a:cubicBezTo>
                  <a:cubicBezTo>
                    <a:pt x="237" y="159"/>
                    <a:pt x="236" y="160"/>
                    <a:pt x="238" y="163"/>
                  </a:cubicBezTo>
                  <a:cubicBezTo>
                    <a:pt x="243" y="170"/>
                    <a:pt x="248" y="175"/>
                    <a:pt x="253" y="182"/>
                  </a:cubicBezTo>
                  <a:cubicBezTo>
                    <a:pt x="254" y="184"/>
                    <a:pt x="257" y="188"/>
                    <a:pt x="257" y="191"/>
                  </a:cubicBezTo>
                  <a:cubicBezTo>
                    <a:pt x="257" y="195"/>
                    <a:pt x="251" y="197"/>
                    <a:pt x="249" y="198"/>
                  </a:cubicBezTo>
                  <a:close/>
                  <a:moveTo>
                    <a:pt x="269" y="158"/>
                  </a:moveTo>
                  <a:cubicBezTo>
                    <a:pt x="269" y="159"/>
                    <a:pt x="268" y="160"/>
                    <a:pt x="267" y="160"/>
                  </a:cubicBezTo>
                  <a:cubicBezTo>
                    <a:pt x="267" y="159"/>
                    <a:pt x="266" y="159"/>
                    <a:pt x="266" y="157"/>
                  </a:cubicBezTo>
                  <a:cubicBezTo>
                    <a:pt x="264" y="153"/>
                    <a:pt x="264" y="153"/>
                    <a:pt x="263" y="152"/>
                  </a:cubicBezTo>
                  <a:cubicBezTo>
                    <a:pt x="263" y="152"/>
                    <a:pt x="263" y="154"/>
                    <a:pt x="264" y="158"/>
                  </a:cubicBezTo>
                  <a:cubicBezTo>
                    <a:pt x="258" y="157"/>
                    <a:pt x="263" y="153"/>
                    <a:pt x="264" y="152"/>
                  </a:cubicBezTo>
                  <a:cubicBezTo>
                    <a:pt x="267" y="150"/>
                    <a:pt x="270" y="150"/>
                    <a:pt x="270" y="153"/>
                  </a:cubicBezTo>
                  <a:cubicBezTo>
                    <a:pt x="270" y="155"/>
                    <a:pt x="270" y="158"/>
                    <a:pt x="269" y="158"/>
                  </a:cubicBezTo>
                  <a:close/>
                  <a:moveTo>
                    <a:pt x="306" y="146"/>
                  </a:moveTo>
                  <a:cubicBezTo>
                    <a:pt x="305" y="146"/>
                    <a:pt x="304" y="144"/>
                    <a:pt x="303" y="144"/>
                  </a:cubicBezTo>
                  <a:cubicBezTo>
                    <a:pt x="303" y="143"/>
                    <a:pt x="303" y="143"/>
                    <a:pt x="303" y="142"/>
                  </a:cubicBezTo>
                  <a:cubicBezTo>
                    <a:pt x="304" y="141"/>
                    <a:pt x="305" y="140"/>
                    <a:pt x="306" y="140"/>
                  </a:cubicBezTo>
                  <a:cubicBezTo>
                    <a:pt x="306" y="140"/>
                    <a:pt x="306" y="140"/>
                    <a:pt x="306" y="140"/>
                  </a:cubicBezTo>
                  <a:cubicBezTo>
                    <a:pt x="306" y="141"/>
                    <a:pt x="306" y="143"/>
                    <a:pt x="306" y="143"/>
                  </a:cubicBezTo>
                  <a:cubicBezTo>
                    <a:pt x="306" y="145"/>
                    <a:pt x="306" y="146"/>
                    <a:pt x="306" y="146"/>
                  </a:cubicBezTo>
                  <a:close/>
                  <a:moveTo>
                    <a:pt x="311" y="138"/>
                  </a:moveTo>
                  <a:cubicBezTo>
                    <a:pt x="311" y="138"/>
                    <a:pt x="312" y="138"/>
                    <a:pt x="312" y="138"/>
                  </a:cubicBezTo>
                  <a:cubicBezTo>
                    <a:pt x="312" y="138"/>
                    <a:pt x="312" y="138"/>
                    <a:pt x="313" y="137"/>
                  </a:cubicBezTo>
                  <a:cubicBezTo>
                    <a:pt x="314" y="137"/>
                    <a:pt x="315" y="136"/>
                    <a:pt x="315" y="137"/>
                  </a:cubicBezTo>
                  <a:cubicBezTo>
                    <a:pt x="315" y="137"/>
                    <a:pt x="315" y="137"/>
                    <a:pt x="315" y="137"/>
                  </a:cubicBezTo>
                  <a:cubicBezTo>
                    <a:pt x="314" y="138"/>
                    <a:pt x="313" y="138"/>
                    <a:pt x="311" y="138"/>
                  </a:cubicBezTo>
                  <a:close/>
                  <a:moveTo>
                    <a:pt x="341" y="98"/>
                  </a:moveTo>
                  <a:cubicBezTo>
                    <a:pt x="341" y="98"/>
                    <a:pt x="341" y="98"/>
                    <a:pt x="341" y="98"/>
                  </a:cubicBezTo>
                  <a:cubicBezTo>
                    <a:pt x="341" y="97"/>
                    <a:pt x="340" y="94"/>
                    <a:pt x="339" y="91"/>
                  </a:cubicBezTo>
                  <a:cubicBezTo>
                    <a:pt x="337" y="87"/>
                    <a:pt x="334" y="83"/>
                    <a:pt x="332" y="78"/>
                  </a:cubicBezTo>
                  <a:cubicBezTo>
                    <a:pt x="332" y="78"/>
                    <a:pt x="332" y="78"/>
                    <a:pt x="332" y="78"/>
                  </a:cubicBezTo>
                  <a:cubicBezTo>
                    <a:pt x="334" y="81"/>
                    <a:pt x="346" y="97"/>
                    <a:pt x="341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6" name="Freeform 115"/>
            <p:cNvSpPr>
              <a:spLocks/>
            </p:cNvSpPr>
            <p:nvPr/>
          </p:nvSpPr>
          <p:spPr bwMode="auto">
            <a:xfrm>
              <a:off x="3298" y="16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17" name="Rectangle 116"/>
            <p:cNvSpPr>
              <a:spLocks noChangeArrowheads="1"/>
            </p:cNvSpPr>
            <p:nvPr/>
          </p:nvSpPr>
          <p:spPr bwMode="auto">
            <a:xfrm>
              <a:off x="3075" y="1712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grpSp>
        <p:nvGrpSpPr>
          <p:cNvPr id="119" name="Gruppieren 399"/>
          <p:cNvGrpSpPr/>
          <p:nvPr/>
        </p:nvGrpSpPr>
        <p:grpSpPr bwMode="gray">
          <a:xfrm>
            <a:off x="3233868" y="3959858"/>
            <a:ext cx="530738" cy="452420"/>
            <a:chOff x="9266696" y="2202941"/>
            <a:chExt cx="1142876" cy="974227"/>
          </a:xfrm>
          <a:solidFill>
            <a:srgbClr val="32A0A0"/>
          </a:solidFill>
        </p:grpSpPr>
        <p:grpSp>
          <p:nvGrpSpPr>
            <p:cNvPr id="120" name="Gruppieren 390"/>
            <p:cNvGrpSpPr/>
            <p:nvPr/>
          </p:nvGrpSpPr>
          <p:grpSpPr bwMode="gray">
            <a:xfrm>
              <a:off x="9266696" y="2479529"/>
              <a:ext cx="302293" cy="697639"/>
              <a:chOff x="9266696" y="2479529"/>
              <a:chExt cx="302293" cy="697639"/>
            </a:xfrm>
            <a:grpFill/>
          </p:grpSpPr>
          <p:sp>
            <p:nvSpPr>
              <p:cNvPr id="139" name="Oval 72"/>
              <p:cNvSpPr>
                <a:spLocks noChangeArrowheads="1"/>
              </p:cNvSpPr>
              <p:nvPr/>
            </p:nvSpPr>
            <p:spPr bwMode="gray">
              <a:xfrm>
                <a:off x="9266696" y="2479529"/>
                <a:ext cx="302293" cy="12904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Freeform 74"/>
              <p:cNvSpPr>
                <a:spLocks noEditPoints="1"/>
              </p:cNvSpPr>
              <p:nvPr/>
            </p:nvSpPr>
            <p:spPr bwMode="gray">
              <a:xfrm>
                <a:off x="9266696" y="2576694"/>
                <a:ext cx="302293" cy="519759"/>
              </a:xfrm>
              <a:custGeom>
                <a:avLst/>
                <a:gdLst>
                  <a:gd name="T0" fmla="*/ 348 w 348"/>
                  <a:gd name="T1" fmla="*/ 56 h 598"/>
                  <a:gd name="T2" fmla="*/ 174 w 348"/>
                  <a:gd name="T3" fmla="*/ 131 h 598"/>
                  <a:gd name="T4" fmla="*/ 0 w 348"/>
                  <a:gd name="T5" fmla="*/ 56 h 598"/>
                  <a:gd name="T6" fmla="*/ 0 w 348"/>
                  <a:gd name="T7" fmla="*/ 0 h 598"/>
                  <a:gd name="T8" fmla="*/ 174 w 348"/>
                  <a:gd name="T9" fmla="*/ 75 h 598"/>
                  <a:gd name="T10" fmla="*/ 348 w 348"/>
                  <a:gd name="T11" fmla="*/ 0 h 598"/>
                  <a:gd name="T12" fmla="*/ 348 w 348"/>
                  <a:gd name="T13" fmla="*/ 56 h 598"/>
                  <a:gd name="T14" fmla="*/ 348 w 348"/>
                  <a:gd name="T15" fmla="*/ 149 h 598"/>
                  <a:gd name="T16" fmla="*/ 174 w 348"/>
                  <a:gd name="T17" fmla="*/ 224 h 598"/>
                  <a:gd name="T18" fmla="*/ 0 w 348"/>
                  <a:gd name="T19" fmla="*/ 149 h 598"/>
                  <a:gd name="T20" fmla="*/ 0 w 348"/>
                  <a:gd name="T21" fmla="*/ 93 h 598"/>
                  <a:gd name="T22" fmla="*/ 174 w 348"/>
                  <a:gd name="T23" fmla="*/ 168 h 598"/>
                  <a:gd name="T24" fmla="*/ 348 w 348"/>
                  <a:gd name="T25" fmla="*/ 93 h 598"/>
                  <a:gd name="T26" fmla="*/ 348 w 348"/>
                  <a:gd name="T27" fmla="*/ 149 h 598"/>
                  <a:gd name="T28" fmla="*/ 348 w 348"/>
                  <a:gd name="T29" fmla="*/ 243 h 598"/>
                  <a:gd name="T30" fmla="*/ 174 w 348"/>
                  <a:gd name="T31" fmla="*/ 318 h 598"/>
                  <a:gd name="T32" fmla="*/ 0 w 348"/>
                  <a:gd name="T33" fmla="*/ 243 h 598"/>
                  <a:gd name="T34" fmla="*/ 0 w 348"/>
                  <a:gd name="T35" fmla="*/ 187 h 598"/>
                  <a:gd name="T36" fmla="*/ 174 w 348"/>
                  <a:gd name="T37" fmla="*/ 261 h 598"/>
                  <a:gd name="T38" fmla="*/ 348 w 348"/>
                  <a:gd name="T39" fmla="*/ 187 h 598"/>
                  <a:gd name="T40" fmla="*/ 348 w 348"/>
                  <a:gd name="T41" fmla="*/ 243 h 598"/>
                  <a:gd name="T42" fmla="*/ 348 w 348"/>
                  <a:gd name="T43" fmla="*/ 336 h 598"/>
                  <a:gd name="T44" fmla="*/ 174 w 348"/>
                  <a:gd name="T45" fmla="*/ 411 h 598"/>
                  <a:gd name="T46" fmla="*/ 0 w 348"/>
                  <a:gd name="T47" fmla="*/ 336 h 598"/>
                  <a:gd name="T48" fmla="*/ 0 w 348"/>
                  <a:gd name="T49" fmla="*/ 280 h 598"/>
                  <a:gd name="T50" fmla="*/ 174 w 348"/>
                  <a:gd name="T51" fmla="*/ 355 h 598"/>
                  <a:gd name="T52" fmla="*/ 348 w 348"/>
                  <a:gd name="T53" fmla="*/ 280 h 598"/>
                  <a:gd name="T54" fmla="*/ 348 w 348"/>
                  <a:gd name="T55" fmla="*/ 336 h 598"/>
                  <a:gd name="T56" fmla="*/ 348 w 348"/>
                  <a:gd name="T57" fmla="*/ 430 h 598"/>
                  <a:gd name="T58" fmla="*/ 174 w 348"/>
                  <a:gd name="T59" fmla="*/ 504 h 598"/>
                  <a:gd name="T60" fmla="*/ 0 w 348"/>
                  <a:gd name="T61" fmla="*/ 430 h 598"/>
                  <a:gd name="T62" fmla="*/ 0 w 348"/>
                  <a:gd name="T63" fmla="*/ 374 h 598"/>
                  <a:gd name="T64" fmla="*/ 174 w 348"/>
                  <a:gd name="T65" fmla="*/ 448 h 598"/>
                  <a:gd name="T66" fmla="*/ 348 w 348"/>
                  <a:gd name="T67" fmla="*/ 374 h 598"/>
                  <a:gd name="T68" fmla="*/ 348 w 348"/>
                  <a:gd name="T69" fmla="*/ 430 h 598"/>
                  <a:gd name="T70" fmla="*/ 348 w 348"/>
                  <a:gd name="T71" fmla="*/ 523 h 598"/>
                  <a:gd name="T72" fmla="*/ 174 w 348"/>
                  <a:gd name="T73" fmla="*/ 598 h 598"/>
                  <a:gd name="T74" fmla="*/ 0 w 348"/>
                  <a:gd name="T75" fmla="*/ 523 h 598"/>
                  <a:gd name="T76" fmla="*/ 0 w 348"/>
                  <a:gd name="T77" fmla="*/ 467 h 598"/>
                  <a:gd name="T78" fmla="*/ 174 w 348"/>
                  <a:gd name="T79" fmla="*/ 542 h 598"/>
                  <a:gd name="T80" fmla="*/ 348 w 348"/>
                  <a:gd name="T81" fmla="*/ 467 h 598"/>
                  <a:gd name="T82" fmla="*/ 348 w 348"/>
                  <a:gd name="T83" fmla="*/ 523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48" h="598">
                    <a:moveTo>
                      <a:pt x="348" y="56"/>
                    </a:moveTo>
                    <a:cubicBezTo>
                      <a:pt x="348" y="97"/>
                      <a:pt x="270" y="131"/>
                      <a:pt x="174" y="131"/>
                    </a:cubicBezTo>
                    <a:cubicBezTo>
                      <a:pt x="78" y="131"/>
                      <a:pt x="0" y="97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1"/>
                      <a:pt x="78" y="75"/>
                      <a:pt x="174" y="75"/>
                    </a:cubicBezTo>
                    <a:cubicBezTo>
                      <a:pt x="270" y="75"/>
                      <a:pt x="348" y="41"/>
                      <a:pt x="348" y="0"/>
                    </a:cubicBezTo>
                    <a:lnTo>
                      <a:pt x="348" y="56"/>
                    </a:lnTo>
                    <a:close/>
                    <a:moveTo>
                      <a:pt x="348" y="149"/>
                    </a:moveTo>
                    <a:cubicBezTo>
                      <a:pt x="348" y="191"/>
                      <a:pt x="270" y="224"/>
                      <a:pt x="174" y="224"/>
                    </a:cubicBezTo>
                    <a:cubicBezTo>
                      <a:pt x="78" y="224"/>
                      <a:pt x="0" y="191"/>
                      <a:pt x="0" y="149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35"/>
                      <a:pt x="78" y="168"/>
                      <a:pt x="174" y="168"/>
                    </a:cubicBezTo>
                    <a:cubicBezTo>
                      <a:pt x="270" y="168"/>
                      <a:pt x="348" y="135"/>
                      <a:pt x="348" y="93"/>
                    </a:cubicBezTo>
                    <a:lnTo>
                      <a:pt x="348" y="149"/>
                    </a:lnTo>
                    <a:close/>
                    <a:moveTo>
                      <a:pt x="348" y="243"/>
                    </a:moveTo>
                    <a:cubicBezTo>
                      <a:pt x="348" y="284"/>
                      <a:pt x="270" y="318"/>
                      <a:pt x="174" y="318"/>
                    </a:cubicBezTo>
                    <a:cubicBezTo>
                      <a:pt x="78" y="318"/>
                      <a:pt x="0" y="284"/>
                      <a:pt x="0" y="243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228"/>
                      <a:pt x="78" y="261"/>
                      <a:pt x="174" y="261"/>
                    </a:cubicBezTo>
                    <a:cubicBezTo>
                      <a:pt x="270" y="261"/>
                      <a:pt x="348" y="228"/>
                      <a:pt x="348" y="187"/>
                    </a:cubicBezTo>
                    <a:lnTo>
                      <a:pt x="348" y="243"/>
                    </a:lnTo>
                    <a:close/>
                    <a:moveTo>
                      <a:pt x="348" y="336"/>
                    </a:moveTo>
                    <a:cubicBezTo>
                      <a:pt x="348" y="377"/>
                      <a:pt x="270" y="411"/>
                      <a:pt x="174" y="411"/>
                    </a:cubicBezTo>
                    <a:cubicBezTo>
                      <a:pt x="78" y="411"/>
                      <a:pt x="0" y="377"/>
                      <a:pt x="0" y="336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321"/>
                      <a:pt x="78" y="355"/>
                      <a:pt x="174" y="355"/>
                    </a:cubicBezTo>
                    <a:cubicBezTo>
                      <a:pt x="270" y="355"/>
                      <a:pt x="348" y="321"/>
                      <a:pt x="348" y="280"/>
                    </a:cubicBezTo>
                    <a:lnTo>
                      <a:pt x="348" y="336"/>
                    </a:lnTo>
                    <a:close/>
                    <a:moveTo>
                      <a:pt x="348" y="430"/>
                    </a:moveTo>
                    <a:cubicBezTo>
                      <a:pt x="348" y="471"/>
                      <a:pt x="270" y="504"/>
                      <a:pt x="174" y="504"/>
                    </a:cubicBezTo>
                    <a:cubicBezTo>
                      <a:pt x="78" y="504"/>
                      <a:pt x="0" y="471"/>
                      <a:pt x="0" y="430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415"/>
                      <a:pt x="78" y="448"/>
                      <a:pt x="174" y="448"/>
                    </a:cubicBezTo>
                    <a:cubicBezTo>
                      <a:pt x="270" y="448"/>
                      <a:pt x="348" y="415"/>
                      <a:pt x="348" y="374"/>
                    </a:cubicBezTo>
                    <a:lnTo>
                      <a:pt x="348" y="430"/>
                    </a:lnTo>
                    <a:close/>
                    <a:moveTo>
                      <a:pt x="348" y="523"/>
                    </a:moveTo>
                    <a:cubicBezTo>
                      <a:pt x="348" y="564"/>
                      <a:pt x="270" y="598"/>
                      <a:pt x="174" y="598"/>
                    </a:cubicBezTo>
                    <a:cubicBezTo>
                      <a:pt x="78" y="598"/>
                      <a:pt x="0" y="564"/>
                      <a:pt x="0" y="523"/>
                    </a:cubicBezTo>
                    <a:cubicBezTo>
                      <a:pt x="0" y="467"/>
                      <a:pt x="0" y="467"/>
                      <a:pt x="0" y="467"/>
                    </a:cubicBezTo>
                    <a:cubicBezTo>
                      <a:pt x="0" y="508"/>
                      <a:pt x="78" y="542"/>
                      <a:pt x="174" y="542"/>
                    </a:cubicBezTo>
                    <a:cubicBezTo>
                      <a:pt x="270" y="542"/>
                      <a:pt x="348" y="508"/>
                      <a:pt x="348" y="467"/>
                    </a:cubicBezTo>
                    <a:lnTo>
                      <a:pt x="348" y="5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Freeform 75"/>
              <p:cNvSpPr>
                <a:spLocks/>
              </p:cNvSpPr>
              <p:nvPr/>
            </p:nvSpPr>
            <p:spPr bwMode="gray">
              <a:xfrm>
                <a:off x="9266696" y="3063037"/>
                <a:ext cx="302293" cy="114131"/>
              </a:xfrm>
              <a:custGeom>
                <a:avLst/>
                <a:gdLst>
                  <a:gd name="T0" fmla="*/ 348 w 348"/>
                  <a:gd name="T1" fmla="*/ 56 h 131"/>
                  <a:gd name="T2" fmla="*/ 174 w 348"/>
                  <a:gd name="T3" fmla="*/ 131 h 131"/>
                  <a:gd name="T4" fmla="*/ 0 w 348"/>
                  <a:gd name="T5" fmla="*/ 56 h 131"/>
                  <a:gd name="T6" fmla="*/ 0 w 348"/>
                  <a:gd name="T7" fmla="*/ 0 h 131"/>
                  <a:gd name="T8" fmla="*/ 174 w 348"/>
                  <a:gd name="T9" fmla="*/ 75 h 131"/>
                  <a:gd name="T10" fmla="*/ 348 w 348"/>
                  <a:gd name="T11" fmla="*/ 0 h 131"/>
                  <a:gd name="T12" fmla="*/ 348 w 348"/>
                  <a:gd name="T13" fmla="*/ 5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348" y="56"/>
                    </a:moveTo>
                    <a:cubicBezTo>
                      <a:pt x="348" y="98"/>
                      <a:pt x="270" y="131"/>
                      <a:pt x="174" y="131"/>
                    </a:cubicBezTo>
                    <a:cubicBezTo>
                      <a:pt x="78" y="131"/>
                      <a:pt x="0" y="98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78" y="75"/>
                      <a:pt x="174" y="75"/>
                    </a:cubicBezTo>
                    <a:cubicBezTo>
                      <a:pt x="270" y="75"/>
                      <a:pt x="348" y="42"/>
                      <a:pt x="348" y="0"/>
                    </a:cubicBezTo>
                    <a:lnTo>
                      <a:pt x="348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1" name="Gruppieren 398"/>
            <p:cNvGrpSpPr/>
            <p:nvPr/>
          </p:nvGrpSpPr>
          <p:grpSpPr bwMode="gray">
            <a:xfrm>
              <a:off x="9741214" y="2560243"/>
              <a:ext cx="303835" cy="616925"/>
              <a:chOff x="9741214" y="2560243"/>
              <a:chExt cx="303835" cy="616925"/>
            </a:xfrm>
            <a:grpFill/>
          </p:grpSpPr>
          <p:sp>
            <p:nvSpPr>
              <p:cNvPr id="137" name="Oval 71"/>
              <p:cNvSpPr>
                <a:spLocks noChangeArrowheads="1"/>
              </p:cNvSpPr>
              <p:nvPr/>
            </p:nvSpPr>
            <p:spPr bwMode="gray">
              <a:xfrm>
                <a:off x="9741214" y="2560243"/>
                <a:ext cx="302807" cy="13006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Freeform 76"/>
              <p:cNvSpPr>
                <a:spLocks noEditPoints="1"/>
              </p:cNvSpPr>
              <p:nvPr/>
            </p:nvSpPr>
            <p:spPr bwMode="gray">
              <a:xfrm>
                <a:off x="9741728" y="2657409"/>
                <a:ext cx="303321" cy="519759"/>
              </a:xfrm>
              <a:custGeom>
                <a:avLst/>
                <a:gdLst>
                  <a:gd name="T0" fmla="*/ 349 w 349"/>
                  <a:gd name="T1" fmla="*/ 56 h 598"/>
                  <a:gd name="T2" fmla="*/ 175 w 349"/>
                  <a:gd name="T3" fmla="*/ 131 h 598"/>
                  <a:gd name="T4" fmla="*/ 0 w 349"/>
                  <a:gd name="T5" fmla="*/ 56 h 598"/>
                  <a:gd name="T6" fmla="*/ 0 w 349"/>
                  <a:gd name="T7" fmla="*/ 0 h 598"/>
                  <a:gd name="T8" fmla="*/ 175 w 349"/>
                  <a:gd name="T9" fmla="*/ 75 h 598"/>
                  <a:gd name="T10" fmla="*/ 349 w 349"/>
                  <a:gd name="T11" fmla="*/ 0 h 598"/>
                  <a:gd name="T12" fmla="*/ 349 w 349"/>
                  <a:gd name="T13" fmla="*/ 56 h 598"/>
                  <a:gd name="T14" fmla="*/ 349 w 349"/>
                  <a:gd name="T15" fmla="*/ 150 h 598"/>
                  <a:gd name="T16" fmla="*/ 175 w 349"/>
                  <a:gd name="T17" fmla="*/ 225 h 598"/>
                  <a:gd name="T18" fmla="*/ 0 w 349"/>
                  <a:gd name="T19" fmla="*/ 150 h 598"/>
                  <a:gd name="T20" fmla="*/ 0 w 349"/>
                  <a:gd name="T21" fmla="*/ 94 h 598"/>
                  <a:gd name="T22" fmla="*/ 175 w 349"/>
                  <a:gd name="T23" fmla="*/ 169 h 598"/>
                  <a:gd name="T24" fmla="*/ 349 w 349"/>
                  <a:gd name="T25" fmla="*/ 94 h 598"/>
                  <a:gd name="T26" fmla="*/ 349 w 349"/>
                  <a:gd name="T27" fmla="*/ 150 h 598"/>
                  <a:gd name="T28" fmla="*/ 349 w 349"/>
                  <a:gd name="T29" fmla="*/ 243 h 598"/>
                  <a:gd name="T30" fmla="*/ 175 w 349"/>
                  <a:gd name="T31" fmla="*/ 318 h 598"/>
                  <a:gd name="T32" fmla="*/ 0 w 349"/>
                  <a:gd name="T33" fmla="*/ 243 h 598"/>
                  <a:gd name="T34" fmla="*/ 0 w 349"/>
                  <a:gd name="T35" fmla="*/ 187 h 598"/>
                  <a:gd name="T36" fmla="*/ 175 w 349"/>
                  <a:gd name="T37" fmla="*/ 262 h 598"/>
                  <a:gd name="T38" fmla="*/ 349 w 349"/>
                  <a:gd name="T39" fmla="*/ 187 h 598"/>
                  <a:gd name="T40" fmla="*/ 349 w 349"/>
                  <a:gd name="T41" fmla="*/ 243 h 598"/>
                  <a:gd name="T42" fmla="*/ 349 w 349"/>
                  <a:gd name="T43" fmla="*/ 337 h 598"/>
                  <a:gd name="T44" fmla="*/ 175 w 349"/>
                  <a:gd name="T45" fmla="*/ 411 h 598"/>
                  <a:gd name="T46" fmla="*/ 0 w 349"/>
                  <a:gd name="T47" fmla="*/ 337 h 598"/>
                  <a:gd name="T48" fmla="*/ 0 w 349"/>
                  <a:gd name="T49" fmla="*/ 281 h 598"/>
                  <a:gd name="T50" fmla="*/ 175 w 349"/>
                  <a:gd name="T51" fmla="*/ 355 h 598"/>
                  <a:gd name="T52" fmla="*/ 349 w 349"/>
                  <a:gd name="T53" fmla="*/ 281 h 598"/>
                  <a:gd name="T54" fmla="*/ 349 w 349"/>
                  <a:gd name="T55" fmla="*/ 337 h 598"/>
                  <a:gd name="T56" fmla="*/ 349 w 349"/>
                  <a:gd name="T57" fmla="*/ 430 h 598"/>
                  <a:gd name="T58" fmla="*/ 175 w 349"/>
                  <a:gd name="T59" fmla="*/ 505 h 598"/>
                  <a:gd name="T60" fmla="*/ 0 w 349"/>
                  <a:gd name="T61" fmla="*/ 430 h 598"/>
                  <a:gd name="T62" fmla="*/ 0 w 349"/>
                  <a:gd name="T63" fmla="*/ 374 h 598"/>
                  <a:gd name="T64" fmla="*/ 175 w 349"/>
                  <a:gd name="T65" fmla="*/ 449 h 598"/>
                  <a:gd name="T66" fmla="*/ 349 w 349"/>
                  <a:gd name="T67" fmla="*/ 374 h 598"/>
                  <a:gd name="T68" fmla="*/ 349 w 349"/>
                  <a:gd name="T69" fmla="*/ 430 h 598"/>
                  <a:gd name="T70" fmla="*/ 349 w 349"/>
                  <a:gd name="T71" fmla="*/ 523 h 598"/>
                  <a:gd name="T72" fmla="*/ 175 w 349"/>
                  <a:gd name="T73" fmla="*/ 598 h 598"/>
                  <a:gd name="T74" fmla="*/ 0 w 349"/>
                  <a:gd name="T75" fmla="*/ 523 h 598"/>
                  <a:gd name="T76" fmla="*/ 0 w 349"/>
                  <a:gd name="T77" fmla="*/ 467 h 598"/>
                  <a:gd name="T78" fmla="*/ 175 w 349"/>
                  <a:gd name="T79" fmla="*/ 542 h 598"/>
                  <a:gd name="T80" fmla="*/ 349 w 349"/>
                  <a:gd name="T81" fmla="*/ 467 h 598"/>
                  <a:gd name="T82" fmla="*/ 349 w 349"/>
                  <a:gd name="T83" fmla="*/ 523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49" h="598">
                    <a:moveTo>
                      <a:pt x="349" y="56"/>
                    </a:moveTo>
                    <a:cubicBezTo>
                      <a:pt x="349" y="98"/>
                      <a:pt x="271" y="131"/>
                      <a:pt x="175" y="131"/>
                    </a:cubicBezTo>
                    <a:cubicBezTo>
                      <a:pt x="79" y="131"/>
                      <a:pt x="0" y="98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79" y="75"/>
                      <a:pt x="175" y="75"/>
                    </a:cubicBezTo>
                    <a:cubicBezTo>
                      <a:pt x="271" y="75"/>
                      <a:pt x="349" y="42"/>
                      <a:pt x="349" y="0"/>
                    </a:cubicBezTo>
                    <a:lnTo>
                      <a:pt x="349" y="56"/>
                    </a:lnTo>
                    <a:close/>
                    <a:moveTo>
                      <a:pt x="349" y="150"/>
                    </a:moveTo>
                    <a:cubicBezTo>
                      <a:pt x="349" y="191"/>
                      <a:pt x="271" y="225"/>
                      <a:pt x="175" y="225"/>
                    </a:cubicBezTo>
                    <a:cubicBezTo>
                      <a:pt x="79" y="225"/>
                      <a:pt x="0" y="191"/>
                      <a:pt x="0" y="15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35"/>
                      <a:pt x="79" y="169"/>
                      <a:pt x="175" y="169"/>
                    </a:cubicBezTo>
                    <a:cubicBezTo>
                      <a:pt x="271" y="169"/>
                      <a:pt x="349" y="135"/>
                      <a:pt x="349" y="94"/>
                    </a:cubicBezTo>
                    <a:lnTo>
                      <a:pt x="349" y="150"/>
                    </a:lnTo>
                    <a:close/>
                    <a:moveTo>
                      <a:pt x="349" y="243"/>
                    </a:moveTo>
                    <a:cubicBezTo>
                      <a:pt x="349" y="284"/>
                      <a:pt x="271" y="318"/>
                      <a:pt x="175" y="318"/>
                    </a:cubicBezTo>
                    <a:cubicBezTo>
                      <a:pt x="79" y="318"/>
                      <a:pt x="0" y="284"/>
                      <a:pt x="0" y="243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228"/>
                      <a:pt x="79" y="262"/>
                      <a:pt x="175" y="262"/>
                    </a:cubicBezTo>
                    <a:cubicBezTo>
                      <a:pt x="271" y="262"/>
                      <a:pt x="349" y="228"/>
                      <a:pt x="349" y="187"/>
                    </a:cubicBezTo>
                    <a:lnTo>
                      <a:pt x="349" y="243"/>
                    </a:lnTo>
                    <a:close/>
                    <a:moveTo>
                      <a:pt x="349" y="337"/>
                    </a:moveTo>
                    <a:cubicBezTo>
                      <a:pt x="349" y="378"/>
                      <a:pt x="271" y="411"/>
                      <a:pt x="175" y="411"/>
                    </a:cubicBezTo>
                    <a:cubicBezTo>
                      <a:pt x="79" y="411"/>
                      <a:pt x="0" y="378"/>
                      <a:pt x="0" y="337"/>
                    </a:cubicBezTo>
                    <a:cubicBezTo>
                      <a:pt x="0" y="281"/>
                      <a:pt x="0" y="281"/>
                      <a:pt x="0" y="281"/>
                    </a:cubicBezTo>
                    <a:cubicBezTo>
                      <a:pt x="0" y="322"/>
                      <a:pt x="79" y="355"/>
                      <a:pt x="175" y="355"/>
                    </a:cubicBezTo>
                    <a:cubicBezTo>
                      <a:pt x="271" y="355"/>
                      <a:pt x="349" y="322"/>
                      <a:pt x="349" y="281"/>
                    </a:cubicBezTo>
                    <a:lnTo>
                      <a:pt x="349" y="337"/>
                    </a:lnTo>
                    <a:close/>
                    <a:moveTo>
                      <a:pt x="349" y="430"/>
                    </a:moveTo>
                    <a:cubicBezTo>
                      <a:pt x="349" y="471"/>
                      <a:pt x="271" y="505"/>
                      <a:pt x="175" y="505"/>
                    </a:cubicBezTo>
                    <a:cubicBezTo>
                      <a:pt x="79" y="505"/>
                      <a:pt x="0" y="471"/>
                      <a:pt x="0" y="430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415"/>
                      <a:pt x="79" y="449"/>
                      <a:pt x="175" y="449"/>
                    </a:cubicBezTo>
                    <a:cubicBezTo>
                      <a:pt x="271" y="449"/>
                      <a:pt x="349" y="415"/>
                      <a:pt x="349" y="374"/>
                    </a:cubicBezTo>
                    <a:lnTo>
                      <a:pt x="349" y="430"/>
                    </a:lnTo>
                    <a:close/>
                    <a:moveTo>
                      <a:pt x="349" y="523"/>
                    </a:moveTo>
                    <a:cubicBezTo>
                      <a:pt x="349" y="565"/>
                      <a:pt x="271" y="598"/>
                      <a:pt x="175" y="598"/>
                    </a:cubicBezTo>
                    <a:cubicBezTo>
                      <a:pt x="79" y="598"/>
                      <a:pt x="0" y="565"/>
                      <a:pt x="0" y="523"/>
                    </a:cubicBezTo>
                    <a:cubicBezTo>
                      <a:pt x="0" y="467"/>
                      <a:pt x="0" y="467"/>
                      <a:pt x="0" y="467"/>
                    </a:cubicBezTo>
                    <a:cubicBezTo>
                      <a:pt x="0" y="509"/>
                      <a:pt x="79" y="542"/>
                      <a:pt x="175" y="542"/>
                    </a:cubicBezTo>
                    <a:cubicBezTo>
                      <a:pt x="271" y="542"/>
                      <a:pt x="349" y="509"/>
                      <a:pt x="349" y="467"/>
                    </a:cubicBezTo>
                    <a:lnTo>
                      <a:pt x="349" y="5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2" name="Gruppieren 389"/>
            <p:cNvGrpSpPr/>
            <p:nvPr/>
          </p:nvGrpSpPr>
          <p:grpSpPr bwMode="gray">
            <a:xfrm>
              <a:off x="9504726" y="2202941"/>
              <a:ext cx="302293" cy="860095"/>
              <a:chOff x="9504726" y="2202941"/>
              <a:chExt cx="302293" cy="860095"/>
            </a:xfrm>
            <a:grpFill/>
          </p:grpSpPr>
          <p:sp>
            <p:nvSpPr>
              <p:cNvPr id="127" name="Oval 73"/>
              <p:cNvSpPr>
                <a:spLocks noChangeArrowheads="1"/>
              </p:cNvSpPr>
              <p:nvPr/>
            </p:nvSpPr>
            <p:spPr bwMode="gray">
              <a:xfrm>
                <a:off x="9504726" y="2202941"/>
                <a:ext cx="302293" cy="130582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Freeform 77"/>
              <p:cNvSpPr>
                <a:spLocks/>
              </p:cNvSpPr>
              <p:nvPr/>
            </p:nvSpPr>
            <p:spPr bwMode="gray">
              <a:xfrm>
                <a:off x="9504726" y="2300106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8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2"/>
                      <a:pt x="270" y="75"/>
                      <a:pt x="174" y="75"/>
                    </a:cubicBezTo>
                    <a:cubicBezTo>
                      <a:pt x="78" y="75"/>
                      <a:pt x="0" y="42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8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Freeform 78"/>
              <p:cNvSpPr>
                <a:spLocks/>
              </p:cNvSpPr>
              <p:nvPr/>
            </p:nvSpPr>
            <p:spPr bwMode="gray">
              <a:xfrm>
                <a:off x="9504726" y="2381849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7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1"/>
                      <a:pt x="270" y="75"/>
                      <a:pt x="174" y="75"/>
                    </a:cubicBezTo>
                    <a:cubicBezTo>
                      <a:pt x="78" y="75"/>
                      <a:pt x="0" y="41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7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Freeform 79"/>
              <p:cNvSpPr>
                <a:spLocks/>
              </p:cNvSpPr>
              <p:nvPr/>
            </p:nvSpPr>
            <p:spPr bwMode="gray">
              <a:xfrm>
                <a:off x="9585440" y="2764342"/>
                <a:ext cx="140864" cy="55523"/>
              </a:xfrm>
              <a:custGeom>
                <a:avLst/>
                <a:gdLst>
                  <a:gd name="T0" fmla="*/ 81 w 162"/>
                  <a:gd name="T1" fmla="*/ 8 h 64"/>
                  <a:gd name="T2" fmla="*/ 0 w 162"/>
                  <a:gd name="T3" fmla="*/ 0 h 64"/>
                  <a:gd name="T4" fmla="*/ 0 w 162"/>
                  <a:gd name="T5" fmla="*/ 56 h 64"/>
                  <a:gd name="T6" fmla="*/ 81 w 162"/>
                  <a:gd name="T7" fmla="*/ 64 h 64"/>
                  <a:gd name="T8" fmla="*/ 162 w 162"/>
                  <a:gd name="T9" fmla="*/ 56 h 64"/>
                  <a:gd name="T10" fmla="*/ 162 w 162"/>
                  <a:gd name="T11" fmla="*/ 0 h 64"/>
                  <a:gd name="T12" fmla="*/ 81 w 162"/>
                  <a:gd name="T13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4">
                    <a:moveTo>
                      <a:pt x="81" y="8"/>
                    </a:moveTo>
                    <a:cubicBezTo>
                      <a:pt x="52" y="8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4"/>
                      <a:pt x="81" y="64"/>
                    </a:cubicBezTo>
                    <a:cubicBezTo>
                      <a:pt x="110" y="64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8"/>
                      <a:pt x="8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Freeform 80"/>
              <p:cNvSpPr>
                <a:spLocks/>
              </p:cNvSpPr>
              <p:nvPr/>
            </p:nvSpPr>
            <p:spPr bwMode="gray">
              <a:xfrm>
                <a:off x="9585440" y="2845057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5"/>
                      <a:pt x="81" y="65"/>
                    </a:cubicBezTo>
                    <a:cubicBezTo>
                      <a:pt x="110" y="65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Freeform 81"/>
              <p:cNvSpPr>
                <a:spLocks/>
              </p:cNvSpPr>
              <p:nvPr/>
            </p:nvSpPr>
            <p:spPr bwMode="gray">
              <a:xfrm>
                <a:off x="9585440" y="2925771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6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2"/>
                      <a:pt x="52" y="65"/>
                      <a:pt x="81" y="65"/>
                    </a:cubicBezTo>
                    <a:cubicBezTo>
                      <a:pt x="110" y="65"/>
                      <a:pt x="138" y="62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6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Freeform 82"/>
              <p:cNvSpPr>
                <a:spLocks/>
              </p:cNvSpPr>
              <p:nvPr/>
            </p:nvSpPr>
            <p:spPr bwMode="gray">
              <a:xfrm>
                <a:off x="9585440" y="3007513"/>
                <a:ext cx="140864" cy="55523"/>
              </a:xfrm>
              <a:custGeom>
                <a:avLst/>
                <a:gdLst>
                  <a:gd name="T0" fmla="*/ 81 w 162"/>
                  <a:gd name="T1" fmla="*/ 8 h 64"/>
                  <a:gd name="T2" fmla="*/ 0 w 162"/>
                  <a:gd name="T3" fmla="*/ 0 h 64"/>
                  <a:gd name="T4" fmla="*/ 0 w 162"/>
                  <a:gd name="T5" fmla="*/ 56 h 64"/>
                  <a:gd name="T6" fmla="*/ 81 w 162"/>
                  <a:gd name="T7" fmla="*/ 64 h 64"/>
                  <a:gd name="T8" fmla="*/ 162 w 162"/>
                  <a:gd name="T9" fmla="*/ 56 h 64"/>
                  <a:gd name="T10" fmla="*/ 162 w 162"/>
                  <a:gd name="T11" fmla="*/ 0 h 64"/>
                  <a:gd name="T12" fmla="*/ 81 w 162"/>
                  <a:gd name="T13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4">
                    <a:moveTo>
                      <a:pt x="81" y="8"/>
                    </a:moveTo>
                    <a:cubicBezTo>
                      <a:pt x="52" y="8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4"/>
                      <a:pt x="81" y="64"/>
                    </a:cubicBezTo>
                    <a:cubicBezTo>
                      <a:pt x="110" y="64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8"/>
                      <a:pt x="8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4" name="Freeform 83"/>
              <p:cNvSpPr>
                <a:spLocks/>
              </p:cNvSpPr>
              <p:nvPr/>
            </p:nvSpPr>
            <p:spPr bwMode="gray">
              <a:xfrm>
                <a:off x="9577729" y="2462563"/>
                <a:ext cx="229290" cy="114131"/>
              </a:xfrm>
              <a:custGeom>
                <a:avLst/>
                <a:gdLst>
                  <a:gd name="T0" fmla="*/ 90 w 264"/>
                  <a:gd name="T1" fmla="*/ 75 h 131"/>
                  <a:gd name="T2" fmla="*/ 0 w 264"/>
                  <a:gd name="T3" fmla="*/ 64 h 131"/>
                  <a:gd name="T4" fmla="*/ 9 w 264"/>
                  <a:gd name="T5" fmla="*/ 94 h 131"/>
                  <a:gd name="T6" fmla="*/ 9 w 264"/>
                  <a:gd name="T7" fmla="*/ 122 h 131"/>
                  <a:gd name="T8" fmla="*/ 90 w 264"/>
                  <a:gd name="T9" fmla="*/ 131 h 131"/>
                  <a:gd name="T10" fmla="*/ 264 w 264"/>
                  <a:gd name="T11" fmla="*/ 56 h 131"/>
                  <a:gd name="T12" fmla="*/ 264 w 264"/>
                  <a:gd name="T13" fmla="*/ 0 h 131"/>
                  <a:gd name="T14" fmla="*/ 90 w 264"/>
                  <a:gd name="T15" fmla="*/ 7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4" h="131">
                    <a:moveTo>
                      <a:pt x="90" y="75"/>
                    </a:moveTo>
                    <a:cubicBezTo>
                      <a:pt x="57" y="75"/>
                      <a:pt x="26" y="71"/>
                      <a:pt x="0" y="64"/>
                    </a:cubicBezTo>
                    <a:cubicBezTo>
                      <a:pt x="6" y="74"/>
                      <a:pt x="9" y="83"/>
                      <a:pt x="9" y="94"/>
                    </a:cubicBezTo>
                    <a:cubicBezTo>
                      <a:pt x="9" y="122"/>
                      <a:pt x="9" y="122"/>
                      <a:pt x="9" y="122"/>
                    </a:cubicBezTo>
                    <a:cubicBezTo>
                      <a:pt x="33" y="128"/>
                      <a:pt x="61" y="131"/>
                      <a:pt x="90" y="131"/>
                    </a:cubicBezTo>
                    <a:cubicBezTo>
                      <a:pt x="186" y="131"/>
                      <a:pt x="264" y="98"/>
                      <a:pt x="264" y="56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64" y="42"/>
                      <a:pt x="186" y="75"/>
                      <a:pt x="9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Freeform 84"/>
              <p:cNvSpPr>
                <a:spLocks/>
              </p:cNvSpPr>
              <p:nvPr/>
            </p:nvSpPr>
            <p:spPr bwMode="gray">
              <a:xfrm>
                <a:off x="9585440" y="2599829"/>
                <a:ext cx="148576" cy="57580"/>
              </a:xfrm>
              <a:custGeom>
                <a:avLst/>
                <a:gdLst>
                  <a:gd name="T0" fmla="*/ 81 w 171"/>
                  <a:gd name="T1" fmla="*/ 10 h 66"/>
                  <a:gd name="T2" fmla="*/ 0 w 171"/>
                  <a:gd name="T3" fmla="*/ 2 h 66"/>
                  <a:gd name="T4" fmla="*/ 0 w 171"/>
                  <a:gd name="T5" fmla="*/ 58 h 66"/>
                  <a:gd name="T6" fmla="*/ 81 w 171"/>
                  <a:gd name="T7" fmla="*/ 66 h 66"/>
                  <a:gd name="T8" fmla="*/ 162 w 171"/>
                  <a:gd name="T9" fmla="*/ 58 h 66"/>
                  <a:gd name="T10" fmla="*/ 162 w 171"/>
                  <a:gd name="T11" fmla="*/ 29 h 66"/>
                  <a:gd name="T12" fmla="*/ 171 w 171"/>
                  <a:gd name="T13" fmla="*/ 0 h 66"/>
                  <a:gd name="T14" fmla="*/ 81 w 171"/>
                  <a:gd name="T15" fmla="*/ 1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1" h="66">
                    <a:moveTo>
                      <a:pt x="81" y="10"/>
                    </a:moveTo>
                    <a:cubicBezTo>
                      <a:pt x="52" y="10"/>
                      <a:pt x="24" y="7"/>
                      <a:pt x="0" y="2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24" y="63"/>
                      <a:pt x="52" y="66"/>
                      <a:pt x="81" y="66"/>
                    </a:cubicBezTo>
                    <a:cubicBezTo>
                      <a:pt x="110" y="66"/>
                      <a:pt x="138" y="63"/>
                      <a:pt x="162" y="58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2" y="19"/>
                      <a:pt x="165" y="9"/>
                      <a:pt x="171" y="0"/>
                    </a:cubicBezTo>
                    <a:cubicBezTo>
                      <a:pt x="144" y="6"/>
                      <a:pt x="114" y="10"/>
                      <a:pt x="8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6" name="Freeform 85"/>
              <p:cNvSpPr>
                <a:spLocks/>
              </p:cNvSpPr>
              <p:nvPr/>
            </p:nvSpPr>
            <p:spPr bwMode="gray">
              <a:xfrm>
                <a:off x="9585440" y="2682600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6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2"/>
                      <a:pt x="52" y="65"/>
                      <a:pt x="81" y="65"/>
                    </a:cubicBezTo>
                    <a:cubicBezTo>
                      <a:pt x="110" y="65"/>
                      <a:pt x="138" y="62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6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3" name="Gruppieren 397"/>
            <p:cNvGrpSpPr/>
            <p:nvPr/>
          </p:nvGrpSpPr>
          <p:grpSpPr bwMode="gray">
            <a:xfrm>
              <a:off x="10107279" y="2884129"/>
              <a:ext cx="302293" cy="293039"/>
              <a:chOff x="10080867" y="2862297"/>
              <a:chExt cx="302293" cy="293039"/>
            </a:xfrm>
            <a:grpFill/>
          </p:grpSpPr>
          <p:sp>
            <p:nvSpPr>
              <p:cNvPr id="124" name="Oval 73"/>
              <p:cNvSpPr>
                <a:spLocks noChangeArrowheads="1"/>
              </p:cNvSpPr>
              <p:nvPr/>
            </p:nvSpPr>
            <p:spPr bwMode="gray">
              <a:xfrm>
                <a:off x="10080867" y="2862297"/>
                <a:ext cx="302293" cy="130582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Freeform 77"/>
              <p:cNvSpPr>
                <a:spLocks/>
              </p:cNvSpPr>
              <p:nvPr/>
            </p:nvSpPr>
            <p:spPr bwMode="gray">
              <a:xfrm>
                <a:off x="10080867" y="2959462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8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2"/>
                      <a:pt x="270" y="75"/>
                      <a:pt x="174" y="75"/>
                    </a:cubicBezTo>
                    <a:cubicBezTo>
                      <a:pt x="78" y="75"/>
                      <a:pt x="0" y="42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8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Freeform 78"/>
              <p:cNvSpPr>
                <a:spLocks/>
              </p:cNvSpPr>
              <p:nvPr/>
            </p:nvSpPr>
            <p:spPr bwMode="gray">
              <a:xfrm>
                <a:off x="10080867" y="3041205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7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1"/>
                      <a:pt x="270" y="75"/>
                      <a:pt x="174" y="75"/>
                    </a:cubicBezTo>
                    <a:cubicBezTo>
                      <a:pt x="78" y="75"/>
                      <a:pt x="0" y="41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7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48" name="Group 325"/>
          <p:cNvGrpSpPr>
            <a:grpSpLocks noChangeAspect="1"/>
          </p:cNvGrpSpPr>
          <p:nvPr/>
        </p:nvGrpSpPr>
        <p:grpSpPr>
          <a:xfrm>
            <a:off x="3276809" y="5505151"/>
            <a:ext cx="444856" cy="487876"/>
            <a:chOff x="12094717" y="3311748"/>
            <a:chExt cx="510883" cy="560289"/>
          </a:xfrm>
          <a:solidFill>
            <a:srgbClr val="41AAAA"/>
          </a:solidFill>
        </p:grpSpPr>
        <p:sp>
          <p:nvSpPr>
            <p:cNvPr id="149" name="Freeform 1074"/>
            <p:cNvSpPr>
              <a:spLocks noChangeAspect="1"/>
            </p:cNvSpPr>
            <p:nvPr/>
          </p:nvSpPr>
          <p:spPr bwMode="white">
            <a:xfrm>
              <a:off x="12297673" y="3495403"/>
              <a:ext cx="307927" cy="376634"/>
            </a:xfrm>
            <a:custGeom>
              <a:avLst/>
              <a:gdLst>
                <a:gd name="T0" fmla="*/ 52 w 169"/>
                <a:gd name="T1" fmla="*/ 207 h 207"/>
                <a:gd name="T2" fmla="*/ 0 w 169"/>
                <a:gd name="T3" fmla="*/ 207 h 207"/>
                <a:gd name="T4" fmla="*/ 2 w 169"/>
                <a:gd name="T5" fmla="*/ 185 h 207"/>
                <a:gd name="T6" fmla="*/ 13 w 169"/>
                <a:gd name="T7" fmla="*/ 129 h 207"/>
                <a:gd name="T8" fmla="*/ 78 w 169"/>
                <a:gd name="T9" fmla="*/ 42 h 207"/>
                <a:gd name="T10" fmla="*/ 104 w 169"/>
                <a:gd name="T11" fmla="*/ 27 h 207"/>
                <a:gd name="T12" fmla="*/ 93 w 169"/>
                <a:gd name="T13" fmla="*/ 0 h 207"/>
                <a:gd name="T14" fmla="*/ 169 w 169"/>
                <a:gd name="T15" fmla="*/ 30 h 207"/>
                <a:gd name="T16" fmla="*/ 135 w 169"/>
                <a:gd name="T17" fmla="*/ 104 h 207"/>
                <a:gd name="T18" fmla="*/ 123 w 169"/>
                <a:gd name="T19" fmla="*/ 76 h 207"/>
                <a:gd name="T20" fmla="*/ 104 w 169"/>
                <a:gd name="T21" fmla="*/ 89 h 207"/>
                <a:gd name="T22" fmla="*/ 57 w 169"/>
                <a:gd name="T23" fmla="*/ 167 h 207"/>
                <a:gd name="T24" fmla="*/ 52 w 169"/>
                <a:gd name="T25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07">
                  <a:moveTo>
                    <a:pt x="52" y="207"/>
                  </a:moveTo>
                  <a:cubicBezTo>
                    <a:pt x="35" y="207"/>
                    <a:pt x="18" y="207"/>
                    <a:pt x="0" y="207"/>
                  </a:cubicBezTo>
                  <a:cubicBezTo>
                    <a:pt x="0" y="199"/>
                    <a:pt x="1" y="192"/>
                    <a:pt x="2" y="185"/>
                  </a:cubicBezTo>
                  <a:cubicBezTo>
                    <a:pt x="4" y="166"/>
                    <a:pt x="7" y="147"/>
                    <a:pt x="13" y="129"/>
                  </a:cubicBezTo>
                  <a:cubicBezTo>
                    <a:pt x="25" y="92"/>
                    <a:pt x="46" y="63"/>
                    <a:pt x="78" y="42"/>
                  </a:cubicBezTo>
                  <a:cubicBezTo>
                    <a:pt x="86" y="37"/>
                    <a:pt x="95" y="32"/>
                    <a:pt x="104" y="27"/>
                  </a:cubicBezTo>
                  <a:cubicBezTo>
                    <a:pt x="100" y="19"/>
                    <a:pt x="97" y="10"/>
                    <a:pt x="93" y="0"/>
                  </a:cubicBezTo>
                  <a:cubicBezTo>
                    <a:pt x="118" y="10"/>
                    <a:pt x="143" y="20"/>
                    <a:pt x="169" y="30"/>
                  </a:cubicBezTo>
                  <a:cubicBezTo>
                    <a:pt x="157" y="55"/>
                    <a:pt x="146" y="79"/>
                    <a:pt x="135" y="104"/>
                  </a:cubicBezTo>
                  <a:cubicBezTo>
                    <a:pt x="131" y="95"/>
                    <a:pt x="127" y="86"/>
                    <a:pt x="123" y="76"/>
                  </a:cubicBezTo>
                  <a:cubicBezTo>
                    <a:pt x="117" y="81"/>
                    <a:pt x="110" y="84"/>
                    <a:pt x="104" y="89"/>
                  </a:cubicBezTo>
                  <a:cubicBezTo>
                    <a:pt x="77" y="108"/>
                    <a:pt x="63" y="135"/>
                    <a:pt x="57" y="167"/>
                  </a:cubicBezTo>
                  <a:cubicBezTo>
                    <a:pt x="55" y="180"/>
                    <a:pt x="54" y="193"/>
                    <a:pt x="52" y="20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50" name="Freeform 1075"/>
            <p:cNvSpPr>
              <a:spLocks noChangeAspect="1"/>
            </p:cNvSpPr>
            <p:nvPr/>
          </p:nvSpPr>
          <p:spPr bwMode="white">
            <a:xfrm>
              <a:off x="12094717" y="3488237"/>
              <a:ext cx="234124" cy="251937"/>
            </a:xfrm>
            <a:custGeom>
              <a:avLst/>
              <a:gdLst>
                <a:gd name="T0" fmla="*/ 46 w 129"/>
                <a:gd name="T1" fmla="*/ 76 h 138"/>
                <a:gd name="T2" fmla="*/ 34 w 129"/>
                <a:gd name="T3" fmla="*/ 103 h 138"/>
                <a:gd name="T4" fmla="*/ 0 w 129"/>
                <a:gd name="T5" fmla="*/ 28 h 138"/>
                <a:gd name="T6" fmla="*/ 77 w 129"/>
                <a:gd name="T7" fmla="*/ 0 h 138"/>
                <a:gd name="T8" fmla="*/ 66 w 129"/>
                <a:gd name="T9" fmla="*/ 27 h 138"/>
                <a:gd name="T10" fmla="*/ 83 w 129"/>
                <a:gd name="T11" fmla="*/ 37 h 138"/>
                <a:gd name="T12" fmla="*/ 127 w 129"/>
                <a:gd name="T13" fmla="*/ 75 h 138"/>
                <a:gd name="T14" fmla="*/ 128 w 129"/>
                <a:gd name="T15" fmla="*/ 79 h 138"/>
                <a:gd name="T16" fmla="*/ 104 w 129"/>
                <a:gd name="T17" fmla="*/ 136 h 138"/>
                <a:gd name="T18" fmla="*/ 103 w 129"/>
                <a:gd name="T19" fmla="*/ 138 h 138"/>
                <a:gd name="T20" fmla="*/ 46 w 129"/>
                <a:gd name="T21" fmla="*/ 7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38">
                  <a:moveTo>
                    <a:pt x="46" y="76"/>
                  </a:moveTo>
                  <a:cubicBezTo>
                    <a:pt x="42" y="85"/>
                    <a:pt x="38" y="94"/>
                    <a:pt x="34" y="103"/>
                  </a:cubicBezTo>
                  <a:cubicBezTo>
                    <a:pt x="23" y="78"/>
                    <a:pt x="11" y="53"/>
                    <a:pt x="0" y="28"/>
                  </a:cubicBezTo>
                  <a:cubicBezTo>
                    <a:pt x="25" y="19"/>
                    <a:pt x="51" y="9"/>
                    <a:pt x="77" y="0"/>
                  </a:cubicBezTo>
                  <a:cubicBezTo>
                    <a:pt x="73" y="9"/>
                    <a:pt x="69" y="18"/>
                    <a:pt x="66" y="27"/>
                  </a:cubicBezTo>
                  <a:cubicBezTo>
                    <a:pt x="71" y="30"/>
                    <a:pt x="77" y="33"/>
                    <a:pt x="83" y="37"/>
                  </a:cubicBezTo>
                  <a:cubicBezTo>
                    <a:pt x="100" y="47"/>
                    <a:pt x="115" y="60"/>
                    <a:pt x="127" y="75"/>
                  </a:cubicBezTo>
                  <a:cubicBezTo>
                    <a:pt x="128" y="76"/>
                    <a:pt x="129" y="77"/>
                    <a:pt x="128" y="79"/>
                  </a:cubicBezTo>
                  <a:cubicBezTo>
                    <a:pt x="117" y="97"/>
                    <a:pt x="109" y="116"/>
                    <a:pt x="104" y="136"/>
                  </a:cubicBezTo>
                  <a:cubicBezTo>
                    <a:pt x="104" y="136"/>
                    <a:pt x="104" y="137"/>
                    <a:pt x="103" y="138"/>
                  </a:cubicBezTo>
                  <a:cubicBezTo>
                    <a:pt x="92" y="110"/>
                    <a:pt x="72" y="90"/>
                    <a:pt x="46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51" name="Freeform 1076"/>
            <p:cNvSpPr>
              <a:spLocks noChangeAspect="1"/>
            </p:cNvSpPr>
            <p:nvPr/>
          </p:nvSpPr>
          <p:spPr bwMode="white">
            <a:xfrm>
              <a:off x="12249398" y="3311748"/>
              <a:ext cx="203588" cy="277386"/>
            </a:xfrm>
            <a:custGeom>
              <a:avLst/>
              <a:gdLst>
                <a:gd name="T0" fmla="*/ 30 w 112"/>
                <a:gd name="T1" fmla="*/ 61 h 152"/>
                <a:gd name="T2" fmla="*/ 0 w 112"/>
                <a:gd name="T3" fmla="*/ 61 h 152"/>
                <a:gd name="T4" fmla="*/ 57 w 112"/>
                <a:gd name="T5" fmla="*/ 0 h 152"/>
                <a:gd name="T6" fmla="*/ 112 w 112"/>
                <a:gd name="T7" fmla="*/ 61 h 152"/>
                <a:gd name="T8" fmla="*/ 82 w 112"/>
                <a:gd name="T9" fmla="*/ 61 h 152"/>
                <a:gd name="T10" fmla="*/ 82 w 112"/>
                <a:gd name="T11" fmla="*/ 66 h 152"/>
                <a:gd name="T12" fmla="*/ 82 w 112"/>
                <a:gd name="T13" fmla="*/ 124 h 152"/>
                <a:gd name="T14" fmla="*/ 81 w 112"/>
                <a:gd name="T15" fmla="*/ 129 h 152"/>
                <a:gd name="T16" fmla="*/ 57 w 112"/>
                <a:gd name="T17" fmla="*/ 152 h 152"/>
                <a:gd name="T18" fmla="*/ 57 w 112"/>
                <a:gd name="T19" fmla="*/ 152 h 152"/>
                <a:gd name="T20" fmla="*/ 37 w 112"/>
                <a:gd name="T21" fmla="*/ 133 h 152"/>
                <a:gd name="T22" fmla="*/ 30 w 112"/>
                <a:gd name="T23" fmla="*/ 118 h 152"/>
                <a:gd name="T24" fmla="*/ 30 w 112"/>
                <a:gd name="T25" fmla="*/ 66 h 152"/>
                <a:gd name="T26" fmla="*/ 30 w 112"/>
                <a:gd name="T27" fmla="*/ 61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52">
                  <a:moveTo>
                    <a:pt x="30" y="61"/>
                  </a:moveTo>
                  <a:cubicBezTo>
                    <a:pt x="20" y="61"/>
                    <a:pt x="11" y="61"/>
                    <a:pt x="0" y="61"/>
                  </a:cubicBezTo>
                  <a:cubicBezTo>
                    <a:pt x="20" y="41"/>
                    <a:pt x="38" y="21"/>
                    <a:pt x="57" y="0"/>
                  </a:cubicBezTo>
                  <a:cubicBezTo>
                    <a:pt x="76" y="21"/>
                    <a:pt x="94" y="41"/>
                    <a:pt x="112" y="61"/>
                  </a:cubicBezTo>
                  <a:cubicBezTo>
                    <a:pt x="102" y="61"/>
                    <a:pt x="92" y="61"/>
                    <a:pt x="82" y="61"/>
                  </a:cubicBezTo>
                  <a:cubicBezTo>
                    <a:pt x="82" y="63"/>
                    <a:pt x="82" y="64"/>
                    <a:pt x="82" y="66"/>
                  </a:cubicBezTo>
                  <a:cubicBezTo>
                    <a:pt x="82" y="85"/>
                    <a:pt x="83" y="105"/>
                    <a:pt x="82" y="124"/>
                  </a:cubicBezTo>
                  <a:cubicBezTo>
                    <a:pt x="82" y="126"/>
                    <a:pt x="82" y="128"/>
                    <a:pt x="81" y="129"/>
                  </a:cubicBezTo>
                  <a:cubicBezTo>
                    <a:pt x="73" y="136"/>
                    <a:pt x="65" y="144"/>
                    <a:pt x="57" y="152"/>
                  </a:cubicBezTo>
                  <a:cubicBezTo>
                    <a:pt x="57" y="152"/>
                    <a:pt x="56" y="152"/>
                    <a:pt x="57" y="152"/>
                  </a:cubicBezTo>
                  <a:cubicBezTo>
                    <a:pt x="50" y="146"/>
                    <a:pt x="44" y="139"/>
                    <a:pt x="37" y="133"/>
                  </a:cubicBezTo>
                  <a:cubicBezTo>
                    <a:pt x="31" y="129"/>
                    <a:pt x="30" y="125"/>
                    <a:pt x="30" y="118"/>
                  </a:cubicBezTo>
                  <a:cubicBezTo>
                    <a:pt x="30" y="101"/>
                    <a:pt x="30" y="83"/>
                    <a:pt x="30" y="66"/>
                  </a:cubicBezTo>
                  <a:cubicBezTo>
                    <a:pt x="30" y="64"/>
                    <a:pt x="30" y="63"/>
                    <a:pt x="30" y="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152" name="Gruppieren 11"/>
          <p:cNvGrpSpPr/>
          <p:nvPr/>
        </p:nvGrpSpPr>
        <p:grpSpPr>
          <a:xfrm>
            <a:off x="3235927" y="4720684"/>
            <a:ext cx="526620" cy="466898"/>
            <a:chOff x="8351655" y="3284763"/>
            <a:chExt cx="804021" cy="717545"/>
          </a:xfrm>
        </p:grpSpPr>
        <p:grpSp>
          <p:nvGrpSpPr>
            <p:cNvPr id="153" name="Group 120"/>
            <p:cNvGrpSpPr>
              <a:grpSpLocks noChangeAspect="1"/>
            </p:cNvGrpSpPr>
            <p:nvPr/>
          </p:nvGrpSpPr>
          <p:grpSpPr>
            <a:xfrm>
              <a:off x="8570434" y="3284763"/>
              <a:ext cx="585242" cy="583020"/>
              <a:chOff x="9202372" y="3942139"/>
              <a:chExt cx="592053" cy="589665"/>
            </a:xfrm>
            <a:solidFill>
              <a:srgbClr val="41AAAA"/>
            </a:solidFill>
          </p:grpSpPr>
          <p:sp>
            <p:nvSpPr>
              <p:cNvPr id="158" name="Freeform 124"/>
              <p:cNvSpPr>
                <a:spLocks noChangeAspect="1" noEditPoints="1"/>
              </p:cNvSpPr>
              <p:nvPr/>
            </p:nvSpPr>
            <p:spPr bwMode="auto">
              <a:xfrm>
                <a:off x="9202372" y="3942139"/>
                <a:ext cx="59684" cy="93107"/>
              </a:xfrm>
              <a:custGeom>
                <a:avLst/>
                <a:gdLst/>
                <a:ahLst/>
                <a:cxnLst>
                  <a:cxn ang="0">
                    <a:pos x="49" y="31"/>
                  </a:cxn>
                  <a:cxn ang="0">
                    <a:pos x="49" y="44"/>
                  </a:cxn>
                  <a:cxn ang="0">
                    <a:pos x="43" y="65"/>
                  </a:cxn>
                  <a:cxn ang="0">
                    <a:pos x="24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4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49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4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4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49" h="75">
                    <a:moveTo>
                      <a:pt x="49" y="31"/>
                    </a:moveTo>
                    <a:cubicBezTo>
                      <a:pt x="49" y="44"/>
                      <a:pt x="49" y="44"/>
                      <a:pt x="49" y="44"/>
                    </a:cubicBezTo>
                    <a:cubicBezTo>
                      <a:pt x="49" y="51"/>
                      <a:pt x="47" y="58"/>
                      <a:pt x="43" y="65"/>
                    </a:cubicBezTo>
                    <a:cubicBezTo>
                      <a:pt x="39" y="72"/>
                      <a:pt x="32" y="75"/>
                      <a:pt x="24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6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0" y="3"/>
                      <a:pt x="16" y="0"/>
                      <a:pt x="24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8"/>
                      <a:pt x="45" y="14"/>
                    </a:cubicBezTo>
                    <a:cubicBezTo>
                      <a:pt x="48" y="19"/>
                      <a:pt x="49" y="25"/>
                      <a:pt x="49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2"/>
                      <a:pt x="28" y="11"/>
                      <a:pt x="24" y="11"/>
                    </a:cubicBezTo>
                    <a:cubicBezTo>
                      <a:pt x="21" y="11"/>
                      <a:pt x="18" y="12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5"/>
                      <a:pt x="16" y="60"/>
                    </a:cubicBezTo>
                    <a:cubicBezTo>
                      <a:pt x="18" y="63"/>
                      <a:pt x="21" y="64"/>
                      <a:pt x="24" y="64"/>
                    </a:cubicBezTo>
                    <a:cubicBezTo>
                      <a:pt x="28" y="64"/>
                      <a:pt x="31" y="62"/>
                      <a:pt x="33" y="60"/>
                    </a:cubicBezTo>
                    <a:cubicBezTo>
                      <a:pt x="36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59" name="Freeform 125"/>
              <p:cNvSpPr>
                <a:spLocks noChangeAspect="1"/>
              </p:cNvSpPr>
              <p:nvPr/>
            </p:nvSpPr>
            <p:spPr bwMode="auto">
              <a:xfrm>
                <a:off x="9290703" y="3942139"/>
                <a:ext cx="62070" cy="90719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7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50" h="74">
                    <a:moveTo>
                      <a:pt x="30" y="0"/>
                    </a:moveTo>
                    <a:cubicBezTo>
                      <a:pt x="30" y="62"/>
                      <a:pt x="30" y="62"/>
                      <a:pt x="30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6"/>
                      <a:pt x="0" y="65"/>
                      <a:pt x="2" y="64"/>
                    </a:cubicBezTo>
                    <a:cubicBezTo>
                      <a:pt x="3" y="63"/>
                      <a:pt x="5" y="62"/>
                      <a:pt x="7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2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2" y="7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0" name="Freeform 126"/>
              <p:cNvSpPr>
                <a:spLocks noChangeAspect="1"/>
              </p:cNvSpPr>
              <p:nvPr/>
            </p:nvSpPr>
            <p:spPr bwMode="auto">
              <a:xfrm>
                <a:off x="9379033" y="3942139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3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2" y="7"/>
                      <a:pt x="3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1" name="Freeform 127"/>
              <p:cNvSpPr>
                <a:spLocks noChangeAspect="1" noEditPoints="1"/>
              </p:cNvSpPr>
              <p:nvPr/>
            </p:nvSpPr>
            <p:spPr bwMode="auto">
              <a:xfrm>
                <a:off x="9467362" y="3942139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3" y="65"/>
                  </a:cxn>
                  <a:cxn ang="0">
                    <a:pos x="25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5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50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3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6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40" y="5"/>
                      <a:pt x="43" y="8"/>
                      <a:pt x="45" y="14"/>
                    </a:cubicBezTo>
                    <a:cubicBezTo>
                      <a:pt x="48" y="19"/>
                      <a:pt x="50" y="25"/>
                      <a:pt x="50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7" y="20"/>
                      <a:pt x="33" y="15"/>
                    </a:cubicBezTo>
                    <a:cubicBezTo>
                      <a:pt x="31" y="12"/>
                      <a:pt x="28" y="11"/>
                      <a:pt x="25" y="11"/>
                    </a:cubicBezTo>
                    <a:cubicBezTo>
                      <a:pt x="21" y="11"/>
                      <a:pt x="19" y="12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5"/>
                      <a:pt x="17" y="60"/>
                    </a:cubicBezTo>
                    <a:cubicBezTo>
                      <a:pt x="19" y="63"/>
                      <a:pt x="21" y="64"/>
                      <a:pt x="25" y="64"/>
                    </a:cubicBezTo>
                    <a:cubicBezTo>
                      <a:pt x="28" y="64"/>
                      <a:pt x="31" y="62"/>
                      <a:pt x="33" y="60"/>
                    </a:cubicBezTo>
                    <a:cubicBezTo>
                      <a:pt x="37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2" name="Freeform 128"/>
              <p:cNvSpPr>
                <a:spLocks noChangeAspect="1"/>
              </p:cNvSpPr>
              <p:nvPr/>
            </p:nvSpPr>
            <p:spPr bwMode="auto">
              <a:xfrm>
                <a:off x="9555694" y="3942139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8"/>
                      <a:pt x="6" y="18"/>
                      <a:pt x="6" y="18"/>
                    </a:cubicBezTo>
                    <a:cubicBezTo>
                      <a:pt x="4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7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3" name="Freeform 129"/>
              <p:cNvSpPr>
                <a:spLocks noChangeAspect="1"/>
              </p:cNvSpPr>
              <p:nvPr/>
            </p:nvSpPr>
            <p:spPr bwMode="auto">
              <a:xfrm>
                <a:off x="9644023" y="3942139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3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3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20" y="62"/>
                  </a:cxn>
                  <a:cxn ang="0">
                    <a:pos x="20" y="15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50" y="65"/>
                      <a:pt x="50" y="66"/>
                      <a:pt x="50" y="68"/>
                    </a:cubicBezTo>
                    <a:cubicBezTo>
                      <a:pt x="50" y="70"/>
                      <a:pt x="50" y="71"/>
                      <a:pt x="48" y="72"/>
                    </a:cubicBezTo>
                    <a:cubicBezTo>
                      <a:pt x="47" y="73"/>
                      <a:pt x="45" y="74"/>
                      <a:pt x="43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4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0"/>
                      <a:pt x="1" y="9"/>
                      <a:pt x="2" y="8"/>
                    </a:cubicBezTo>
                    <a:cubicBezTo>
                      <a:pt x="2" y="7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4" name="Freeform 130"/>
              <p:cNvSpPr>
                <a:spLocks noChangeAspect="1" noEditPoints="1"/>
              </p:cNvSpPr>
              <p:nvPr/>
            </p:nvSpPr>
            <p:spPr bwMode="auto">
              <a:xfrm>
                <a:off x="9732355" y="3942139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4" y="65"/>
                  </a:cxn>
                  <a:cxn ang="0">
                    <a:pos x="25" y="75"/>
                  </a:cxn>
                  <a:cxn ang="0">
                    <a:pos x="14" y="72"/>
                  </a:cxn>
                  <a:cxn ang="0">
                    <a:pos x="5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7" y="10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4"/>
                  </a:cxn>
                  <a:cxn ang="0">
                    <a:pos x="50" y="31"/>
                  </a:cxn>
                  <a:cxn ang="0">
                    <a:pos x="39" y="31"/>
                  </a:cxn>
                  <a:cxn ang="0">
                    <a:pos x="34" y="15"/>
                  </a:cxn>
                  <a:cxn ang="0">
                    <a:pos x="25" y="11"/>
                  </a:cxn>
                  <a:cxn ang="0">
                    <a:pos x="17" y="15"/>
                  </a:cxn>
                  <a:cxn ang="0">
                    <a:pos x="12" y="31"/>
                  </a:cxn>
                  <a:cxn ang="0">
                    <a:pos x="12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4" y="60"/>
                  </a:cxn>
                  <a:cxn ang="0">
                    <a:pos x="39" y="44"/>
                  </a:cxn>
                  <a:cxn ang="0">
                    <a:pos x="39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4" y="65"/>
                    </a:cubicBezTo>
                    <a:cubicBezTo>
                      <a:pt x="40" y="72"/>
                      <a:pt x="33" y="75"/>
                      <a:pt x="25" y="75"/>
                    </a:cubicBezTo>
                    <a:cubicBezTo>
                      <a:pt x="21" y="75"/>
                      <a:pt x="17" y="74"/>
                      <a:pt x="14" y="72"/>
                    </a:cubicBezTo>
                    <a:cubicBezTo>
                      <a:pt x="11" y="70"/>
                      <a:pt x="8" y="66"/>
                      <a:pt x="5" y="61"/>
                    </a:cubicBezTo>
                    <a:cubicBezTo>
                      <a:pt x="2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3" y="17"/>
                      <a:pt x="7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30" y="0"/>
                      <a:pt x="34" y="1"/>
                      <a:pt x="37" y="3"/>
                    </a:cubicBezTo>
                    <a:cubicBezTo>
                      <a:pt x="40" y="5"/>
                      <a:pt x="43" y="8"/>
                      <a:pt x="46" y="14"/>
                    </a:cubicBezTo>
                    <a:cubicBezTo>
                      <a:pt x="49" y="19"/>
                      <a:pt x="50" y="25"/>
                      <a:pt x="50" y="31"/>
                    </a:cubicBezTo>
                    <a:close/>
                    <a:moveTo>
                      <a:pt x="39" y="31"/>
                    </a:moveTo>
                    <a:cubicBezTo>
                      <a:pt x="39" y="25"/>
                      <a:pt x="37" y="20"/>
                      <a:pt x="34" y="15"/>
                    </a:cubicBezTo>
                    <a:cubicBezTo>
                      <a:pt x="32" y="12"/>
                      <a:pt x="29" y="11"/>
                      <a:pt x="25" y="11"/>
                    </a:cubicBezTo>
                    <a:cubicBezTo>
                      <a:pt x="22" y="11"/>
                      <a:pt x="19" y="12"/>
                      <a:pt x="17" y="15"/>
                    </a:cubicBezTo>
                    <a:cubicBezTo>
                      <a:pt x="14" y="20"/>
                      <a:pt x="12" y="25"/>
                      <a:pt x="12" y="31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4" y="55"/>
                      <a:pt x="17" y="60"/>
                    </a:cubicBezTo>
                    <a:cubicBezTo>
                      <a:pt x="19" y="63"/>
                      <a:pt x="22" y="64"/>
                      <a:pt x="25" y="64"/>
                    </a:cubicBezTo>
                    <a:cubicBezTo>
                      <a:pt x="29" y="64"/>
                      <a:pt x="32" y="62"/>
                      <a:pt x="34" y="60"/>
                    </a:cubicBezTo>
                    <a:cubicBezTo>
                      <a:pt x="37" y="55"/>
                      <a:pt x="39" y="50"/>
                      <a:pt x="39" y="44"/>
                    </a:cubicBezTo>
                    <a:lnTo>
                      <a:pt x="39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5" name="Freeform 131"/>
              <p:cNvSpPr>
                <a:spLocks noChangeAspect="1"/>
              </p:cNvSpPr>
              <p:nvPr/>
            </p:nvSpPr>
            <p:spPr bwMode="auto">
              <a:xfrm>
                <a:off x="9202372" y="4063891"/>
                <a:ext cx="59684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3"/>
                  </a:cxn>
                  <a:cxn ang="0">
                    <a:pos x="42" y="63"/>
                  </a:cxn>
                  <a:cxn ang="0">
                    <a:pos x="48" y="65"/>
                  </a:cxn>
                  <a:cxn ang="0">
                    <a:pos x="49" y="69"/>
                  </a:cxn>
                  <a:cxn ang="0">
                    <a:pos x="48" y="73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1" y="73"/>
                  </a:cxn>
                  <a:cxn ang="0">
                    <a:pos x="0" y="69"/>
                  </a:cxn>
                  <a:cxn ang="0">
                    <a:pos x="1" y="65"/>
                  </a:cxn>
                  <a:cxn ang="0">
                    <a:pos x="7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9"/>
                  </a:cxn>
                  <a:cxn ang="0">
                    <a:pos x="1" y="17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6" y="7"/>
                  </a:cxn>
                  <a:cxn ang="0">
                    <a:pos x="30" y="0"/>
                  </a:cxn>
                </a:cxnLst>
                <a:rect l="0" t="0" r="r" b="b"/>
                <a:pathLst>
                  <a:path w="49" h="74">
                    <a:moveTo>
                      <a:pt x="30" y="0"/>
                    </a:moveTo>
                    <a:cubicBezTo>
                      <a:pt x="30" y="63"/>
                      <a:pt x="30" y="63"/>
                      <a:pt x="30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4" y="63"/>
                      <a:pt x="46" y="63"/>
                      <a:pt x="48" y="65"/>
                    </a:cubicBezTo>
                    <a:cubicBezTo>
                      <a:pt x="49" y="66"/>
                      <a:pt x="49" y="67"/>
                      <a:pt x="49" y="69"/>
                    </a:cubicBezTo>
                    <a:cubicBezTo>
                      <a:pt x="49" y="70"/>
                      <a:pt x="49" y="72"/>
                      <a:pt x="48" y="73"/>
                    </a:cubicBezTo>
                    <a:cubicBezTo>
                      <a:pt x="46" y="74"/>
                      <a:pt x="44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5" y="74"/>
                      <a:pt x="3" y="74"/>
                      <a:pt x="1" y="73"/>
                    </a:cubicBezTo>
                    <a:cubicBezTo>
                      <a:pt x="0" y="72"/>
                      <a:pt x="0" y="70"/>
                      <a:pt x="0" y="69"/>
                    </a:cubicBezTo>
                    <a:cubicBezTo>
                      <a:pt x="0" y="67"/>
                      <a:pt x="0" y="66"/>
                      <a:pt x="1" y="65"/>
                    </a:cubicBezTo>
                    <a:cubicBezTo>
                      <a:pt x="3" y="63"/>
                      <a:pt x="5" y="63"/>
                      <a:pt x="7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9"/>
                      <a:pt x="5" y="19"/>
                    </a:cubicBezTo>
                    <a:cubicBezTo>
                      <a:pt x="3" y="19"/>
                      <a:pt x="2" y="18"/>
                      <a:pt x="1" y="17"/>
                    </a:cubicBezTo>
                    <a:cubicBezTo>
                      <a:pt x="0" y="16"/>
                      <a:pt x="0" y="14"/>
                      <a:pt x="0" y="13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2" y="8"/>
                      <a:pt x="3" y="7"/>
                      <a:pt x="6" y="7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6" name="Freeform 132"/>
              <p:cNvSpPr>
                <a:spLocks noChangeAspect="1" noEditPoints="1"/>
              </p:cNvSpPr>
              <p:nvPr/>
            </p:nvSpPr>
            <p:spPr bwMode="auto">
              <a:xfrm>
                <a:off x="9290703" y="4063891"/>
                <a:ext cx="59684" cy="95493"/>
              </a:xfrm>
              <a:custGeom>
                <a:avLst/>
                <a:gdLst/>
                <a:ahLst/>
                <a:cxnLst>
                  <a:cxn ang="0">
                    <a:pos x="49" y="32"/>
                  </a:cxn>
                  <a:cxn ang="0">
                    <a:pos x="49" y="45"/>
                  </a:cxn>
                  <a:cxn ang="0">
                    <a:pos x="43" y="66"/>
                  </a:cxn>
                  <a:cxn ang="0">
                    <a:pos x="25" y="76"/>
                  </a:cxn>
                  <a:cxn ang="0">
                    <a:pos x="13" y="73"/>
                  </a:cxn>
                  <a:cxn ang="0">
                    <a:pos x="4" y="62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6" y="11"/>
                  </a:cxn>
                  <a:cxn ang="0">
                    <a:pos x="24" y="0"/>
                  </a:cxn>
                  <a:cxn ang="0">
                    <a:pos x="36" y="3"/>
                  </a:cxn>
                  <a:cxn ang="0">
                    <a:pos x="45" y="15"/>
                  </a:cxn>
                  <a:cxn ang="0">
                    <a:pos x="49" y="32"/>
                  </a:cxn>
                  <a:cxn ang="0">
                    <a:pos x="38" y="32"/>
                  </a:cxn>
                  <a:cxn ang="0">
                    <a:pos x="33" y="16"/>
                  </a:cxn>
                  <a:cxn ang="0">
                    <a:pos x="25" y="12"/>
                  </a:cxn>
                  <a:cxn ang="0">
                    <a:pos x="16" y="16"/>
                  </a:cxn>
                  <a:cxn ang="0">
                    <a:pos x="11" y="32"/>
                  </a:cxn>
                  <a:cxn ang="0">
                    <a:pos x="11" y="45"/>
                  </a:cxn>
                  <a:cxn ang="0">
                    <a:pos x="16" y="61"/>
                  </a:cxn>
                  <a:cxn ang="0">
                    <a:pos x="25" y="65"/>
                  </a:cxn>
                  <a:cxn ang="0">
                    <a:pos x="33" y="60"/>
                  </a:cxn>
                  <a:cxn ang="0">
                    <a:pos x="38" y="45"/>
                  </a:cxn>
                  <a:cxn ang="0">
                    <a:pos x="38" y="32"/>
                  </a:cxn>
                </a:cxnLst>
                <a:rect l="0" t="0" r="r" b="b"/>
                <a:pathLst>
                  <a:path w="49" h="76">
                    <a:moveTo>
                      <a:pt x="49" y="32"/>
                    </a:moveTo>
                    <a:cubicBezTo>
                      <a:pt x="49" y="45"/>
                      <a:pt x="49" y="45"/>
                      <a:pt x="49" y="45"/>
                    </a:cubicBezTo>
                    <a:cubicBezTo>
                      <a:pt x="49" y="52"/>
                      <a:pt x="47" y="59"/>
                      <a:pt x="43" y="66"/>
                    </a:cubicBezTo>
                    <a:cubicBezTo>
                      <a:pt x="39" y="73"/>
                      <a:pt x="33" y="76"/>
                      <a:pt x="25" y="76"/>
                    </a:cubicBezTo>
                    <a:cubicBezTo>
                      <a:pt x="20" y="76"/>
                      <a:pt x="16" y="75"/>
                      <a:pt x="13" y="73"/>
                    </a:cubicBezTo>
                    <a:cubicBezTo>
                      <a:pt x="10" y="71"/>
                      <a:pt x="7" y="67"/>
                      <a:pt x="4" y="62"/>
                    </a:cubicBezTo>
                    <a:cubicBezTo>
                      <a:pt x="1" y="56"/>
                      <a:pt x="0" y="51"/>
                      <a:pt x="0" y="45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25"/>
                      <a:pt x="2" y="17"/>
                      <a:pt x="6" y="11"/>
                    </a:cubicBezTo>
                    <a:cubicBezTo>
                      <a:pt x="10" y="4"/>
                      <a:pt x="16" y="0"/>
                      <a:pt x="24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9"/>
                      <a:pt x="45" y="15"/>
                    </a:cubicBezTo>
                    <a:cubicBezTo>
                      <a:pt x="48" y="20"/>
                      <a:pt x="49" y="26"/>
                      <a:pt x="49" y="32"/>
                    </a:cubicBezTo>
                    <a:close/>
                    <a:moveTo>
                      <a:pt x="38" y="32"/>
                    </a:moveTo>
                    <a:cubicBezTo>
                      <a:pt x="38" y="26"/>
                      <a:pt x="36" y="20"/>
                      <a:pt x="33" y="16"/>
                    </a:cubicBezTo>
                    <a:cubicBezTo>
                      <a:pt x="31" y="13"/>
                      <a:pt x="28" y="12"/>
                      <a:pt x="25" y="12"/>
                    </a:cubicBezTo>
                    <a:cubicBezTo>
                      <a:pt x="21" y="12"/>
                      <a:pt x="18" y="13"/>
                      <a:pt x="16" y="16"/>
                    </a:cubicBezTo>
                    <a:cubicBezTo>
                      <a:pt x="13" y="20"/>
                      <a:pt x="11" y="26"/>
                      <a:pt x="11" y="32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51"/>
                      <a:pt x="13" y="56"/>
                      <a:pt x="16" y="61"/>
                    </a:cubicBezTo>
                    <a:cubicBezTo>
                      <a:pt x="18" y="63"/>
                      <a:pt x="21" y="65"/>
                      <a:pt x="25" y="65"/>
                    </a:cubicBezTo>
                    <a:cubicBezTo>
                      <a:pt x="28" y="65"/>
                      <a:pt x="31" y="63"/>
                      <a:pt x="33" y="60"/>
                    </a:cubicBezTo>
                    <a:cubicBezTo>
                      <a:pt x="36" y="56"/>
                      <a:pt x="38" y="51"/>
                      <a:pt x="38" y="45"/>
                    </a:cubicBezTo>
                    <a:lnTo>
                      <a:pt x="38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7" name="Freeform 133"/>
              <p:cNvSpPr>
                <a:spLocks noChangeAspect="1"/>
              </p:cNvSpPr>
              <p:nvPr/>
            </p:nvSpPr>
            <p:spPr bwMode="auto">
              <a:xfrm>
                <a:off x="9379033" y="4063891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2" y="63"/>
                  </a:cxn>
                  <a:cxn ang="0">
                    <a:pos x="48" y="65"/>
                  </a:cxn>
                  <a:cxn ang="0">
                    <a:pos x="50" y="69"/>
                  </a:cxn>
                  <a:cxn ang="0">
                    <a:pos x="48" y="73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3"/>
                  </a:cxn>
                  <a:cxn ang="0">
                    <a:pos x="0" y="69"/>
                  </a:cxn>
                  <a:cxn ang="0">
                    <a:pos x="2" y="65"/>
                  </a:cxn>
                  <a:cxn ang="0">
                    <a:pos x="8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9"/>
                  </a:cxn>
                  <a:cxn ang="0">
                    <a:pos x="1" y="17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6" y="7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5" y="63"/>
                      <a:pt x="47" y="63"/>
                      <a:pt x="48" y="65"/>
                    </a:cubicBezTo>
                    <a:cubicBezTo>
                      <a:pt x="49" y="66"/>
                      <a:pt x="50" y="67"/>
                      <a:pt x="50" y="69"/>
                    </a:cubicBezTo>
                    <a:cubicBezTo>
                      <a:pt x="50" y="70"/>
                      <a:pt x="49" y="72"/>
                      <a:pt x="48" y="73"/>
                    </a:cubicBezTo>
                    <a:cubicBezTo>
                      <a:pt x="47" y="74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4"/>
                      <a:pt x="2" y="73"/>
                    </a:cubicBezTo>
                    <a:cubicBezTo>
                      <a:pt x="1" y="72"/>
                      <a:pt x="0" y="70"/>
                      <a:pt x="0" y="69"/>
                    </a:cubicBezTo>
                    <a:cubicBezTo>
                      <a:pt x="0" y="67"/>
                      <a:pt x="1" y="66"/>
                      <a:pt x="2" y="65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9"/>
                      <a:pt x="5" y="19"/>
                    </a:cubicBezTo>
                    <a:cubicBezTo>
                      <a:pt x="4" y="19"/>
                      <a:pt x="3" y="18"/>
                      <a:pt x="1" y="17"/>
                    </a:cubicBezTo>
                    <a:cubicBezTo>
                      <a:pt x="0" y="16"/>
                      <a:pt x="0" y="14"/>
                      <a:pt x="0" y="13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2" y="8"/>
                      <a:pt x="3" y="7"/>
                      <a:pt x="6" y="7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8" name="Freeform 134"/>
              <p:cNvSpPr>
                <a:spLocks noChangeAspect="1"/>
              </p:cNvSpPr>
              <p:nvPr/>
            </p:nvSpPr>
            <p:spPr bwMode="auto">
              <a:xfrm>
                <a:off x="9467362" y="4063891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2" y="63"/>
                  </a:cxn>
                  <a:cxn ang="0">
                    <a:pos x="48" y="65"/>
                  </a:cxn>
                  <a:cxn ang="0">
                    <a:pos x="50" y="69"/>
                  </a:cxn>
                  <a:cxn ang="0">
                    <a:pos x="48" y="73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3"/>
                  </a:cxn>
                  <a:cxn ang="0">
                    <a:pos x="0" y="69"/>
                  </a:cxn>
                  <a:cxn ang="0">
                    <a:pos x="2" y="65"/>
                  </a:cxn>
                  <a:cxn ang="0">
                    <a:pos x="8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9"/>
                  </a:cxn>
                  <a:cxn ang="0">
                    <a:pos x="2" y="17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6" y="7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5" y="63"/>
                      <a:pt x="47" y="63"/>
                      <a:pt x="48" y="65"/>
                    </a:cubicBezTo>
                    <a:cubicBezTo>
                      <a:pt x="49" y="66"/>
                      <a:pt x="50" y="67"/>
                      <a:pt x="50" y="69"/>
                    </a:cubicBezTo>
                    <a:cubicBezTo>
                      <a:pt x="50" y="70"/>
                      <a:pt x="49" y="72"/>
                      <a:pt x="48" y="73"/>
                    </a:cubicBezTo>
                    <a:cubicBezTo>
                      <a:pt x="47" y="74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4"/>
                      <a:pt x="2" y="73"/>
                    </a:cubicBezTo>
                    <a:cubicBezTo>
                      <a:pt x="1" y="72"/>
                      <a:pt x="0" y="70"/>
                      <a:pt x="0" y="69"/>
                    </a:cubicBezTo>
                    <a:cubicBezTo>
                      <a:pt x="0" y="67"/>
                      <a:pt x="1" y="66"/>
                      <a:pt x="2" y="65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9"/>
                      <a:pt x="5" y="19"/>
                    </a:cubicBezTo>
                    <a:cubicBezTo>
                      <a:pt x="4" y="19"/>
                      <a:pt x="3" y="18"/>
                      <a:pt x="2" y="17"/>
                    </a:cubicBezTo>
                    <a:cubicBezTo>
                      <a:pt x="1" y="16"/>
                      <a:pt x="0" y="14"/>
                      <a:pt x="0" y="13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2" y="8"/>
                      <a:pt x="4" y="7"/>
                      <a:pt x="6" y="7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69" name="Freeform 135"/>
              <p:cNvSpPr>
                <a:spLocks noChangeAspect="1"/>
              </p:cNvSpPr>
              <p:nvPr/>
            </p:nvSpPr>
            <p:spPr bwMode="auto">
              <a:xfrm>
                <a:off x="9555694" y="4063891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2" y="63"/>
                  </a:cxn>
                  <a:cxn ang="0">
                    <a:pos x="48" y="65"/>
                  </a:cxn>
                  <a:cxn ang="0">
                    <a:pos x="50" y="69"/>
                  </a:cxn>
                  <a:cxn ang="0">
                    <a:pos x="48" y="73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3"/>
                  </a:cxn>
                  <a:cxn ang="0">
                    <a:pos x="0" y="69"/>
                  </a:cxn>
                  <a:cxn ang="0">
                    <a:pos x="2" y="65"/>
                  </a:cxn>
                  <a:cxn ang="0">
                    <a:pos x="8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6" y="19"/>
                  </a:cxn>
                  <a:cxn ang="0">
                    <a:pos x="2" y="17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6" y="7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5" y="63"/>
                      <a:pt x="47" y="63"/>
                      <a:pt x="48" y="65"/>
                    </a:cubicBezTo>
                    <a:cubicBezTo>
                      <a:pt x="49" y="66"/>
                      <a:pt x="50" y="67"/>
                      <a:pt x="50" y="69"/>
                    </a:cubicBezTo>
                    <a:cubicBezTo>
                      <a:pt x="50" y="70"/>
                      <a:pt x="49" y="72"/>
                      <a:pt x="48" y="73"/>
                    </a:cubicBezTo>
                    <a:cubicBezTo>
                      <a:pt x="47" y="74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4"/>
                      <a:pt x="2" y="73"/>
                    </a:cubicBezTo>
                    <a:cubicBezTo>
                      <a:pt x="1" y="72"/>
                      <a:pt x="0" y="70"/>
                      <a:pt x="0" y="69"/>
                    </a:cubicBezTo>
                    <a:cubicBezTo>
                      <a:pt x="0" y="67"/>
                      <a:pt x="1" y="66"/>
                      <a:pt x="2" y="65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8" y="18"/>
                      <a:pt x="6" y="19"/>
                      <a:pt x="6" y="19"/>
                    </a:cubicBezTo>
                    <a:cubicBezTo>
                      <a:pt x="4" y="19"/>
                      <a:pt x="3" y="18"/>
                      <a:pt x="2" y="17"/>
                    </a:cubicBezTo>
                    <a:cubicBezTo>
                      <a:pt x="1" y="16"/>
                      <a:pt x="0" y="14"/>
                      <a:pt x="0" y="13"/>
                    </a:cubicBezTo>
                    <a:cubicBezTo>
                      <a:pt x="0" y="11"/>
                      <a:pt x="1" y="10"/>
                      <a:pt x="1" y="9"/>
                    </a:cubicBezTo>
                    <a:cubicBezTo>
                      <a:pt x="2" y="8"/>
                      <a:pt x="4" y="7"/>
                      <a:pt x="6" y="7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0" name="Freeform 136"/>
              <p:cNvSpPr>
                <a:spLocks noChangeAspect="1" noEditPoints="1"/>
              </p:cNvSpPr>
              <p:nvPr/>
            </p:nvSpPr>
            <p:spPr bwMode="auto">
              <a:xfrm>
                <a:off x="9644023" y="4063891"/>
                <a:ext cx="62070" cy="95493"/>
              </a:xfrm>
              <a:custGeom>
                <a:avLst/>
                <a:gdLst/>
                <a:ahLst/>
                <a:cxnLst>
                  <a:cxn ang="0">
                    <a:pos x="50" y="32"/>
                  </a:cxn>
                  <a:cxn ang="0">
                    <a:pos x="50" y="45"/>
                  </a:cxn>
                  <a:cxn ang="0">
                    <a:pos x="44" y="66"/>
                  </a:cxn>
                  <a:cxn ang="0">
                    <a:pos x="25" y="76"/>
                  </a:cxn>
                  <a:cxn ang="0">
                    <a:pos x="14" y="73"/>
                  </a:cxn>
                  <a:cxn ang="0">
                    <a:pos x="5" y="62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7" y="11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5"/>
                  </a:cxn>
                  <a:cxn ang="0">
                    <a:pos x="50" y="32"/>
                  </a:cxn>
                  <a:cxn ang="0">
                    <a:pos x="39" y="32"/>
                  </a:cxn>
                  <a:cxn ang="0">
                    <a:pos x="33" y="16"/>
                  </a:cxn>
                  <a:cxn ang="0">
                    <a:pos x="25" y="12"/>
                  </a:cxn>
                  <a:cxn ang="0">
                    <a:pos x="17" y="16"/>
                  </a:cxn>
                  <a:cxn ang="0">
                    <a:pos x="12" y="32"/>
                  </a:cxn>
                  <a:cxn ang="0">
                    <a:pos x="12" y="45"/>
                  </a:cxn>
                  <a:cxn ang="0">
                    <a:pos x="17" y="61"/>
                  </a:cxn>
                  <a:cxn ang="0">
                    <a:pos x="25" y="65"/>
                  </a:cxn>
                  <a:cxn ang="0">
                    <a:pos x="34" y="60"/>
                  </a:cxn>
                  <a:cxn ang="0">
                    <a:pos x="39" y="45"/>
                  </a:cxn>
                  <a:cxn ang="0">
                    <a:pos x="39" y="32"/>
                  </a:cxn>
                </a:cxnLst>
                <a:rect l="0" t="0" r="r" b="b"/>
                <a:pathLst>
                  <a:path w="50" h="76">
                    <a:moveTo>
                      <a:pt x="50" y="32"/>
                    </a:move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52"/>
                      <a:pt x="48" y="59"/>
                      <a:pt x="44" y="66"/>
                    </a:cubicBezTo>
                    <a:cubicBezTo>
                      <a:pt x="39" y="73"/>
                      <a:pt x="33" y="76"/>
                      <a:pt x="25" y="76"/>
                    </a:cubicBezTo>
                    <a:cubicBezTo>
                      <a:pt x="21" y="76"/>
                      <a:pt x="17" y="75"/>
                      <a:pt x="14" y="73"/>
                    </a:cubicBezTo>
                    <a:cubicBezTo>
                      <a:pt x="10" y="71"/>
                      <a:pt x="7" y="67"/>
                      <a:pt x="5" y="62"/>
                    </a:cubicBezTo>
                    <a:cubicBezTo>
                      <a:pt x="2" y="56"/>
                      <a:pt x="0" y="51"/>
                      <a:pt x="0" y="45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25"/>
                      <a:pt x="2" y="17"/>
                      <a:pt x="7" y="11"/>
                    </a:cubicBezTo>
                    <a:cubicBezTo>
                      <a:pt x="11" y="4"/>
                      <a:pt x="17" y="0"/>
                      <a:pt x="25" y="0"/>
                    </a:cubicBezTo>
                    <a:cubicBezTo>
                      <a:pt x="30" y="0"/>
                      <a:pt x="34" y="1"/>
                      <a:pt x="37" y="3"/>
                    </a:cubicBezTo>
                    <a:cubicBezTo>
                      <a:pt x="40" y="5"/>
                      <a:pt x="43" y="9"/>
                      <a:pt x="46" y="15"/>
                    </a:cubicBezTo>
                    <a:cubicBezTo>
                      <a:pt x="49" y="20"/>
                      <a:pt x="50" y="26"/>
                      <a:pt x="50" y="32"/>
                    </a:cubicBezTo>
                    <a:close/>
                    <a:moveTo>
                      <a:pt x="39" y="32"/>
                    </a:moveTo>
                    <a:cubicBezTo>
                      <a:pt x="39" y="26"/>
                      <a:pt x="37" y="20"/>
                      <a:pt x="33" y="16"/>
                    </a:cubicBezTo>
                    <a:cubicBezTo>
                      <a:pt x="31" y="13"/>
                      <a:pt x="29" y="12"/>
                      <a:pt x="25" y="12"/>
                    </a:cubicBezTo>
                    <a:cubicBezTo>
                      <a:pt x="22" y="12"/>
                      <a:pt x="19" y="13"/>
                      <a:pt x="17" y="16"/>
                    </a:cubicBezTo>
                    <a:cubicBezTo>
                      <a:pt x="13" y="20"/>
                      <a:pt x="12" y="26"/>
                      <a:pt x="12" y="32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51"/>
                      <a:pt x="13" y="56"/>
                      <a:pt x="17" y="61"/>
                    </a:cubicBezTo>
                    <a:cubicBezTo>
                      <a:pt x="19" y="63"/>
                      <a:pt x="22" y="65"/>
                      <a:pt x="25" y="65"/>
                    </a:cubicBezTo>
                    <a:cubicBezTo>
                      <a:pt x="29" y="65"/>
                      <a:pt x="31" y="63"/>
                      <a:pt x="34" y="60"/>
                    </a:cubicBezTo>
                    <a:cubicBezTo>
                      <a:pt x="37" y="56"/>
                      <a:pt x="39" y="51"/>
                      <a:pt x="39" y="45"/>
                    </a:cubicBezTo>
                    <a:lnTo>
                      <a:pt x="39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1" name="Freeform 137"/>
              <p:cNvSpPr>
                <a:spLocks noChangeAspect="1"/>
              </p:cNvSpPr>
              <p:nvPr/>
            </p:nvSpPr>
            <p:spPr bwMode="auto">
              <a:xfrm>
                <a:off x="9732355" y="4063891"/>
                <a:ext cx="62070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3"/>
                  </a:cxn>
                  <a:cxn ang="0">
                    <a:pos x="42" y="63"/>
                  </a:cxn>
                  <a:cxn ang="0">
                    <a:pos x="48" y="65"/>
                  </a:cxn>
                  <a:cxn ang="0">
                    <a:pos x="49" y="69"/>
                  </a:cxn>
                  <a:cxn ang="0">
                    <a:pos x="48" y="73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1" y="73"/>
                  </a:cxn>
                  <a:cxn ang="0">
                    <a:pos x="0" y="69"/>
                  </a:cxn>
                  <a:cxn ang="0">
                    <a:pos x="1" y="65"/>
                  </a:cxn>
                  <a:cxn ang="0">
                    <a:pos x="7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9"/>
                  </a:cxn>
                  <a:cxn ang="0">
                    <a:pos x="1" y="17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6" y="7"/>
                  </a:cxn>
                  <a:cxn ang="0">
                    <a:pos x="30" y="0"/>
                  </a:cxn>
                </a:cxnLst>
                <a:rect l="0" t="0" r="r" b="b"/>
                <a:pathLst>
                  <a:path w="49" h="74">
                    <a:moveTo>
                      <a:pt x="30" y="0"/>
                    </a:moveTo>
                    <a:cubicBezTo>
                      <a:pt x="30" y="63"/>
                      <a:pt x="30" y="63"/>
                      <a:pt x="30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4" y="63"/>
                      <a:pt x="46" y="63"/>
                      <a:pt x="48" y="65"/>
                    </a:cubicBezTo>
                    <a:cubicBezTo>
                      <a:pt x="49" y="66"/>
                      <a:pt x="49" y="67"/>
                      <a:pt x="49" y="69"/>
                    </a:cubicBezTo>
                    <a:cubicBezTo>
                      <a:pt x="49" y="70"/>
                      <a:pt x="49" y="72"/>
                      <a:pt x="48" y="73"/>
                    </a:cubicBezTo>
                    <a:cubicBezTo>
                      <a:pt x="46" y="74"/>
                      <a:pt x="44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4" y="74"/>
                      <a:pt x="3" y="74"/>
                      <a:pt x="1" y="73"/>
                    </a:cubicBezTo>
                    <a:cubicBezTo>
                      <a:pt x="0" y="72"/>
                      <a:pt x="0" y="70"/>
                      <a:pt x="0" y="69"/>
                    </a:cubicBezTo>
                    <a:cubicBezTo>
                      <a:pt x="0" y="67"/>
                      <a:pt x="0" y="66"/>
                      <a:pt x="1" y="65"/>
                    </a:cubicBezTo>
                    <a:cubicBezTo>
                      <a:pt x="3" y="63"/>
                      <a:pt x="4" y="63"/>
                      <a:pt x="7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9"/>
                      <a:pt x="5" y="19"/>
                    </a:cubicBezTo>
                    <a:cubicBezTo>
                      <a:pt x="3" y="19"/>
                      <a:pt x="2" y="18"/>
                      <a:pt x="1" y="17"/>
                    </a:cubicBezTo>
                    <a:cubicBezTo>
                      <a:pt x="0" y="16"/>
                      <a:pt x="0" y="14"/>
                      <a:pt x="0" y="13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1" y="8"/>
                      <a:pt x="3" y="7"/>
                      <a:pt x="6" y="7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2" name="Freeform 138"/>
              <p:cNvSpPr>
                <a:spLocks noChangeAspect="1" noEditPoints="1"/>
              </p:cNvSpPr>
              <p:nvPr/>
            </p:nvSpPr>
            <p:spPr bwMode="auto">
              <a:xfrm>
                <a:off x="9202372" y="4188032"/>
                <a:ext cx="59684" cy="93107"/>
              </a:xfrm>
              <a:custGeom>
                <a:avLst/>
                <a:gdLst/>
                <a:ahLst/>
                <a:cxnLst>
                  <a:cxn ang="0">
                    <a:pos x="49" y="32"/>
                  </a:cxn>
                  <a:cxn ang="0">
                    <a:pos x="49" y="44"/>
                  </a:cxn>
                  <a:cxn ang="0">
                    <a:pos x="43" y="65"/>
                  </a:cxn>
                  <a:cxn ang="0">
                    <a:pos x="24" y="76"/>
                  </a:cxn>
                  <a:cxn ang="0">
                    <a:pos x="13" y="73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2"/>
                  </a:cxn>
                  <a:cxn ang="0">
                    <a:pos x="6" y="10"/>
                  </a:cxn>
                  <a:cxn ang="0">
                    <a:pos x="24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49" y="32"/>
                  </a:cxn>
                  <a:cxn ang="0">
                    <a:pos x="38" y="32"/>
                  </a:cxn>
                  <a:cxn ang="0">
                    <a:pos x="33" y="15"/>
                  </a:cxn>
                  <a:cxn ang="0">
                    <a:pos x="24" y="11"/>
                  </a:cxn>
                  <a:cxn ang="0">
                    <a:pos x="16" y="16"/>
                  </a:cxn>
                  <a:cxn ang="0">
                    <a:pos x="11" y="32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4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2"/>
                  </a:cxn>
                </a:cxnLst>
                <a:rect l="0" t="0" r="r" b="b"/>
                <a:pathLst>
                  <a:path w="49" h="76">
                    <a:moveTo>
                      <a:pt x="49" y="32"/>
                    </a:moveTo>
                    <a:cubicBezTo>
                      <a:pt x="49" y="44"/>
                      <a:pt x="49" y="44"/>
                      <a:pt x="49" y="44"/>
                    </a:cubicBezTo>
                    <a:cubicBezTo>
                      <a:pt x="49" y="51"/>
                      <a:pt x="47" y="59"/>
                      <a:pt x="43" y="65"/>
                    </a:cubicBezTo>
                    <a:cubicBezTo>
                      <a:pt x="39" y="72"/>
                      <a:pt x="32" y="76"/>
                      <a:pt x="24" y="76"/>
                    </a:cubicBezTo>
                    <a:cubicBezTo>
                      <a:pt x="20" y="76"/>
                      <a:pt x="16" y="75"/>
                      <a:pt x="13" y="73"/>
                    </a:cubicBezTo>
                    <a:cubicBezTo>
                      <a:pt x="10" y="71"/>
                      <a:pt x="7" y="67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0" y="3"/>
                      <a:pt x="16" y="0"/>
                      <a:pt x="24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9"/>
                      <a:pt x="45" y="14"/>
                    </a:cubicBezTo>
                    <a:cubicBezTo>
                      <a:pt x="48" y="20"/>
                      <a:pt x="49" y="25"/>
                      <a:pt x="49" y="32"/>
                    </a:cubicBezTo>
                    <a:close/>
                    <a:moveTo>
                      <a:pt x="38" y="32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3"/>
                      <a:pt x="28" y="11"/>
                      <a:pt x="24" y="11"/>
                    </a:cubicBezTo>
                    <a:cubicBezTo>
                      <a:pt x="21" y="11"/>
                      <a:pt x="18" y="13"/>
                      <a:pt x="16" y="16"/>
                    </a:cubicBezTo>
                    <a:cubicBezTo>
                      <a:pt x="13" y="20"/>
                      <a:pt x="11" y="25"/>
                      <a:pt x="11" y="32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6"/>
                      <a:pt x="16" y="60"/>
                    </a:cubicBezTo>
                    <a:cubicBezTo>
                      <a:pt x="18" y="63"/>
                      <a:pt x="21" y="64"/>
                      <a:pt x="24" y="64"/>
                    </a:cubicBezTo>
                    <a:cubicBezTo>
                      <a:pt x="28" y="64"/>
                      <a:pt x="31" y="63"/>
                      <a:pt x="33" y="60"/>
                    </a:cubicBezTo>
                    <a:cubicBezTo>
                      <a:pt x="36" y="56"/>
                      <a:pt x="38" y="50"/>
                      <a:pt x="38" y="44"/>
                    </a:cubicBezTo>
                    <a:lnTo>
                      <a:pt x="38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3" name="Freeform 139"/>
              <p:cNvSpPr>
                <a:spLocks noChangeAspect="1" noEditPoints="1"/>
              </p:cNvSpPr>
              <p:nvPr/>
            </p:nvSpPr>
            <p:spPr bwMode="auto">
              <a:xfrm>
                <a:off x="9290703" y="4188032"/>
                <a:ext cx="59684" cy="93107"/>
              </a:xfrm>
              <a:custGeom>
                <a:avLst/>
                <a:gdLst/>
                <a:ahLst/>
                <a:cxnLst>
                  <a:cxn ang="0">
                    <a:pos x="49" y="32"/>
                  </a:cxn>
                  <a:cxn ang="0">
                    <a:pos x="49" y="44"/>
                  </a:cxn>
                  <a:cxn ang="0">
                    <a:pos x="43" y="65"/>
                  </a:cxn>
                  <a:cxn ang="0">
                    <a:pos x="25" y="76"/>
                  </a:cxn>
                  <a:cxn ang="0">
                    <a:pos x="13" y="73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2"/>
                  </a:cxn>
                  <a:cxn ang="0">
                    <a:pos x="6" y="10"/>
                  </a:cxn>
                  <a:cxn ang="0">
                    <a:pos x="24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49" y="32"/>
                  </a:cxn>
                  <a:cxn ang="0">
                    <a:pos x="38" y="32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6" y="16"/>
                  </a:cxn>
                  <a:cxn ang="0">
                    <a:pos x="11" y="32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5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2"/>
                  </a:cxn>
                </a:cxnLst>
                <a:rect l="0" t="0" r="r" b="b"/>
                <a:pathLst>
                  <a:path w="49" h="76">
                    <a:moveTo>
                      <a:pt x="49" y="32"/>
                    </a:moveTo>
                    <a:cubicBezTo>
                      <a:pt x="49" y="44"/>
                      <a:pt x="49" y="44"/>
                      <a:pt x="49" y="44"/>
                    </a:cubicBezTo>
                    <a:cubicBezTo>
                      <a:pt x="49" y="51"/>
                      <a:pt x="47" y="59"/>
                      <a:pt x="43" y="65"/>
                    </a:cubicBezTo>
                    <a:cubicBezTo>
                      <a:pt x="39" y="72"/>
                      <a:pt x="33" y="76"/>
                      <a:pt x="25" y="76"/>
                    </a:cubicBezTo>
                    <a:cubicBezTo>
                      <a:pt x="20" y="76"/>
                      <a:pt x="16" y="75"/>
                      <a:pt x="13" y="73"/>
                    </a:cubicBezTo>
                    <a:cubicBezTo>
                      <a:pt x="10" y="71"/>
                      <a:pt x="7" y="67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0" y="3"/>
                      <a:pt x="16" y="0"/>
                      <a:pt x="24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9"/>
                      <a:pt x="45" y="14"/>
                    </a:cubicBezTo>
                    <a:cubicBezTo>
                      <a:pt x="48" y="20"/>
                      <a:pt x="49" y="25"/>
                      <a:pt x="49" y="32"/>
                    </a:cubicBezTo>
                    <a:close/>
                    <a:moveTo>
                      <a:pt x="38" y="32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3"/>
                      <a:pt x="28" y="11"/>
                      <a:pt x="25" y="11"/>
                    </a:cubicBezTo>
                    <a:cubicBezTo>
                      <a:pt x="21" y="11"/>
                      <a:pt x="18" y="13"/>
                      <a:pt x="16" y="16"/>
                    </a:cubicBezTo>
                    <a:cubicBezTo>
                      <a:pt x="13" y="20"/>
                      <a:pt x="11" y="25"/>
                      <a:pt x="11" y="32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6"/>
                      <a:pt x="16" y="60"/>
                    </a:cubicBezTo>
                    <a:cubicBezTo>
                      <a:pt x="18" y="63"/>
                      <a:pt x="21" y="64"/>
                      <a:pt x="25" y="64"/>
                    </a:cubicBezTo>
                    <a:cubicBezTo>
                      <a:pt x="28" y="64"/>
                      <a:pt x="31" y="63"/>
                      <a:pt x="33" y="60"/>
                    </a:cubicBezTo>
                    <a:cubicBezTo>
                      <a:pt x="36" y="56"/>
                      <a:pt x="38" y="50"/>
                      <a:pt x="38" y="44"/>
                    </a:cubicBezTo>
                    <a:lnTo>
                      <a:pt x="38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4" name="Freeform 140"/>
              <p:cNvSpPr>
                <a:spLocks noChangeAspect="1"/>
              </p:cNvSpPr>
              <p:nvPr/>
            </p:nvSpPr>
            <p:spPr bwMode="auto">
              <a:xfrm>
                <a:off x="9379033" y="4188032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2" y="63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1" y="17"/>
                  </a:cxn>
                  <a:cxn ang="0">
                    <a:pos x="0" y="12"/>
                  </a:cxn>
                  <a:cxn ang="0">
                    <a:pos x="1" y="9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5" y="63"/>
                      <a:pt x="47" y="63"/>
                      <a:pt x="48" y="64"/>
                    </a:cubicBezTo>
                    <a:cubicBezTo>
                      <a:pt x="49" y="65"/>
                      <a:pt x="50" y="67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7"/>
                      <a:pt x="1" y="65"/>
                      <a:pt x="2" y="64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3" y="18"/>
                      <a:pt x="1" y="17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2" y="8"/>
                      <a:pt x="3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5" name="Freeform 141"/>
              <p:cNvSpPr>
                <a:spLocks noChangeAspect="1"/>
              </p:cNvSpPr>
              <p:nvPr/>
            </p:nvSpPr>
            <p:spPr bwMode="auto">
              <a:xfrm>
                <a:off x="9467362" y="4188032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2" y="63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2" y="17"/>
                  </a:cxn>
                  <a:cxn ang="0">
                    <a:pos x="0" y="12"/>
                  </a:cxn>
                  <a:cxn ang="0">
                    <a:pos x="1" y="9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5" y="63"/>
                      <a:pt x="47" y="63"/>
                      <a:pt x="48" y="64"/>
                    </a:cubicBezTo>
                    <a:cubicBezTo>
                      <a:pt x="49" y="65"/>
                      <a:pt x="50" y="67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7"/>
                      <a:pt x="1" y="65"/>
                      <a:pt x="2" y="64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3" y="18"/>
                      <a:pt x="2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2" y="8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6" name="Freeform 142"/>
              <p:cNvSpPr>
                <a:spLocks noChangeAspect="1" noEditPoints="1"/>
              </p:cNvSpPr>
              <p:nvPr/>
            </p:nvSpPr>
            <p:spPr bwMode="auto">
              <a:xfrm>
                <a:off x="9555694" y="4188032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2"/>
                  </a:cxn>
                  <a:cxn ang="0">
                    <a:pos x="50" y="44"/>
                  </a:cxn>
                  <a:cxn ang="0">
                    <a:pos x="44" y="65"/>
                  </a:cxn>
                  <a:cxn ang="0">
                    <a:pos x="25" y="76"/>
                  </a:cxn>
                  <a:cxn ang="0">
                    <a:pos x="13" y="73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2"/>
                  </a:cxn>
                  <a:cxn ang="0">
                    <a:pos x="7" y="10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4"/>
                  </a:cxn>
                  <a:cxn ang="0">
                    <a:pos x="50" y="32"/>
                  </a:cxn>
                  <a:cxn ang="0">
                    <a:pos x="38" y="32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7" y="16"/>
                  </a:cxn>
                  <a:cxn ang="0">
                    <a:pos x="12" y="32"/>
                  </a:cxn>
                  <a:cxn ang="0">
                    <a:pos x="12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4" y="60"/>
                  </a:cxn>
                  <a:cxn ang="0">
                    <a:pos x="38" y="44"/>
                  </a:cxn>
                  <a:cxn ang="0">
                    <a:pos x="38" y="32"/>
                  </a:cxn>
                </a:cxnLst>
                <a:rect l="0" t="0" r="r" b="b"/>
                <a:pathLst>
                  <a:path w="50" h="76">
                    <a:moveTo>
                      <a:pt x="50" y="32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9"/>
                      <a:pt x="44" y="65"/>
                    </a:cubicBezTo>
                    <a:cubicBezTo>
                      <a:pt x="39" y="72"/>
                      <a:pt x="33" y="76"/>
                      <a:pt x="25" y="76"/>
                    </a:cubicBezTo>
                    <a:cubicBezTo>
                      <a:pt x="20" y="76"/>
                      <a:pt x="17" y="75"/>
                      <a:pt x="13" y="73"/>
                    </a:cubicBezTo>
                    <a:cubicBezTo>
                      <a:pt x="10" y="71"/>
                      <a:pt x="7" y="67"/>
                      <a:pt x="4" y="61"/>
                    </a:cubicBezTo>
                    <a:cubicBezTo>
                      <a:pt x="2" y="56"/>
                      <a:pt x="0" y="50"/>
                      <a:pt x="0" y="4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24"/>
                      <a:pt x="2" y="17"/>
                      <a:pt x="7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30" y="0"/>
                      <a:pt x="33" y="1"/>
                      <a:pt x="37" y="3"/>
                    </a:cubicBezTo>
                    <a:cubicBezTo>
                      <a:pt x="40" y="5"/>
                      <a:pt x="43" y="9"/>
                      <a:pt x="46" y="14"/>
                    </a:cubicBezTo>
                    <a:cubicBezTo>
                      <a:pt x="48" y="20"/>
                      <a:pt x="50" y="25"/>
                      <a:pt x="50" y="32"/>
                    </a:cubicBezTo>
                    <a:close/>
                    <a:moveTo>
                      <a:pt x="38" y="32"/>
                    </a:moveTo>
                    <a:cubicBezTo>
                      <a:pt x="38" y="25"/>
                      <a:pt x="37" y="20"/>
                      <a:pt x="33" y="15"/>
                    </a:cubicBezTo>
                    <a:cubicBezTo>
                      <a:pt x="31" y="13"/>
                      <a:pt x="29" y="11"/>
                      <a:pt x="25" y="11"/>
                    </a:cubicBezTo>
                    <a:cubicBezTo>
                      <a:pt x="22" y="11"/>
                      <a:pt x="19" y="13"/>
                      <a:pt x="17" y="16"/>
                    </a:cubicBezTo>
                    <a:cubicBezTo>
                      <a:pt x="13" y="20"/>
                      <a:pt x="12" y="25"/>
                      <a:pt x="12" y="32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3" y="56"/>
                      <a:pt x="17" y="60"/>
                    </a:cubicBezTo>
                    <a:cubicBezTo>
                      <a:pt x="19" y="63"/>
                      <a:pt x="21" y="64"/>
                      <a:pt x="25" y="64"/>
                    </a:cubicBezTo>
                    <a:cubicBezTo>
                      <a:pt x="29" y="64"/>
                      <a:pt x="31" y="63"/>
                      <a:pt x="34" y="60"/>
                    </a:cubicBezTo>
                    <a:cubicBezTo>
                      <a:pt x="37" y="56"/>
                      <a:pt x="38" y="50"/>
                      <a:pt x="38" y="44"/>
                    </a:cubicBezTo>
                    <a:lnTo>
                      <a:pt x="38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7" name="Freeform 143"/>
              <p:cNvSpPr>
                <a:spLocks noChangeAspect="1"/>
              </p:cNvSpPr>
              <p:nvPr/>
            </p:nvSpPr>
            <p:spPr bwMode="auto">
              <a:xfrm>
                <a:off x="9644023" y="4188032"/>
                <a:ext cx="62070" cy="907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3"/>
                  </a:cxn>
                  <a:cxn ang="0">
                    <a:pos x="43" y="63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3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3"/>
                  </a:cxn>
                  <a:cxn ang="0">
                    <a:pos x="20" y="63"/>
                  </a:cxn>
                  <a:cxn ang="0">
                    <a:pos x="20" y="15"/>
                  </a:cxn>
                  <a:cxn ang="0">
                    <a:pos x="9" y="18"/>
                  </a:cxn>
                  <a:cxn ang="0">
                    <a:pos x="6" y="18"/>
                  </a:cxn>
                  <a:cxn ang="0">
                    <a:pos x="2" y="17"/>
                  </a:cxn>
                  <a:cxn ang="0">
                    <a:pos x="0" y="12"/>
                  </a:cxn>
                  <a:cxn ang="0">
                    <a:pos x="2" y="9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3"/>
                      <a:pt x="31" y="63"/>
                      <a:pt x="31" y="63"/>
                    </a:cubicBezTo>
                    <a:cubicBezTo>
                      <a:pt x="43" y="63"/>
                      <a:pt x="43" y="63"/>
                      <a:pt x="43" y="63"/>
                    </a:cubicBezTo>
                    <a:cubicBezTo>
                      <a:pt x="45" y="63"/>
                      <a:pt x="47" y="63"/>
                      <a:pt x="48" y="64"/>
                    </a:cubicBezTo>
                    <a:cubicBezTo>
                      <a:pt x="50" y="65"/>
                      <a:pt x="50" y="67"/>
                      <a:pt x="50" y="68"/>
                    </a:cubicBezTo>
                    <a:cubicBezTo>
                      <a:pt x="50" y="70"/>
                      <a:pt x="50" y="71"/>
                      <a:pt x="48" y="72"/>
                    </a:cubicBezTo>
                    <a:cubicBezTo>
                      <a:pt x="47" y="73"/>
                      <a:pt x="45" y="74"/>
                      <a:pt x="43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7"/>
                      <a:pt x="1" y="65"/>
                      <a:pt x="2" y="64"/>
                    </a:cubicBezTo>
                    <a:cubicBezTo>
                      <a:pt x="3" y="63"/>
                      <a:pt x="5" y="63"/>
                      <a:pt x="8" y="63"/>
                    </a:cubicBezTo>
                    <a:cubicBezTo>
                      <a:pt x="20" y="63"/>
                      <a:pt x="20" y="63"/>
                      <a:pt x="20" y="63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4" y="18"/>
                      <a:pt x="3" y="18"/>
                      <a:pt x="2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1"/>
                      <a:pt x="1" y="10"/>
                      <a:pt x="2" y="9"/>
                    </a:cubicBezTo>
                    <a:cubicBezTo>
                      <a:pt x="2" y="8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8" name="Freeform 144"/>
              <p:cNvSpPr>
                <a:spLocks noChangeAspect="1"/>
              </p:cNvSpPr>
              <p:nvPr/>
            </p:nvSpPr>
            <p:spPr bwMode="auto">
              <a:xfrm>
                <a:off x="9732355" y="4188032"/>
                <a:ext cx="62070" cy="90719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3"/>
                  </a:cxn>
                  <a:cxn ang="0">
                    <a:pos x="42" y="63"/>
                  </a:cxn>
                  <a:cxn ang="0">
                    <a:pos x="48" y="64"/>
                  </a:cxn>
                  <a:cxn ang="0">
                    <a:pos x="49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1" y="72"/>
                  </a:cxn>
                  <a:cxn ang="0">
                    <a:pos x="0" y="68"/>
                  </a:cxn>
                  <a:cxn ang="0">
                    <a:pos x="1" y="64"/>
                  </a:cxn>
                  <a:cxn ang="0">
                    <a:pos x="7" y="63"/>
                  </a:cxn>
                  <a:cxn ang="0">
                    <a:pos x="19" y="63"/>
                  </a:cxn>
                  <a:cxn ang="0">
                    <a:pos x="19" y="15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1" y="17"/>
                  </a:cxn>
                  <a:cxn ang="0">
                    <a:pos x="0" y="12"/>
                  </a:cxn>
                  <a:cxn ang="0">
                    <a:pos x="1" y="9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49" h="74">
                    <a:moveTo>
                      <a:pt x="30" y="0"/>
                    </a:moveTo>
                    <a:cubicBezTo>
                      <a:pt x="30" y="63"/>
                      <a:pt x="30" y="63"/>
                      <a:pt x="30" y="63"/>
                    </a:cubicBezTo>
                    <a:cubicBezTo>
                      <a:pt x="42" y="63"/>
                      <a:pt x="42" y="63"/>
                      <a:pt x="42" y="63"/>
                    </a:cubicBezTo>
                    <a:cubicBezTo>
                      <a:pt x="44" y="63"/>
                      <a:pt x="46" y="63"/>
                      <a:pt x="48" y="64"/>
                    </a:cubicBezTo>
                    <a:cubicBezTo>
                      <a:pt x="49" y="65"/>
                      <a:pt x="49" y="67"/>
                      <a:pt x="49" y="68"/>
                    </a:cubicBezTo>
                    <a:cubicBezTo>
                      <a:pt x="49" y="70"/>
                      <a:pt x="49" y="71"/>
                      <a:pt x="48" y="72"/>
                    </a:cubicBezTo>
                    <a:cubicBezTo>
                      <a:pt x="46" y="73"/>
                      <a:pt x="44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4" y="74"/>
                      <a:pt x="3" y="73"/>
                      <a:pt x="1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7"/>
                      <a:pt x="0" y="65"/>
                      <a:pt x="1" y="64"/>
                    </a:cubicBezTo>
                    <a:cubicBezTo>
                      <a:pt x="3" y="63"/>
                      <a:pt x="4" y="63"/>
                      <a:pt x="7" y="6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3" y="18"/>
                      <a:pt x="2" y="18"/>
                      <a:pt x="1" y="17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1"/>
                      <a:pt x="0" y="10"/>
                      <a:pt x="1" y="9"/>
                    </a:cubicBezTo>
                    <a:cubicBezTo>
                      <a:pt x="1" y="8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79" name="Freeform 145"/>
              <p:cNvSpPr>
                <a:spLocks noChangeAspect="1" noEditPoints="1"/>
              </p:cNvSpPr>
              <p:nvPr/>
            </p:nvSpPr>
            <p:spPr bwMode="auto">
              <a:xfrm>
                <a:off x="9202372" y="4312172"/>
                <a:ext cx="59684" cy="93107"/>
              </a:xfrm>
              <a:custGeom>
                <a:avLst/>
                <a:gdLst/>
                <a:ahLst/>
                <a:cxnLst>
                  <a:cxn ang="0">
                    <a:pos x="49" y="31"/>
                  </a:cxn>
                  <a:cxn ang="0">
                    <a:pos x="49" y="44"/>
                  </a:cxn>
                  <a:cxn ang="0">
                    <a:pos x="43" y="65"/>
                  </a:cxn>
                  <a:cxn ang="0">
                    <a:pos x="24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4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49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4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4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49" h="75">
                    <a:moveTo>
                      <a:pt x="49" y="31"/>
                    </a:moveTo>
                    <a:cubicBezTo>
                      <a:pt x="49" y="44"/>
                      <a:pt x="49" y="44"/>
                      <a:pt x="49" y="44"/>
                    </a:cubicBezTo>
                    <a:cubicBezTo>
                      <a:pt x="49" y="51"/>
                      <a:pt x="47" y="58"/>
                      <a:pt x="43" y="65"/>
                    </a:cubicBezTo>
                    <a:cubicBezTo>
                      <a:pt x="39" y="72"/>
                      <a:pt x="32" y="75"/>
                      <a:pt x="24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7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0" y="3"/>
                      <a:pt x="16" y="0"/>
                      <a:pt x="24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9"/>
                      <a:pt x="45" y="14"/>
                    </a:cubicBezTo>
                    <a:cubicBezTo>
                      <a:pt x="48" y="19"/>
                      <a:pt x="49" y="25"/>
                      <a:pt x="49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3"/>
                      <a:pt x="28" y="11"/>
                      <a:pt x="24" y="11"/>
                    </a:cubicBezTo>
                    <a:cubicBezTo>
                      <a:pt x="21" y="11"/>
                      <a:pt x="18" y="13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6"/>
                      <a:pt x="16" y="60"/>
                    </a:cubicBezTo>
                    <a:cubicBezTo>
                      <a:pt x="18" y="63"/>
                      <a:pt x="21" y="64"/>
                      <a:pt x="24" y="64"/>
                    </a:cubicBezTo>
                    <a:cubicBezTo>
                      <a:pt x="28" y="64"/>
                      <a:pt x="31" y="63"/>
                      <a:pt x="33" y="60"/>
                    </a:cubicBezTo>
                    <a:cubicBezTo>
                      <a:pt x="36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0" name="Freeform 146"/>
              <p:cNvSpPr>
                <a:spLocks noChangeAspect="1"/>
              </p:cNvSpPr>
              <p:nvPr/>
            </p:nvSpPr>
            <p:spPr bwMode="auto">
              <a:xfrm>
                <a:off x="9290703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7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50" h="74">
                    <a:moveTo>
                      <a:pt x="30" y="0"/>
                    </a:moveTo>
                    <a:cubicBezTo>
                      <a:pt x="30" y="62"/>
                      <a:pt x="30" y="62"/>
                      <a:pt x="30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6"/>
                      <a:pt x="0" y="65"/>
                      <a:pt x="2" y="64"/>
                    </a:cubicBezTo>
                    <a:cubicBezTo>
                      <a:pt x="3" y="63"/>
                      <a:pt x="5" y="62"/>
                      <a:pt x="7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2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1"/>
                      <a:pt x="0" y="9"/>
                      <a:pt x="1" y="8"/>
                    </a:cubicBezTo>
                    <a:cubicBezTo>
                      <a:pt x="2" y="8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1" name="Freeform 147"/>
              <p:cNvSpPr>
                <a:spLocks noChangeAspect="1" noEditPoints="1"/>
              </p:cNvSpPr>
              <p:nvPr/>
            </p:nvSpPr>
            <p:spPr bwMode="auto">
              <a:xfrm>
                <a:off x="9379033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3" y="65"/>
                  </a:cxn>
                  <a:cxn ang="0">
                    <a:pos x="25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5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50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5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7" y="58"/>
                      <a:pt x="43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7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9"/>
                      <a:pt x="45" y="14"/>
                    </a:cubicBezTo>
                    <a:cubicBezTo>
                      <a:pt x="48" y="19"/>
                      <a:pt x="50" y="25"/>
                      <a:pt x="50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3"/>
                      <a:pt x="28" y="11"/>
                      <a:pt x="25" y="11"/>
                    </a:cubicBezTo>
                    <a:cubicBezTo>
                      <a:pt x="21" y="11"/>
                      <a:pt x="18" y="13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6"/>
                      <a:pt x="16" y="60"/>
                    </a:cubicBezTo>
                    <a:cubicBezTo>
                      <a:pt x="18" y="63"/>
                      <a:pt x="21" y="64"/>
                      <a:pt x="25" y="64"/>
                    </a:cubicBezTo>
                    <a:cubicBezTo>
                      <a:pt x="28" y="64"/>
                      <a:pt x="31" y="63"/>
                      <a:pt x="33" y="60"/>
                    </a:cubicBezTo>
                    <a:cubicBezTo>
                      <a:pt x="36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2" name="Freeform 148"/>
              <p:cNvSpPr>
                <a:spLocks noChangeAspect="1"/>
              </p:cNvSpPr>
              <p:nvPr/>
            </p:nvSpPr>
            <p:spPr bwMode="auto">
              <a:xfrm>
                <a:off x="9467362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1"/>
                      <a:pt x="0" y="9"/>
                      <a:pt x="1" y="8"/>
                    </a:cubicBezTo>
                    <a:cubicBezTo>
                      <a:pt x="2" y="8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3" name="Freeform 149"/>
              <p:cNvSpPr>
                <a:spLocks noChangeAspect="1" noEditPoints="1"/>
              </p:cNvSpPr>
              <p:nvPr/>
            </p:nvSpPr>
            <p:spPr bwMode="auto">
              <a:xfrm>
                <a:off x="9555694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4" y="65"/>
                  </a:cxn>
                  <a:cxn ang="0">
                    <a:pos x="25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7" y="10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4"/>
                  </a:cxn>
                  <a:cxn ang="0">
                    <a:pos x="50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7" y="15"/>
                  </a:cxn>
                  <a:cxn ang="0">
                    <a:pos x="12" y="31"/>
                  </a:cxn>
                  <a:cxn ang="0">
                    <a:pos x="12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4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4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0" y="75"/>
                      <a:pt x="17" y="74"/>
                      <a:pt x="13" y="72"/>
                    </a:cubicBezTo>
                    <a:cubicBezTo>
                      <a:pt x="10" y="70"/>
                      <a:pt x="7" y="67"/>
                      <a:pt x="4" y="61"/>
                    </a:cubicBezTo>
                    <a:cubicBezTo>
                      <a:pt x="2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7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30" y="0"/>
                      <a:pt x="33" y="1"/>
                      <a:pt x="37" y="3"/>
                    </a:cubicBezTo>
                    <a:cubicBezTo>
                      <a:pt x="40" y="5"/>
                      <a:pt x="43" y="9"/>
                      <a:pt x="46" y="14"/>
                    </a:cubicBezTo>
                    <a:cubicBezTo>
                      <a:pt x="48" y="19"/>
                      <a:pt x="50" y="25"/>
                      <a:pt x="50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7" y="20"/>
                      <a:pt x="33" y="15"/>
                    </a:cubicBezTo>
                    <a:cubicBezTo>
                      <a:pt x="31" y="13"/>
                      <a:pt x="29" y="11"/>
                      <a:pt x="25" y="11"/>
                    </a:cubicBezTo>
                    <a:cubicBezTo>
                      <a:pt x="22" y="11"/>
                      <a:pt x="19" y="13"/>
                      <a:pt x="17" y="15"/>
                    </a:cubicBezTo>
                    <a:cubicBezTo>
                      <a:pt x="13" y="20"/>
                      <a:pt x="12" y="25"/>
                      <a:pt x="12" y="31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3" y="56"/>
                      <a:pt x="17" y="60"/>
                    </a:cubicBezTo>
                    <a:cubicBezTo>
                      <a:pt x="19" y="63"/>
                      <a:pt x="21" y="64"/>
                      <a:pt x="25" y="64"/>
                    </a:cubicBezTo>
                    <a:cubicBezTo>
                      <a:pt x="29" y="64"/>
                      <a:pt x="31" y="63"/>
                      <a:pt x="34" y="60"/>
                    </a:cubicBezTo>
                    <a:cubicBezTo>
                      <a:pt x="37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4" name="Freeform 150"/>
              <p:cNvSpPr>
                <a:spLocks noChangeAspect="1"/>
              </p:cNvSpPr>
              <p:nvPr/>
            </p:nvSpPr>
            <p:spPr bwMode="auto">
              <a:xfrm>
                <a:off x="9644023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3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3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20" y="62"/>
                  </a:cxn>
                  <a:cxn ang="0">
                    <a:pos x="20" y="15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50" y="65"/>
                      <a:pt x="50" y="66"/>
                      <a:pt x="50" y="68"/>
                    </a:cubicBezTo>
                    <a:cubicBezTo>
                      <a:pt x="50" y="70"/>
                      <a:pt x="50" y="71"/>
                      <a:pt x="48" y="72"/>
                    </a:cubicBezTo>
                    <a:cubicBezTo>
                      <a:pt x="47" y="73"/>
                      <a:pt x="45" y="74"/>
                      <a:pt x="43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4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1"/>
                      <a:pt x="1" y="9"/>
                      <a:pt x="2" y="8"/>
                    </a:cubicBezTo>
                    <a:cubicBezTo>
                      <a:pt x="2" y="8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5" name="Freeform 151"/>
              <p:cNvSpPr>
                <a:spLocks noChangeAspect="1" noEditPoints="1"/>
              </p:cNvSpPr>
              <p:nvPr/>
            </p:nvSpPr>
            <p:spPr bwMode="auto">
              <a:xfrm>
                <a:off x="9732355" y="4312172"/>
                <a:ext cx="62070" cy="93107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4" y="65"/>
                  </a:cxn>
                  <a:cxn ang="0">
                    <a:pos x="25" y="75"/>
                  </a:cxn>
                  <a:cxn ang="0">
                    <a:pos x="14" y="72"/>
                  </a:cxn>
                  <a:cxn ang="0">
                    <a:pos x="5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7" y="10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4"/>
                  </a:cxn>
                  <a:cxn ang="0">
                    <a:pos x="50" y="31"/>
                  </a:cxn>
                  <a:cxn ang="0">
                    <a:pos x="39" y="31"/>
                  </a:cxn>
                  <a:cxn ang="0">
                    <a:pos x="34" y="15"/>
                  </a:cxn>
                  <a:cxn ang="0">
                    <a:pos x="25" y="11"/>
                  </a:cxn>
                  <a:cxn ang="0">
                    <a:pos x="17" y="15"/>
                  </a:cxn>
                  <a:cxn ang="0">
                    <a:pos x="12" y="31"/>
                  </a:cxn>
                  <a:cxn ang="0">
                    <a:pos x="12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4" y="60"/>
                  </a:cxn>
                  <a:cxn ang="0">
                    <a:pos x="39" y="44"/>
                  </a:cxn>
                  <a:cxn ang="0">
                    <a:pos x="39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4" y="65"/>
                    </a:cubicBezTo>
                    <a:cubicBezTo>
                      <a:pt x="40" y="72"/>
                      <a:pt x="33" y="75"/>
                      <a:pt x="25" y="75"/>
                    </a:cubicBezTo>
                    <a:cubicBezTo>
                      <a:pt x="21" y="75"/>
                      <a:pt x="17" y="74"/>
                      <a:pt x="14" y="72"/>
                    </a:cubicBezTo>
                    <a:cubicBezTo>
                      <a:pt x="11" y="70"/>
                      <a:pt x="8" y="67"/>
                      <a:pt x="5" y="61"/>
                    </a:cubicBezTo>
                    <a:cubicBezTo>
                      <a:pt x="2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3" y="17"/>
                      <a:pt x="7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30" y="0"/>
                      <a:pt x="34" y="1"/>
                      <a:pt x="37" y="3"/>
                    </a:cubicBezTo>
                    <a:cubicBezTo>
                      <a:pt x="40" y="5"/>
                      <a:pt x="43" y="9"/>
                      <a:pt x="46" y="14"/>
                    </a:cubicBezTo>
                    <a:cubicBezTo>
                      <a:pt x="49" y="19"/>
                      <a:pt x="50" y="25"/>
                      <a:pt x="50" y="31"/>
                    </a:cubicBezTo>
                    <a:close/>
                    <a:moveTo>
                      <a:pt x="39" y="31"/>
                    </a:moveTo>
                    <a:cubicBezTo>
                      <a:pt x="39" y="25"/>
                      <a:pt x="37" y="20"/>
                      <a:pt x="34" y="15"/>
                    </a:cubicBezTo>
                    <a:cubicBezTo>
                      <a:pt x="32" y="13"/>
                      <a:pt x="29" y="11"/>
                      <a:pt x="25" y="11"/>
                    </a:cubicBezTo>
                    <a:cubicBezTo>
                      <a:pt x="22" y="11"/>
                      <a:pt x="19" y="13"/>
                      <a:pt x="17" y="15"/>
                    </a:cubicBezTo>
                    <a:cubicBezTo>
                      <a:pt x="14" y="20"/>
                      <a:pt x="12" y="25"/>
                      <a:pt x="12" y="31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4" y="56"/>
                      <a:pt x="17" y="60"/>
                    </a:cubicBezTo>
                    <a:cubicBezTo>
                      <a:pt x="19" y="63"/>
                      <a:pt x="22" y="64"/>
                      <a:pt x="25" y="64"/>
                    </a:cubicBezTo>
                    <a:cubicBezTo>
                      <a:pt x="29" y="64"/>
                      <a:pt x="32" y="63"/>
                      <a:pt x="34" y="60"/>
                    </a:cubicBezTo>
                    <a:cubicBezTo>
                      <a:pt x="37" y="55"/>
                      <a:pt x="39" y="50"/>
                      <a:pt x="39" y="44"/>
                    </a:cubicBezTo>
                    <a:lnTo>
                      <a:pt x="39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6" name="Freeform 152"/>
              <p:cNvSpPr>
                <a:spLocks noChangeAspect="1"/>
              </p:cNvSpPr>
              <p:nvPr/>
            </p:nvSpPr>
            <p:spPr bwMode="auto">
              <a:xfrm>
                <a:off x="9202372" y="4436311"/>
                <a:ext cx="59684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49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1" y="72"/>
                  </a:cxn>
                  <a:cxn ang="0">
                    <a:pos x="0" y="68"/>
                  </a:cxn>
                  <a:cxn ang="0">
                    <a:pos x="1" y="64"/>
                  </a:cxn>
                  <a:cxn ang="0">
                    <a:pos x="7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49" h="74">
                    <a:moveTo>
                      <a:pt x="30" y="0"/>
                    </a:moveTo>
                    <a:cubicBezTo>
                      <a:pt x="30" y="62"/>
                      <a:pt x="30" y="62"/>
                      <a:pt x="30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4" y="62"/>
                      <a:pt x="46" y="63"/>
                      <a:pt x="48" y="64"/>
                    </a:cubicBezTo>
                    <a:cubicBezTo>
                      <a:pt x="49" y="65"/>
                      <a:pt x="49" y="66"/>
                      <a:pt x="49" y="68"/>
                    </a:cubicBezTo>
                    <a:cubicBezTo>
                      <a:pt x="49" y="70"/>
                      <a:pt x="49" y="71"/>
                      <a:pt x="48" y="72"/>
                    </a:cubicBezTo>
                    <a:cubicBezTo>
                      <a:pt x="46" y="73"/>
                      <a:pt x="44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5" y="74"/>
                      <a:pt x="3" y="73"/>
                      <a:pt x="1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6"/>
                      <a:pt x="0" y="65"/>
                      <a:pt x="1" y="64"/>
                    </a:cubicBezTo>
                    <a:cubicBezTo>
                      <a:pt x="3" y="63"/>
                      <a:pt x="5" y="62"/>
                      <a:pt x="7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3" y="18"/>
                      <a:pt x="2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2" y="7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7" name="Freeform 153"/>
              <p:cNvSpPr>
                <a:spLocks noChangeAspect="1"/>
              </p:cNvSpPr>
              <p:nvPr/>
            </p:nvSpPr>
            <p:spPr bwMode="auto">
              <a:xfrm>
                <a:off x="9290703" y="4436311"/>
                <a:ext cx="62070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7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50" h="74">
                    <a:moveTo>
                      <a:pt x="30" y="0"/>
                    </a:moveTo>
                    <a:cubicBezTo>
                      <a:pt x="30" y="62"/>
                      <a:pt x="30" y="62"/>
                      <a:pt x="30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6"/>
                      <a:pt x="0" y="65"/>
                      <a:pt x="2" y="64"/>
                    </a:cubicBezTo>
                    <a:cubicBezTo>
                      <a:pt x="3" y="63"/>
                      <a:pt x="5" y="62"/>
                      <a:pt x="7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4" y="18"/>
                      <a:pt x="2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2" y="7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8" name="Freeform 154"/>
              <p:cNvSpPr>
                <a:spLocks noChangeAspect="1" noEditPoints="1"/>
              </p:cNvSpPr>
              <p:nvPr/>
            </p:nvSpPr>
            <p:spPr bwMode="auto">
              <a:xfrm>
                <a:off x="9379033" y="4436311"/>
                <a:ext cx="62070" cy="95493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3" y="65"/>
                  </a:cxn>
                  <a:cxn ang="0">
                    <a:pos x="25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5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50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6" y="60"/>
                  </a:cxn>
                  <a:cxn ang="0">
                    <a:pos x="25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7" y="58"/>
                      <a:pt x="43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6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39" y="5"/>
                      <a:pt x="42" y="8"/>
                      <a:pt x="45" y="14"/>
                    </a:cubicBezTo>
                    <a:cubicBezTo>
                      <a:pt x="48" y="19"/>
                      <a:pt x="50" y="25"/>
                      <a:pt x="50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6" y="20"/>
                      <a:pt x="33" y="15"/>
                    </a:cubicBezTo>
                    <a:cubicBezTo>
                      <a:pt x="31" y="12"/>
                      <a:pt x="28" y="11"/>
                      <a:pt x="25" y="11"/>
                    </a:cubicBezTo>
                    <a:cubicBezTo>
                      <a:pt x="21" y="11"/>
                      <a:pt x="18" y="12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5"/>
                      <a:pt x="16" y="60"/>
                    </a:cubicBezTo>
                    <a:cubicBezTo>
                      <a:pt x="18" y="63"/>
                      <a:pt x="21" y="64"/>
                      <a:pt x="25" y="64"/>
                    </a:cubicBezTo>
                    <a:cubicBezTo>
                      <a:pt x="28" y="64"/>
                      <a:pt x="31" y="62"/>
                      <a:pt x="33" y="60"/>
                    </a:cubicBezTo>
                    <a:cubicBezTo>
                      <a:pt x="36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89" name="Freeform 155"/>
              <p:cNvSpPr>
                <a:spLocks noChangeAspect="1" noEditPoints="1"/>
              </p:cNvSpPr>
              <p:nvPr/>
            </p:nvSpPr>
            <p:spPr bwMode="auto">
              <a:xfrm>
                <a:off x="9467362" y="4436311"/>
                <a:ext cx="62070" cy="95493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3" y="65"/>
                  </a:cxn>
                  <a:cxn ang="0">
                    <a:pos x="25" y="75"/>
                  </a:cxn>
                  <a:cxn ang="0">
                    <a:pos x="13" y="72"/>
                  </a:cxn>
                  <a:cxn ang="0">
                    <a:pos x="4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6" y="10"/>
                  </a:cxn>
                  <a:cxn ang="0">
                    <a:pos x="25" y="0"/>
                  </a:cxn>
                  <a:cxn ang="0">
                    <a:pos x="36" y="3"/>
                  </a:cxn>
                  <a:cxn ang="0">
                    <a:pos x="45" y="14"/>
                  </a:cxn>
                  <a:cxn ang="0">
                    <a:pos x="50" y="31"/>
                  </a:cxn>
                  <a:cxn ang="0">
                    <a:pos x="38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6" y="15"/>
                  </a:cxn>
                  <a:cxn ang="0">
                    <a:pos x="11" y="31"/>
                  </a:cxn>
                  <a:cxn ang="0">
                    <a:pos x="11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3" y="60"/>
                  </a:cxn>
                  <a:cxn ang="0">
                    <a:pos x="38" y="44"/>
                  </a:cxn>
                  <a:cxn ang="0">
                    <a:pos x="38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3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0" y="75"/>
                      <a:pt x="16" y="74"/>
                      <a:pt x="13" y="72"/>
                    </a:cubicBezTo>
                    <a:cubicBezTo>
                      <a:pt x="10" y="70"/>
                      <a:pt x="7" y="66"/>
                      <a:pt x="4" y="61"/>
                    </a:cubicBezTo>
                    <a:cubicBezTo>
                      <a:pt x="1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6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29" y="0"/>
                      <a:pt x="33" y="1"/>
                      <a:pt x="36" y="3"/>
                    </a:cubicBezTo>
                    <a:cubicBezTo>
                      <a:pt x="40" y="5"/>
                      <a:pt x="43" y="8"/>
                      <a:pt x="45" y="14"/>
                    </a:cubicBezTo>
                    <a:cubicBezTo>
                      <a:pt x="48" y="19"/>
                      <a:pt x="50" y="25"/>
                      <a:pt x="50" y="31"/>
                    </a:cubicBezTo>
                    <a:close/>
                    <a:moveTo>
                      <a:pt x="38" y="31"/>
                    </a:moveTo>
                    <a:cubicBezTo>
                      <a:pt x="38" y="25"/>
                      <a:pt x="37" y="20"/>
                      <a:pt x="33" y="15"/>
                    </a:cubicBezTo>
                    <a:cubicBezTo>
                      <a:pt x="31" y="12"/>
                      <a:pt x="28" y="11"/>
                      <a:pt x="25" y="11"/>
                    </a:cubicBezTo>
                    <a:cubicBezTo>
                      <a:pt x="21" y="11"/>
                      <a:pt x="19" y="12"/>
                      <a:pt x="16" y="15"/>
                    </a:cubicBezTo>
                    <a:cubicBezTo>
                      <a:pt x="13" y="20"/>
                      <a:pt x="11" y="25"/>
                      <a:pt x="11" y="31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50"/>
                      <a:pt x="13" y="55"/>
                      <a:pt x="17" y="60"/>
                    </a:cubicBezTo>
                    <a:cubicBezTo>
                      <a:pt x="19" y="63"/>
                      <a:pt x="21" y="64"/>
                      <a:pt x="25" y="64"/>
                    </a:cubicBezTo>
                    <a:cubicBezTo>
                      <a:pt x="28" y="64"/>
                      <a:pt x="31" y="62"/>
                      <a:pt x="33" y="60"/>
                    </a:cubicBezTo>
                    <a:cubicBezTo>
                      <a:pt x="37" y="55"/>
                      <a:pt x="38" y="50"/>
                      <a:pt x="38" y="44"/>
                    </a:cubicBezTo>
                    <a:lnTo>
                      <a:pt x="38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90" name="Freeform 156"/>
              <p:cNvSpPr>
                <a:spLocks noChangeAspect="1"/>
              </p:cNvSpPr>
              <p:nvPr/>
            </p:nvSpPr>
            <p:spPr bwMode="auto">
              <a:xfrm>
                <a:off x="9555694" y="4436311"/>
                <a:ext cx="62070" cy="93107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31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8" y="74"/>
                  </a:cxn>
                  <a:cxn ang="0">
                    <a:pos x="2" y="72"/>
                  </a:cxn>
                  <a:cxn ang="0">
                    <a:pos x="0" y="68"/>
                  </a:cxn>
                  <a:cxn ang="0">
                    <a:pos x="2" y="64"/>
                  </a:cxn>
                  <a:cxn ang="0">
                    <a:pos x="8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6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1" y="0"/>
                  </a:cxn>
                </a:cxnLst>
                <a:rect l="0" t="0" r="r" b="b"/>
                <a:pathLst>
                  <a:path w="50" h="74">
                    <a:moveTo>
                      <a:pt x="31" y="0"/>
                    </a:moveTo>
                    <a:cubicBezTo>
                      <a:pt x="31" y="62"/>
                      <a:pt x="31" y="62"/>
                      <a:pt x="31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5" y="62"/>
                      <a:pt x="47" y="63"/>
                      <a:pt x="48" y="64"/>
                    </a:cubicBezTo>
                    <a:cubicBezTo>
                      <a:pt x="49" y="65"/>
                      <a:pt x="50" y="66"/>
                      <a:pt x="50" y="68"/>
                    </a:cubicBezTo>
                    <a:cubicBezTo>
                      <a:pt x="50" y="70"/>
                      <a:pt x="49" y="71"/>
                      <a:pt x="48" y="72"/>
                    </a:cubicBezTo>
                    <a:cubicBezTo>
                      <a:pt x="47" y="73"/>
                      <a:pt x="45" y="74"/>
                      <a:pt x="42" y="74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5" y="74"/>
                      <a:pt x="3" y="73"/>
                      <a:pt x="2" y="72"/>
                    </a:cubicBezTo>
                    <a:cubicBezTo>
                      <a:pt x="1" y="71"/>
                      <a:pt x="0" y="70"/>
                      <a:pt x="0" y="68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3" y="63"/>
                      <a:pt x="5" y="62"/>
                      <a:pt x="8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8"/>
                      <a:pt x="6" y="18"/>
                      <a:pt x="6" y="18"/>
                    </a:cubicBezTo>
                    <a:cubicBezTo>
                      <a:pt x="4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7"/>
                      <a:pt x="4" y="7"/>
                      <a:pt x="6" y="6"/>
                    </a:cubicBezTo>
                    <a:lnTo>
                      <a:pt x="3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91" name="Freeform 157"/>
              <p:cNvSpPr>
                <a:spLocks noChangeAspect="1" noEditPoints="1"/>
              </p:cNvSpPr>
              <p:nvPr/>
            </p:nvSpPr>
            <p:spPr bwMode="auto">
              <a:xfrm>
                <a:off x="9644023" y="4436311"/>
                <a:ext cx="62070" cy="95493"/>
              </a:xfrm>
              <a:custGeom>
                <a:avLst/>
                <a:gdLst/>
                <a:ahLst/>
                <a:cxnLst>
                  <a:cxn ang="0">
                    <a:pos x="50" y="31"/>
                  </a:cxn>
                  <a:cxn ang="0">
                    <a:pos x="50" y="44"/>
                  </a:cxn>
                  <a:cxn ang="0">
                    <a:pos x="44" y="65"/>
                  </a:cxn>
                  <a:cxn ang="0">
                    <a:pos x="25" y="75"/>
                  </a:cxn>
                  <a:cxn ang="0">
                    <a:pos x="14" y="72"/>
                  </a:cxn>
                  <a:cxn ang="0">
                    <a:pos x="5" y="61"/>
                  </a:cxn>
                  <a:cxn ang="0">
                    <a:pos x="0" y="44"/>
                  </a:cxn>
                  <a:cxn ang="0">
                    <a:pos x="0" y="31"/>
                  </a:cxn>
                  <a:cxn ang="0">
                    <a:pos x="7" y="10"/>
                  </a:cxn>
                  <a:cxn ang="0">
                    <a:pos x="25" y="0"/>
                  </a:cxn>
                  <a:cxn ang="0">
                    <a:pos x="37" y="3"/>
                  </a:cxn>
                  <a:cxn ang="0">
                    <a:pos x="46" y="14"/>
                  </a:cxn>
                  <a:cxn ang="0">
                    <a:pos x="50" y="31"/>
                  </a:cxn>
                  <a:cxn ang="0">
                    <a:pos x="39" y="31"/>
                  </a:cxn>
                  <a:cxn ang="0">
                    <a:pos x="33" y="15"/>
                  </a:cxn>
                  <a:cxn ang="0">
                    <a:pos x="25" y="11"/>
                  </a:cxn>
                  <a:cxn ang="0">
                    <a:pos x="17" y="15"/>
                  </a:cxn>
                  <a:cxn ang="0">
                    <a:pos x="12" y="31"/>
                  </a:cxn>
                  <a:cxn ang="0">
                    <a:pos x="12" y="44"/>
                  </a:cxn>
                  <a:cxn ang="0">
                    <a:pos x="17" y="60"/>
                  </a:cxn>
                  <a:cxn ang="0">
                    <a:pos x="25" y="64"/>
                  </a:cxn>
                  <a:cxn ang="0">
                    <a:pos x="34" y="60"/>
                  </a:cxn>
                  <a:cxn ang="0">
                    <a:pos x="39" y="44"/>
                  </a:cxn>
                  <a:cxn ang="0">
                    <a:pos x="39" y="31"/>
                  </a:cxn>
                </a:cxnLst>
                <a:rect l="0" t="0" r="r" b="b"/>
                <a:pathLst>
                  <a:path w="50" h="75">
                    <a:moveTo>
                      <a:pt x="50" y="31"/>
                    </a:moveTo>
                    <a:cubicBezTo>
                      <a:pt x="50" y="44"/>
                      <a:pt x="50" y="44"/>
                      <a:pt x="50" y="44"/>
                    </a:cubicBezTo>
                    <a:cubicBezTo>
                      <a:pt x="50" y="51"/>
                      <a:pt x="48" y="58"/>
                      <a:pt x="44" y="65"/>
                    </a:cubicBezTo>
                    <a:cubicBezTo>
                      <a:pt x="39" y="72"/>
                      <a:pt x="33" y="75"/>
                      <a:pt x="25" y="75"/>
                    </a:cubicBezTo>
                    <a:cubicBezTo>
                      <a:pt x="21" y="75"/>
                      <a:pt x="17" y="74"/>
                      <a:pt x="14" y="72"/>
                    </a:cubicBezTo>
                    <a:cubicBezTo>
                      <a:pt x="10" y="70"/>
                      <a:pt x="7" y="66"/>
                      <a:pt x="5" y="61"/>
                    </a:cubicBezTo>
                    <a:cubicBezTo>
                      <a:pt x="2" y="56"/>
                      <a:pt x="0" y="50"/>
                      <a:pt x="0" y="4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24"/>
                      <a:pt x="2" y="17"/>
                      <a:pt x="7" y="10"/>
                    </a:cubicBezTo>
                    <a:cubicBezTo>
                      <a:pt x="11" y="3"/>
                      <a:pt x="17" y="0"/>
                      <a:pt x="25" y="0"/>
                    </a:cubicBezTo>
                    <a:cubicBezTo>
                      <a:pt x="30" y="0"/>
                      <a:pt x="34" y="1"/>
                      <a:pt x="37" y="3"/>
                    </a:cubicBezTo>
                    <a:cubicBezTo>
                      <a:pt x="40" y="5"/>
                      <a:pt x="43" y="8"/>
                      <a:pt x="46" y="14"/>
                    </a:cubicBezTo>
                    <a:cubicBezTo>
                      <a:pt x="49" y="19"/>
                      <a:pt x="50" y="25"/>
                      <a:pt x="50" y="31"/>
                    </a:cubicBezTo>
                    <a:close/>
                    <a:moveTo>
                      <a:pt x="39" y="31"/>
                    </a:moveTo>
                    <a:cubicBezTo>
                      <a:pt x="39" y="25"/>
                      <a:pt x="37" y="20"/>
                      <a:pt x="33" y="15"/>
                    </a:cubicBezTo>
                    <a:cubicBezTo>
                      <a:pt x="31" y="12"/>
                      <a:pt x="29" y="11"/>
                      <a:pt x="25" y="11"/>
                    </a:cubicBezTo>
                    <a:cubicBezTo>
                      <a:pt x="22" y="11"/>
                      <a:pt x="19" y="12"/>
                      <a:pt x="17" y="15"/>
                    </a:cubicBezTo>
                    <a:cubicBezTo>
                      <a:pt x="13" y="20"/>
                      <a:pt x="12" y="25"/>
                      <a:pt x="12" y="31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50"/>
                      <a:pt x="13" y="55"/>
                      <a:pt x="17" y="60"/>
                    </a:cubicBezTo>
                    <a:cubicBezTo>
                      <a:pt x="19" y="63"/>
                      <a:pt x="22" y="64"/>
                      <a:pt x="25" y="64"/>
                    </a:cubicBezTo>
                    <a:cubicBezTo>
                      <a:pt x="29" y="64"/>
                      <a:pt x="31" y="62"/>
                      <a:pt x="34" y="60"/>
                    </a:cubicBezTo>
                    <a:cubicBezTo>
                      <a:pt x="37" y="55"/>
                      <a:pt x="39" y="50"/>
                      <a:pt x="39" y="44"/>
                    </a:cubicBezTo>
                    <a:lnTo>
                      <a:pt x="39" y="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  <p:sp>
            <p:nvSpPr>
              <p:cNvPr id="192" name="Freeform 158"/>
              <p:cNvSpPr>
                <a:spLocks noChangeAspect="1"/>
              </p:cNvSpPr>
              <p:nvPr/>
            </p:nvSpPr>
            <p:spPr bwMode="auto">
              <a:xfrm>
                <a:off x="9732355" y="4436311"/>
                <a:ext cx="62070" cy="93107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62"/>
                  </a:cxn>
                  <a:cxn ang="0">
                    <a:pos x="42" y="62"/>
                  </a:cxn>
                  <a:cxn ang="0">
                    <a:pos x="48" y="64"/>
                  </a:cxn>
                  <a:cxn ang="0">
                    <a:pos x="49" y="68"/>
                  </a:cxn>
                  <a:cxn ang="0">
                    <a:pos x="48" y="72"/>
                  </a:cxn>
                  <a:cxn ang="0">
                    <a:pos x="42" y="74"/>
                  </a:cxn>
                  <a:cxn ang="0">
                    <a:pos x="7" y="74"/>
                  </a:cxn>
                  <a:cxn ang="0">
                    <a:pos x="1" y="72"/>
                  </a:cxn>
                  <a:cxn ang="0">
                    <a:pos x="0" y="68"/>
                  </a:cxn>
                  <a:cxn ang="0">
                    <a:pos x="1" y="64"/>
                  </a:cxn>
                  <a:cxn ang="0">
                    <a:pos x="7" y="62"/>
                  </a:cxn>
                  <a:cxn ang="0">
                    <a:pos x="19" y="62"/>
                  </a:cxn>
                  <a:cxn ang="0">
                    <a:pos x="19" y="15"/>
                  </a:cxn>
                  <a:cxn ang="0">
                    <a:pos x="9" y="17"/>
                  </a:cxn>
                  <a:cxn ang="0">
                    <a:pos x="5" y="18"/>
                  </a:cxn>
                  <a:cxn ang="0">
                    <a:pos x="1" y="16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6" y="6"/>
                  </a:cxn>
                  <a:cxn ang="0">
                    <a:pos x="30" y="0"/>
                  </a:cxn>
                </a:cxnLst>
                <a:rect l="0" t="0" r="r" b="b"/>
                <a:pathLst>
                  <a:path w="49" h="74">
                    <a:moveTo>
                      <a:pt x="30" y="0"/>
                    </a:moveTo>
                    <a:cubicBezTo>
                      <a:pt x="30" y="62"/>
                      <a:pt x="30" y="62"/>
                      <a:pt x="30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4" y="62"/>
                      <a:pt x="46" y="63"/>
                      <a:pt x="48" y="64"/>
                    </a:cubicBezTo>
                    <a:cubicBezTo>
                      <a:pt x="49" y="65"/>
                      <a:pt x="49" y="66"/>
                      <a:pt x="49" y="68"/>
                    </a:cubicBezTo>
                    <a:cubicBezTo>
                      <a:pt x="49" y="70"/>
                      <a:pt x="49" y="71"/>
                      <a:pt x="48" y="72"/>
                    </a:cubicBezTo>
                    <a:cubicBezTo>
                      <a:pt x="46" y="73"/>
                      <a:pt x="44" y="74"/>
                      <a:pt x="42" y="74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4" y="74"/>
                      <a:pt x="3" y="73"/>
                      <a:pt x="1" y="72"/>
                    </a:cubicBezTo>
                    <a:cubicBezTo>
                      <a:pt x="0" y="71"/>
                      <a:pt x="0" y="70"/>
                      <a:pt x="0" y="68"/>
                    </a:cubicBezTo>
                    <a:cubicBezTo>
                      <a:pt x="0" y="66"/>
                      <a:pt x="0" y="65"/>
                      <a:pt x="1" y="64"/>
                    </a:cubicBezTo>
                    <a:cubicBezTo>
                      <a:pt x="3" y="63"/>
                      <a:pt x="4" y="62"/>
                      <a:pt x="7" y="62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7" y="18"/>
                      <a:pt x="6" y="18"/>
                      <a:pt x="5" y="18"/>
                    </a:cubicBezTo>
                    <a:cubicBezTo>
                      <a:pt x="3" y="18"/>
                      <a:pt x="2" y="17"/>
                      <a:pt x="1" y="16"/>
                    </a:cubicBezTo>
                    <a:cubicBezTo>
                      <a:pt x="0" y="15"/>
                      <a:pt x="0" y="14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1" y="7"/>
                      <a:pt x="3" y="7"/>
                      <a:pt x="6" y="6"/>
                    </a:cubicBezTo>
                    <a:lnTo>
                      <a:pt x="3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FontTx/>
                  <a:buNone/>
                </a:pPr>
                <a:endParaRPr lang="en-US" sz="1800" dirty="0">
                  <a:solidFill>
                    <a:srgbClr val="879BAA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54" name="Group 498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 rot="2700000">
              <a:off x="8501181" y="3434326"/>
              <a:ext cx="418456" cy="717508"/>
              <a:chOff x="2000" y="2310"/>
              <a:chExt cx="424" cy="756"/>
            </a:xfrm>
            <a:solidFill>
              <a:srgbClr val="41AAAA"/>
            </a:solidFill>
          </p:grpSpPr>
          <p:sp>
            <p:nvSpPr>
              <p:cNvPr id="155" name="AutoShape 499"/>
              <p:cNvSpPr>
                <a:spLocks noChangeAspect="1" noChangeArrowheads="1"/>
              </p:cNvSpPr>
              <p:nvPr/>
            </p:nvSpPr>
            <p:spPr bwMode="gray">
              <a:xfrm>
                <a:off x="2000" y="2310"/>
                <a:ext cx="424" cy="422"/>
              </a:xfrm>
              <a:custGeom>
                <a:avLst/>
                <a:gdLst>
                  <a:gd name="G0" fmla="+- 2496 0 0"/>
                  <a:gd name="G1" fmla="+- 21600 0 2496"/>
                  <a:gd name="G2" fmla="+- 21600 0 2496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496" y="10800"/>
                    </a:moveTo>
                    <a:cubicBezTo>
                      <a:pt x="2496" y="15386"/>
                      <a:pt x="6214" y="19104"/>
                      <a:pt x="10800" y="19104"/>
                    </a:cubicBezTo>
                    <a:cubicBezTo>
                      <a:pt x="15386" y="19104"/>
                      <a:pt x="19104" y="15386"/>
                      <a:pt x="19104" y="10800"/>
                    </a:cubicBezTo>
                    <a:cubicBezTo>
                      <a:pt x="19104" y="6214"/>
                      <a:pt x="15386" y="2496"/>
                      <a:pt x="10800" y="2496"/>
                    </a:cubicBezTo>
                    <a:cubicBezTo>
                      <a:pt x="6214" y="2496"/>
                      <a:pt x="2496" y="6214"/>
                      <a:pt x="2496" y="10800"/>
                    </a:cubicBezTo>
                    <a:close/>
                  </a:path>
                </a:pathLst>
              </a:custGeom>
              <a:grpFill/>
              <a:ln w="9525" algn="ctr">
                <a:solidFill>
                  <a:srgbClr val="CDD9E1"/>
                </a:solidFill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n-US" dirty="0">
                  <a:solidFill>
                    <a:srgbClr val="233746"/>
                  </a:solidFill>
                </a:endParaRPr>
              </a:p>
            </p:txBody>
          </p:sp>
          <p:sp>
            <p:nvSpPr>
              <p:cNvPr id="156" name="Rectangle 500"/>
              <p:cNvSpPr>
                <a:spLocks noChangeAspect="1" noChangeArrowheads="1"/>
              </p:cNvSpPr>
              <p:nvPr/>
            </p:nvSpPr>
            <p:spPr bwMode="gray">
              <a:xfrm>
                <a:off x="2179" y="2846"/>
                <a:ext cx="66" cy="220"/>
              </a:xfrm>
              <a:prstGeom prst="rect">
                <a:avLst/>
              </a:prstGeom>
              <a:grpFill/>
              <a:ln w="9525" algn="ctr">
                <a:solidFill>
                  <a:srgbClr val="CDD9E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n-US" dirty="0">
                  <a:solidFill>
                    <a:srgbClr val="233746"/>
                  </a:solidFill>
                </a:endParaRPr>
              </a:p>
            </p:txBody>
          </p:sp>
          <p:sp>
            <p:nvSpPr>
              <p:cNvPr id="157" name="Rectangle 501"/>
              <p:cNvSpPr>
                <a:spLocks noChangeAspect="1" noChangeArrowheads="1"/>
              </p:cNvSpPr>
              <p:nvPr/>
            </p:nvSpPr>
            <p:spPr bwMode="gray">
              <a:xfrm>
                <a:off x="2165" y="2742"/>
                <a:ext cx="93" cy="93"/>
              </a:xfrm>
              <a:prstGeom prst="rect">
                <a:avLst/>
              </a:prstGeom>
              <a:grpFill/>
              <a:ln w="9525" algn="ctr">
                <a:solidFill>
                  <a:srgbClr val="CDD9E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n-US" dirty="0">
                  <a:solidFill>
                    <a:srgbClr val="233746"/>
                  </a:solidFill>
                </a:endParaRPr>
              </a:p>
            </p:txBody>
          </p:sp>
        </p:grpSp>
      </p:grpSp>
      <p:grpSp>
        <p:nvGrpSpPr>
          <p:cNvPr id="198" name="Group 322"/>
          <p:cNvGrpSpPr>
            <a:grpSpLocks noChangeAspect="1"/>
          </p:cNvGrpSpPr>
          <p:nvPr/>
        </p:nvGrpSpPr>
        <p:grpSpPr>
          <a:xfrm>
            <a:off x="8606256" y="4516174"/>
            <a:ext cx="626069" cy="244430"/>
            <a:chOff x="12058542" y="2227381"/>
            <a:chExt cx="583229" cy="227705"/>
          </a:xfrm>
          <a:solidFill>
            <a:srgbClr val="41AAAA"/>
          </a:solidFill>
        </p:grpSpPr>
        <p:sp>
          <p:nvSpPr>
            <p:cNvPr id="199" name="Freeform 4"/>
            <p:cNvSpPr>
              <a:spLocks/>
            </p:cNvSpPr>
            <p:nvPr/>
          </p:nvSpPr>
          <p:spPr bwMode="auto">
            <a:xfrm>
              <a:off x="12413782" y="2227381"/>
              <a:ext cx="227989" cy="227705"/>
            </a:xfrm>
            <a:custGeom>
              <a:avLst/>
              <a:gdLst/>
              <a:ahLst/>
              <a:cxnLst>
                <a:cxn ang="0">
                  <a:pos x="56" y="84"/>
                </a:cxn>
                <a:cxn ang="0">
                  <a:pos x="0" y="84"/>
                </a:cxn>
                <a:cxn ang="0">
                  <a:pos x="30" y="42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86" y="42"/>
                </a:cxn>
                <a:cxn ang="0">
                  <a:pos x="56" y="84"/>
                </a:cxn>
              </a:cxnLst>
              <a:rect l="0" t="0" r="r" b="b"/>
              <a:pathLst>
                <a:path w="86" h="84">
                  <a:moveTo>
                    <a:pt x="56" y="84"/>
                  </a:moveTo>
                  <a:lnTo>
                    <a:pt x="0" y="84"/>
                  </a:lnTo>
                  <a:lnTo>
                    <a:pt x="30" y="42"/>
                  </a:lnTo>
                  <a:lnTo>
                    <a:pt x="0" y="0"/>
                  </a:lnTo>
                  <a:lnTo>
                    <a:pt x="56" y="0"/>
                  </a:lnTo>
                  <a:lnTo>
                    <a:pt x="86" y="42"/>
                  </a:lnTo>
                  <a:lnTo>
                    <a:pt x="5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8"/>
            <p:cNvSpPr>
              <a:spLocks/>
            </p:cNvSpPr>
            <p:nvPr/>
          </p:nvSpPr>
          <p:spPr bwMode="auto">
            <a:xfrm>
              <a:off x="12236161" y="2227381"/>
              <a:ext cx="227989" cy="227705"/>
            </a:xfrm>
            <a:custGeom>
              <a:avLst/>
              <a:gdLst/>
              <a:ahLst/>
              <a:cxnLst>
                <a:cxn ang="0">
                  <a:pos x="56" y="84"/>
                </a:cxn>
                <a:cxn ang="0">
                  <a:pos x="0" y="84"/>
                </a:cxn>
                <a:cxn ang="0">
                  <a:pos x="30" y="42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86" y="42"/>
                </a:cxn>
                <a:cxn ang="0">
                  <a:pos x="56" y="84"/>
                </a:cxn>
              </a:cxnLst>
              <a:rect l="0" t="0" r="r" b="b"/>
              <a:pathLst>
                <a:path w="86" h="84">
                  <a:moveTo>
                    <a:pt x="56" y="84"/>
                  </a:moveTo>
                  <a:lnTo>
                    <a:pt x="0" y="84"/>
                  </a:lnTo>
                  <a:lnTo>
                    <a:pt x="30" y="42"/>
                  </a:lnTo>
                  <a:lnTo>
                    <a:pt x="0" y="0"/>
                  </a:lnTo>
                  <a:lnTo>
                    <a:pt x="56" y="0"/>
                  </a:lnTo>
                  <a:lnTo>
                    <a:pt x="86" y="42"/>
                  </a:lnTo>
                  <a:lnTo>
                    <a:pt x="5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12"/>
            <p:cNvSpPr>
              <a:spLocks/>
            </p:cNvSpPr>
            <p:nvPr/>
          </p:nvSpPr>
          <p:spPr bwMode="auto">
            <a:xfrm>
              <a:off x="12058542" y="2227381"/>
              <a:ext cx="227989" cy="227705"/>
            </a:xfrm>
            <a:custGeom>
              <a:avLst/>
              <a:gdLst/>
              <a:ahLst/>
              <a:cxnLst>
                <a:cxn ang="0">
                  <a:pos x="56" y="84"/>
                </a:cxn>
                <a:cxn ang="0">
                  <a:pos x="0" y="84"/>
                </a:cxn>
                <a:cxn ang="0">
                  <a:pos x="30" y="42"/>
                </a:cxn>
                <a:cxn ang="0">
                  <a:pos x="0" y="0"/>
                </a:cxn>
                <a:cxn ang="0">
                  <a:pos x="56" y="0"/>
                </a:cxn>
                <a:cxn ang="0">
                  <a:pos x="86" y="42"/>
                </a:cxn>
                <a:cxn ang="0">
                  <a:pos x="56" y="84"/>
                </a:cxn>
              </a:cxnLst>
              <a:rect l="0" t="0" r="r" b="b"/>
              <a:pathLst>
                <a:path w="86" h="84">
                  <a:moveTo>
                    <a:pt x="56" y="84"/>
                  </a:moveTo>
                  <a:lnTo>
                    <a:pt x="0" y="84"/>
                  </a:lnTo>
                  <a:lnTo>
                    <a:pt x="30" y="42"/>
                  </a:lnTo>
                  <a:lnTo>
                    <a:pt x="0" y="0"/>
                  </a:lnTo>
                  <a:lnTo>
                    <a:pt x="56" y="0"/>
                  </a:lnTo>
                  <a:lnTo>
                    <a:pt x="86" y="42"/>
                  </a:lnTo>
                  <a:lnTo>
                    <a:pt x="5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2" name="SAGD, Siemens, Traffic Light, Ampel, Verkehr"/>
          <p:cNvSpPr>
            <a:spLocks noChangeAspect="1" noEditPoints="1"/>
          </p:cNvSpPr>
          <p:nvPr/>
        </p:nvSpPr>
        <p:spPr bwMode="gray">
          <a:xfrm>
            <a:off x="8726476" y="3080630"/>
            <a:ext cx="338751" cy="360000"/>
          </a:xfrm>
          <a:custGeom>
            <a:avLst/>
            <a:gdLst>
              <a:gd name="T0" fmla="*/ 0 w 703"/>
              <a:gd name="T1" fmla="*/ 556 h 749"/>
              <a:gd name="T2" fmla="*/ 159 w 703"/>
              <a:gd name="T3" fmla="*/ 556 h 749"/>
              <a:gd name="T4" fmla="*/ 159 w 703"/>
              <a:gd name="T5" fmla="*/ 692 h 749"/>
              <a:gd name="T6" fmla="*/ 45 w 703"/>
              <a:gd name="T7" fmla="*/ 692 h 749"/>
              <a:gd name="T8" fmla="*/ 0 w 703"/>
              <a:gd name="T9" fmla="*/ 556 h 749"/>
              <a:gd name="T10" fmla="*/ 45 w 703"/>
              <a:gd name="T11" fmla="*/ 442 h 749"/>
              <a:gd name="T12" fmla="*/ 159 w 703"/>
              <a:gd name="T13" fmla="*/ 442 h 749"/>
              <a:gd name="T14" fmla="*/ 159 w 703"/>
              <a:gd name="T15" fmla="*/ 306 h 749"/>
              <a:gd name="T16" fmla="*/ 0 w 703"/>
              <a:gd name="T17" fmla="*/ 306 h 749"/>
              <a:gd name="T18" fmla="*/ 45 w 703"/>
              <a:gd name="T19" fmla="*/ 442 h 749"/>
              <a:gd name="T20" fmla="*/ 45 w 703"/>
              <a:gd name="T21" fmla="*/ 182 h 749"/>
              <a:gd name="T22" fmla="*/ 159 w 703"/>
              <a:gd name="T23" fmla="*/ 182 h 749"/>
              <a:gd name="T24" fmla="*/ 159 w 703"/>
              <a:gd name="T25" fmla="*/ 46 h 749"/>
              <a:gd name="T26" fmla="*/ 0 w 703"/>
              <a:gd name="T27" fmla="*/ 46 h 749"/>
              <a:gd name="T28" fmla="*/ 45 w 703"/>
              <a:gd name="T29" fmla="*/ 182 h 749"/>
              <a:gd name="T30" fmla="*/ 544 w 703"/>
              <a:gd name="T31" fmla="*/ 692 h 749"/>
              <a:gd name="T32" fmla="*/ 658 w 703"/>
              <a:gd name="T33" fmla="*/ 692 h 749"/>
              <a:gd name="T34" fmla="*/ 703 w 703"/>
              <a:gd name="T35" fmla="*/ 556 h 749"/>
              <a:gd name="T36" fmla="*/ 544 w 703"/>
              <a:gd name="T37" fmla="*/ 556 h 749"/>
              <a:gd name="T38" fmla="*/ 544 w 703"/>
              <a:gd name="T39" fmla="*/ 692 h 749"/>
              <a:gd name="T40" fmla="*/ 544 w 703"/>
              <a:gd name="T41" fmla="*/ 442 h 749"/>
              <a:gd name="T42" fmla="*/ 658 w 703"/>
              <a:gd name="T43" fmla="*/ 442 h 749"/>
              <a:gd name="T44" fmla="*/ 703 w 703"/>
              <a:gd name="T45" fmla="*/ 306 h 749"/>
              <a:gd name="T46" fmla="*/ 544 w 703"/>
              <a:gd name="T47" fmla="*/ 306 h 749"/>
              <a:gd name="T48" fmla="*/ 544 w 703"/>
              <a:gd name="T49" fmla="*/ 442 h 749"/>
              <a:gd name="T50" fmla="*/ 703 w 703"/>
              <a:gd name="T51" fmla="*/ 57 h 749"/>
              <a:gd name="T52" fmla="*/ 544 w 703"/>
              <a:gd name="T53" fmla="*/ 57 h 749"/>
              <a:gd name="T54" fmla="*/ 544 w 703"/>
              <a:gd name="T55" fmla="*/ 193 h 749"/>
              <a:gd name="T56" fmla="*/ 658 w 703"/>
              <a:gd name="T57" fmla="*/ 193 h 749"/>
              <a:gd name="T58" fmla="*/ 703 w 703"/>
              <a:gd name="T59" fmla="*/ 57 h 749"/>
              <a:gd name="T60" fmla="*/ 204 w 703"/>
              <a:gd name="T61" fmla="*/ 0 h 749"/>
              <a:gd name="T62" fmla="*/ 499 w 703"/>
              <a:gd name="T63" fmla="*/ 0 h 749"/>
              <a:gd name="T64" fmla="*/ 499 w 703"/>
              <a:gd name="T65" fmla="*/ 749 h 749"/>
              <a:gd name="T66" fmla="*/ 204 w 703"/>
              <a:gd name="T67" fmla="*/ 749 h 749"/>
              <a:gd name="T68" fmla="*/ 204 w 703"/>
              <a:gd name="T69" fmla="*/ 0 h 749"/>
              <a:gd name="T70" fmla="*/ 283 w 703"/>
              <a:gd name="T71" fmla="*/ 126 h 749"/>
              <a:gd name="T72" fmla="*/ 352 w 703"/>
              <a:gd name="T73" fmla="*/ 193 h 749"/>
              <a:gd name="T74" fmla="*/ 420 w 703"/>
              <a:gd name="T75" fmla="*/ 124 h 749"/>
              <a:gd name="T76" fmla="*/ 351 w 703"/>
              <a:gd name="T77" fmla="*/ 57 h 749"/>
              <a:gd name="T78" fmla="*/ 283 w 703"/>
              <a:gd name="T79" fmla="*/ 126 h 749"/>
              <a:gd name="T80" fmla="*/ 283 w 703"/>
              <a:gd name="T81" fmla="*/ 375 h 749"/>
              <a:gd name="T82" fmla="*/ 352 w 703"/>
              <a:gd name="T83" fmla="*/ 442 h 749"/>
              <a:gd name="T84" fmla="*/ 420 w 703"/>
              <a:gd name="T85" fmla="*/ 374 h 749"/>
              <a:gd name="T86" fmla="*/ 351 w 703"/>
              <a:gd name="T87" fmla="*/ 306 h 749"/>
              <a:gd name="T88" fmla="*/ 283 w 703"/>
              <a:gd name="T89" fmla="*/ 375 h 749"/>
              <a:gd name="T90" fmla="*/ 283 w 703"/>
              <a:gd name="T91" fmla="*/ 625 h 749"/>
              <a:gd name="T92" fmla="*/ 352 w 703"/>
              <a:gd name="T93" fmla="*/ 692 h 749"/>
              <a:gd name="T94" fmla="*/ 420 w 703"/>
              <a:gd name="T95" fmla="*/ 623 h 749"/>
              <a:gd name="T96" fmla="*/ 351 w 703"/>
              <a:gd name="T97" fmla="*/ 556 h 749"/>
              <a:gd name="T98" fmla="*/ 283 w 703"/>
              <a:gd name="T99" fmla="*/ 625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03" h="749">
                <a:moveTo>
                  <a:pt x="0" y="556"/>
                </a:moveTo>
                <a:cubicBezTo>
                  <a:pt x="159" y="556"/>
                  <a:pt x="159" y="556"/>
                  <a:pt x="159" y="556"/>
                </a:cubicBezTo>
                <a:cubicBezTo>
                  <a:pt x="159" y="692"/>
                  <a:pt x="159" y="692"/>
                  <a:pt x="159" y="692"/>
                </a:cubicBezTo>
                <a:cubicBezTo>
                  <a:pt x="45" y="692"/>
                  <a:pt x="45" y="692"/>
                  <a:pt x="45" y="692"/>
                </a:cubicBezTo>
                <a:lnTo>
                  <a:pt x="0" y="556"/>
                </a:lnTo>
                <a:close/>
                <a:moveTo>
                  <a:pt x="45" y="442"/>
                </a:moveTo>
                <a:cubicBezTo>
                  <a:pt x="159" y="442"/>
                  <a:pt x="159" y="442"/>
                  <a:pt x="159" y="442"/>
                </a:cubicBezTo>
                <a:cubicBezTo>
                  <a:pt x="159" y="306"/>
                  <a:pt x="159" y="306"/>
                  <a:pt x="159" y="306"/>
                </a:cubicBezTo>
                <a:cubicBezTo>
                  <a:pt x="0" y="306"/>
                  <a:pt x="0" y="306"/>
                  <a:pt x="0" y="306"/>
                </a:cubicBezTo>
                <a:lnTo>
                  <a:pt x="45" y="442"/>
                </a:lnTo>
                <a:close/>
                <a:moveTo>
                  <a:pt x="45" y="182"/>
                </a:moveTo>
                <a:cubicBezTo>
                  <a:pt x="159" y="182"/>
                  <a:pt x="159" y="182"/>
                  <a:pt x="159" y="182"/>
                </a:cubicBezTo>
                <a:cubicBezTo>
                  <a:pt x="159" y="46"/>
                  <a:pt x="159" y="46"/>
                  <a:pt x="159" y="46"/>
                </a:cubicBezTo>
                <a:cubicBezTo>
                  <a:pt x="0" y="46"/>
                  <a:pt x="0" y="46"/>
                  <a:pt x="0" y="46"/>
                </a:cubicBezTo>
                <a:lnTo>
                  <a:pt x="45" y="182"/>
                </a:lnTo>
                <a:close/>
                <a:moveTo>
                  <a:pt x="544" y="692"/>
                </a:moveTo>
                <a:cubicBezTo>
                  <a:pt x="658" y="692"/>
                  <a:pt x="658" y="692"/>
                  <a:pt x="658" y="692"/>
                </a:cubicBezTo>
                <a:cubicBezTo>
                  <a:pt x="703" y="556"/>
                  <a:pt x="703" y="556"/>
                  <a:pt x="703" y="556"/>
                </a:cubicBezTo>
                <a:cubicBezTo>
                  <a:pt x="544" y="556"/>
                  <a:pt x="544" y="556"/>
                  <a:pt x="544" y="556"/>
                </a:cubicBezTo>
                <a:lnTo>
                  <a:pt x="544" y="692"/>
                </a:lnTo>
                <a:close/>
                <a:moveTo>
                  <a:pt x="544" y="442"/>
                </a:moveTo>
                <a:cubicBezTo>
                  <a:pt x="658" y="442"/>
                  <a:pt x="658" y="442"/>
                  <a:pt x="658" y="442"/>
                </a:cubicBezTo>
                <a:cubicBezTo>
                  <a:pt x="703" y="306"/>
                  <a:pt x="703" y="306"/>
                  <a:pt x="703" y="306"/>
                </a:cubicBezTo>
                <a:cubicBezTo>
                  <a:pt x="544" y="306"/>
                  <a:pt x="544" y="306"/>
                  <a:pt x="544" y="306"/>
                </a:cubicBezTo>
                <a:lnTo>
                  <a:pt x="544" y="442"/>
                </a:lnTo>
                <a:close/>
                <a:moveTo>
                  <a:pt x="703" y="57"/>
                </a:moveTo>
                <a:cubicBezTo>
                  <a:pt x="544" y="57"/>
                  <a:pt x="544" y="57"/>
                  <a:pt x="544" y="57"/>
                </a:cubicBezTo>
                <a:cubicBezTo>
                  <a:pt x="544" y="193"/>
                  <a:pt x="544" y="193"/>
                  <a:pt x="544" y="193"/>
                </a:cubicBezTo>
                <a:cubicBezTo>
                  <a:pt x="658" y="193"/>
                  <a:pt x="658" y="193"/>
                  <a:pt x="658" y="193"/>
                </a:cubicBezTo>
                <a:lnTo>
                  <a:pt x="703" y="57"/>
                </a:lnTo>
                <a:close/>
                <a:moveTo>
                  <a:pt x="204" y="0"/>
                </a:moveTo>
                <a:cubicBezTo>
                  <a:pt x="499" y="0"/>
                  <a:pt x="499" y="0"/>
                  <a:pt x="499" y="0"/>
                </a:cubicBezTo>
                <a:cubicBezTo>
                  <a:pt x="499" y="749"/>
                  <a:pt x="499" y="749"/>
                  <a:pt x="499" y="749"/>
                </a:cubicBezTo>
                <a:cubicBezTo>
                  <a:pt x="204" y="749"/>
                  <a:pt x="204" y="749"/>
                  <a:pt x="204" y="749"/>
                </a:cubicBezTo>
                <a:lnTo>
                  <a:pt x="204" y="0"/>
                </a:lnTo>
                <a:close/>
                <a:moveTo>
                  <a:pt x="283" y="126"/>
                </a:moveTo>
                <a:cubicBezTo>
                  <a:pt x="284" y="163"/>
                  <a:pt x="315" y="193"/>
                  <a:pt x="352" y="193"/>
                </a:cubicBezTo>
                <a:cubicBezTo>
                  <a:pt x="390" y="193"/>
                  <a:pt x="420" y="162"/>
                  <a:pt x="420" y="124"/>
                </a:cubicBezTo>
                <a:cubicBezTo>
                  <a:pt x="419" y="87"/>
                  <a:pt x="388" y="56"/>
                  <a:pt x="351" y="57"/>
                </a:cubicBezTo>
                <a:cubicBezTo>
                  <a:pt x="313" y="57"/>
                  <a:pt x="283" y="88"/>
                  <a:pt x="283" y="126"/>
                </a:cubicBezTo>
                <a:close/>
                <a:moveTo>
                  <a:pt x="283" y="375"/>
                </a:moveTo>
                <a:cubicBezTo>
                  <a:pt x="284" y="413"/>
                  <a:pt x="315" y="443"/>
                  <a:pt x="352" y="442"/>
                </a:cubicBezTo>
                <a:cubicBezTo>
                  <a:pt x="390" y="442"/>
                  <a:pt x="420" y="411"/>
                  <a:pt x="420" y="374"/>
                </a:cubicBezTo>
                <a:cubicBezTo>
                  <a:pt x="419" y="336"/>
                  <a:pt x="388" y="306"/>
                  <a:pt x="351" y="306"/>
                </a:cubicBezTo>
                <a:cubicBezTo>
                  <a:pt x="313" y="307"/>
                  <a:pt x="283" y="338"/>
                  <a:pt x="283" y="375"/>
                </a:cubicBezTo>
                <a:close/>
                <a:moveTo>
                  <a:pt x="283" y="625"/>
                </a:moveTo>
                <a:cubicBezTo>
                  <a:pt x="284" y="662"/>
                  <a:pt x="315" y="692"/>
                  <a:pt x="352" y="692"/>
                </a:cubicBezTo>
                <a:cubicBezTo>
                  <a:pt x="390" y="691"/>
                  <a:pt x="420" y="661"/>
                  <a:pt x="420" y="623"/>
                </a:cubicBezTo>
                <a:cubicBezTo>
                  <a:pt x="419" y="585"/>
                  <a:pt x="388" y="555"/>
                  <a:pt x="351" y="556"/>
                </a:cubicBezTo>
                <a:cubicBezTo>
                  <a:pt x="313" y="556"/>
                  <a:pt x="283" y="587"/>
                  <a:pt x="283" y="625"/>
                </a:cubicBezTo>
                <a:close/>
              </a:path>
            </a:pathLst>
          </a:custGeom>
          <a:solidFill>
            <a:srgbClr val="32A0A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03" name="Gruppieren 53"/>
          <p:cNvGrpSpPr/>
          <p:nvPr/>
        </p:nvGrpSpPr>
        <p:grpSpPr>
          <a:xfrm>
            <a:off x="8653308" y="5321965"/>
            <a:ext cx="531964" cy="369270"/>
            <a:chOff x="-6446859" y="-5224936"/>
            <a:chExt cx="1036734" cy="719663"/>
          </a:xfrm>
          <a:solidFill>
            <a:srgbClr val="32A0A0"/>
          </a:solidFill>
        </p:grpSpPr>
        <p:sp>
          <p:nvSpPr>
            <p:cNvPr id="204" name="Freeform 203"/>
            <p:cNvSpPr>
              <a:spLocks noEditPoints="1"/>
            </p:cNvSpPr>
            <p:nvPr/>
          </p:nvSpPr>
          <p:spPr bwMode="auto">
            <a:xfrm>
              <a:off x="-6446859" y="-5224936"/>
              <a:ext cx="1036734" cy="719663"/>
            </a:xfrm>
            <a:custGeom>
              <a:avLst/>
              <a:gdLst>
                <a:gd name="T0" fmla="*/ 272 w 544"/>
                <a:gd name="T1" fmla="*/ 0 h 377"/>
                <a:gd name="T2" fmla="*/ 0 w 544"/>
                <a:gd name="T3" fmla="*/ 197 h 377"/>
                <a:gd name="T4" fmla="*/ 272 w 544"/>
                <a:gd name="T5" fmla="*/ 377 h 377"/>
                <a:gd name="T6" fmla="*/ 544 w 544"/>
                <a:gd name="T7" fmla="*/ 197 h 377"/>
                <a:gd name="T8" fmla="*/ 272 w 544"/>
                <a:gd name="T9" fmla="*/ 0 h 377"/>
                <a:gd name="T10" fmla="*/ 409 w 544"/>
                <a:gd name="T11" fmla="*/ 188 h 377"/>
                <a:gd name="T12" fmla="*/ 272 w 544"/>
                <a:gd name="T13" fmla="*/ 325 h 377"/>
                <a:gd name="T14" fmla="*/ 135 w 544"/>
                <a:gd name="T15" fmla="*/ 188 h 377"/>
                <a:gd name="T16" fmla="*/ 272 w 544"/>
                <a:gd name="T17" fmla="*/ 52 h 377"/>
                <a:gd name="T18" fmla="*/ 409 w 544"/>
                <a:gd name="T1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4" h="377">
                  <a:moveTo>
                    <a:pt x="272" y="0"/>
                  </a:moveTo>
                  <a:cubicBezTo>
                    <a:pt x="145" y="0"/>
                    <a:pt x="40" y="84"/>
                    <a:pt x="0" y="197"/>
                  </a:cubicBezTo>
                  <a:cubicBezTo>
                    <a:pt x="40" y="300"/>
                    <a:pt x="145" y="377"/>
                    <a:pt x="272" y="377"/>
                  </a:cubicBezTo>
                  <a:cubicBezTo>
                    <a:pt x="396" y="377"/>
                    <a:pt x="513" y="300"/>
                    <a:pt x="544" y="197"/>
                  </a:cubicBezTo>
                  <a:cubicBezTo>
                    <a:pt x="513" y="84"/>
                    <a:pt x="396" y="0"/>
                    <a:pt x="272" y="0"/>
                  </a:cubicBezTo>
                  <a:close/>
                  <a:moveTo>
                    <a:pt x="409" y="188"/>
                  </a:moveTo>
                  <a:cubicBezTo>
                    <a:pt x="409" y="264"/>
                    <a:pt x="348" y="325"/>
                    <a:pt x="272" y="325"/>
                  </a:cubicBezTo>
                  <a:cubicBezTo>
                    <a:pt x="197" y="325"/>
                    <a:pt x="135" y="264"/>
                    <a:pt x="135" y="188"/>
                  </a:cubicBezTo>
                  <a:cubicBezTo>
                    <a:pt x="135" y="113"/>
                    <a:pt x="197" y="52"/>
                    <a:pt x="272" y="52"/>
                  </a:cubicBezTo>
                  <a:cubicBezTo>
                    <a:pt x="348" y="52"/>
                    <a:pt x="409" y="113"/>
                    <a:pt x="409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05" name="Freeform 204"/>
            <p:cNvSpPr>
              <a:spLocks/>
            </p:cNvSpPr>
            <p:nvPr/>
          </p:nvSpPr>
          <p:spPr bwMode="auto">
            <a:xfrm>
              <a:off x="-6119299" y="-5057122"/>
              <a:ext cx="383229" cy="384036"/>
            </a:xfrm>
            <a:custGeom>
              <a:avLst/>
              <a:gdLst>
                <a:gd name="T0" fmla="*/ 100 w 201"/>
                <a:gd name="T1" fmla="*/ 34 h 201"/>
                <a:gd name="T2" fmla="*/ 109 w 201"/>
                <a:gd name="T3" fmla="*/ 1 h 201"/>
                <a:gd name="T4" fmla="*/ 100 w 201"/>
                <a:gd name="T5" fmla="*/ 0 h 201"/>
                <a:gd name="T6" fmla="*/ 0 w 201"/>
                <a:gd name="T7" fmla="*/ 100 h 201"/>
                <a:gd name="T8" fmla="*/ 100 w 201"/>
                <a:gd name="T9" fmla="*/ 201 h 201"/>
                <a:gd name="T10" fmla="*/ 201 w 201"/>
                <a:gd name="T11" fmla="*/ 100 h 201"/>
                <a:gd name="T12" fmla="*/ 200 w 201"/>
                <a:gd name="T13" fmla="*/ 92 h 201"/>
                <a:gd name="T14" fmla="*/ 167 w 201"/>
                <a:gd name="T15" fmla="*/ 100 h 201"/>
                <a:gd name="T16" fmla="*/ 100 w 201"/>
                <a:gd name="T17" fmla="*/ 34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201">
                  <a:moveTo>
                    <a:pt x="100" y="34"/>
                  </a:moveTo>
                  <a:cubicBezTo>
                    <a:pt x="100" y="22"/>
                    <a:pt x="103" y="10"/>
                    <a:pt x="109" y="1"/>
                  </a:cubicBezTo>
                  <a:cubicBezTo>
                    <a:pt x="106" y="0"/>
                    <a:pt x="103" y="0"/>
                    <a:pt x="100" y="0"/>
                  </a:cubicBezTo>
                  <a:cubicBezTo>
                    <a:pt x="45" y="0"/>
                    <a:pt x="0" y="45"/>
                    <a:pt x="0" y="100"/>
                  </a:cubicBezTo>
                  <a:cubicBezTo>
                    <a:pt x="0" y="156"/>
                    <a:pt x="45" y="201"/>
                    <a:pt x="100" y="201"/>
                  </a:cubicBezTo>
                  <a:cubicBezTo>
                    <a:pt x="156" y="201"/>
                    <a:pt x="201" y="156"/>
                    <a:pt x="201" y="100"/>
                  </a:cubicBezTo>
                  <a:cubicBezTo>
                    <a:pt x="201" y="98"/>
                    <a:pt x="200" y="95"/>
                    <a:pt x="200" y="92"/>
                  </a:cubicBezTo>
                  <a:cubicBezTo>
                    <a:pt x="190" y="97"/>
                    <a:pt x="179" y="100"/>
                    <a:pt x="167" y="100"/>
                  </a:cubicBezTo>
                  <a:cubicBezTo>
                    <a:pt x="130" y="100"/>
                    <a:pt x="100" y="71"/>
                    <a:pt x="10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pic>
        <p:nvPicPr>
          <p:cNvPr id="206" name="Grafik 1">
            <a:extLst>
              <a:ext uri="{FF2B5EF4-FFF2-40B4-BE49-F238E27FC236}">
                <a16:creationId xmlns:a16="http://schemas.microsoft.com/office/drawing/2014/main" xmlns="" id="{B42347F9-7A8F-C44F-86AF-FB5B23EB487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7668" y="5094939"/>
            <a:ext cx="981076" cy="1013064"/>
          </a:xfrm>
          <a:prstGeom prst="rect">
            <a:avLst/>
          </a:prstGeom>
        </p:spPr>
      </p:pic>
      <p:grpSp>
        <p:nvGrpSpPr>
          <p:cNvPr id="214" name="Group 213"/>
          <p:cNvGrpSpPr/>
          <p:nvPr/>
        </p:nvGrpSpPr>
        <p:grpSpPr>
          <a:xfrm>
            <a:off x="8653922" y="2409179"/>
            <a:ext cx="530738" cy="380208"/>
            <a:chOff x="6899211" y="281705"/>
            <a:chExt cx="879578" cy="630112"/>
          </a:xfrm>
        </p:grpSpPr>
        <p:grpSp>
          <p:nvGrpSpPr>
            <p:cNvPr id="209" name="Group 208"/>
            <p:cNvGrpSpPr>
              <a:grpSpLocks noChangeAspect="1"/>
            </p:cNvGrpSpPr>
            <p:nvPr/>
          </p:nvGrpSpPr>
          <p:grpSpPr bwMode="auto">
            <a:xfrm>
              <a:off x="6899211" y="438010"/>
              <a:ext cx="359356" cy="473807"/>
              <a:chOff x="3238" y="2019"/>
              <a:chExt cx="1033" cy="1362"/>
            </a:xfrm>
            <a:solidFill>
              <a:srgbClr val="32A0A0"/>
            </a:solidFill>
          </p:grpSpPr>
          <p:sp>
            <p:nvSpPr>
              <p:cNvPr id="210" name="Freeform 209"/>
              <p:cNvSpPr>
                <a:spLocks noEditPoints="1"/>
              </p:cNvSpPr>
              <p:nvPr/>
            </p:nvSpPr>
            <p:spPr bwMode="auto">
              <a:xfrm>
                <a:off x="3238" y="2019"/>
                <a:ext cx="1033" cy="1087"/>
              </a:xfrm>
              <a:custGeom>
                <a:avLst/>
                <a:gdLst>
                  <a:gd name="T0" fmla="*/ 419 w 434"/>
                  <a:gd name="T1" fmla="*/ 106 h 458"/>
                  <a:gd name="T2" fmla="*/ 371 w 434"/>
                  <a:gd name="T3" fmla="*/ 31 h 458"/>
                  <a:gd name="T4" fmla="*/ 217 w 434"/>
                  <a:gd name="T5" fmla="*/ 0 h 458"/>
                  <a:gd name="T6" fmla="*/ 63 w 434"/>
                  <a:gd name="T7" fmla="*/ 31 h 458"/>
                  <a:gd name="T8" fmla="*/ 15 w 434"/>
                  <a:gd name="T9" fmla="*/ 106 h 458"/>
                  <a:gd name="T10" fmla="*/ 0 w 434"/>
                  <a:gd name="T11" fmla="*/ 252 h 458"/>
                  <a:gd name="T12" fmla="*/ 0 w 434"/>
                  <a:gd name="T13" fmla="*/ 458 h 458"/>
                  <a:gd name="T14" fmla="*/ 38 w 434"/>
                  <a:gd name="T15" fmla="*/ 458 h 458"/>
                  <a:gd name="T16" fmla="*/ 96 w 434"/>
                  <a:gd name="T17" fmla="*/ 458 h 458"/>
                  <a:gd name="T18" fmla="*/ 338 w 434"/>
                  <a:gd name="T19" fmla="*/ 458 h 458"/>
                  <a:gd name="T20" fmla="*/ 396 w 434"/>
                  <a:gd name="T21" fmla="*/ 458 h 458"/>
                  <a:gd name="T22" fmla="*/ 434 w 434"/>
                  <a:gd name="T23" fmla="*/ 458 h 458"/>
                  <a:gd name="T24" fmla="*/ 434 w 434"/>
                  <a:gd name="T25" fmla="*/ 252 h 458"/>
                  <a:gd name="T26" fmla="*/ 419 w 434"/>
                  <a:gd name="T27" fmla="*/ 106 h 458"/>
                  <a:gd name="T28" fmla="*/ 131 w 434"/>
                  <a:gd name="T29" fmla="*/ 51 h 458"/>
                  <a:gd name="T30" fmla="*/ 143 w 434"/>
                  <a:gd name="T31" fmla="*/ 38 h 458"/>
                  <a:gd name="T32" fmla="*/ 292 w 434"/>
                  <a:gd name="T33" fmla="*/ 38 h 458"/>
                  <a:gd name="T34" fmla="*/ 304 w 434"/>
                  <a:gd name="T35" fmla="*/ 51 h 458"/>
                  <a:gd name="T36" fmla="*/ 304 w 434"/>
                  <a:gd name="T37" fmla="*/ 72 h 458"/>
                  <a:gd name="T38" fmla="*/ 292 w 434"/>
                  <a:gd name="T39" fmla="*/ 84 h 458"/>
                  <a:gd name="T40" fmla="*/ 143 w 434"/>
                  <a:gd name="T41" fmla="*/ 84 h 458"/>
                  <a:gd name="T42" fmla="*/ 131 w 434"/>
                  <a:gd name="T43" fmla="*/ 72 h 458"/>
                  <a:gd name="T44" fmla="*/ 131 w 434"/>
                  <a:gd name="T45" fmla="*/ 51 h 458"/>
                  <a:gd name="T46" fmla="*/ 67 w 434"/>
                  <a:gd name="T47" fmla="*/ 390 h 458"/>
                  <a:gd name="T48" fmla="*/ 38 w 434"/>
                  <a:gd name="T49" fmla="*/ 361 h 458"/>
                  <a:gd name="T50" fmla="*/ 67 w 434"/>
                  <a:gd name="T51" fmla="*/ 332 h 458"/>
                  <a:gd name="T52" fmla="*/ 96 w 434"/>
                  <a:gd name="T53" fmla="*/ 361 h 458"/>
                  <a:gd name="T54" fmla="*/ 67 w 434"/>
                  <a:gd name="T55" fmla="*/ 390 h 458"/>
                  <a:gd name="T56" fmla="*/ 367 w 434"/>
                  <a:gd name="T57" fmla="*/ 390 h 458"/>
                  <a:gd name="T58" fmla="*/ 338 w 434"/>
                  <a:gd name="T59" fmla="*/ 361 h 458"/>
                  <a:gd name="T60" fmla="*/ 367 w 434"/>
                  <a:gd name="T61" fmla="*/ 332 h 458"/>
                  <a:gd name="T62" fmla="*/ 396 w 434"/>
                  <a:gd name="T63" fmla="*/ 361 h 458"/>
                  <a:gd name="T64" fmla="*/ 367 w 434"/>
                  <a:gd name="T65" fmla="*/ 390 h 458"/>
                  <a:gd name="T66" fmla="*/ 378 w 434"/>
                  <a:gd name="T67" fmla="*/ 254 h 458"/>
                  <a:gd name="T68" fmla="*/ 58 w 434"/>
                  <a:gd name="T69" fmla="*/ 254 h 458"/>
                  <a:gd name="T70" fmla="*/ 58 w 434"/>
                  <a:gd name="T71" fmla="*/ 254 h 458"/>
                  <a:gd name="T72" fmla="*/ 39 w 434"/>
                  <a:gd name="T73" fmla="*/ 234 h 458"/>
                  <a:gd name="T74" fmla="*/ 50 w 434"/>
                  <a:gd name="T75" fmla="*/ 126 h 458"/>
                  <a:gd name="T76" fmla="*/ 73 w 434"/>
                  <a:gd name="T77" fmla="*/ 111 h 458"/>
                  <a:gd name="T78" fmla="*/ 362 w 434"/>
                  <a:gd name="T79" fmla="*/ 111 h 458"/>
                  <a:gd name="T80" fmla="*/ 384 w 434"/>
                  <a:gd name="T81" fmla="*/ 127 h 458"/>
                  <a:gd name="T82" fmla="*/ 396 w 434"/>
                  <a:gd name="T83" fmla="*/ 234 h 458"/>
                  <a:gd name="T84" fmla="*/ 378 w 434"/>
                  <a:gd name="T85" fmla="*/ 254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34" h="458">
                    <a:moveTo>
                      <a:pt x="419" y="106"/>
                    </a:moveTo>
                    <a:cubicBezTo>
                      <a:pt x="415" y="60"/>
                      <a:pt x="404" y="46"/>
                      <a:pt x="371" y="31"/>
                    </a:cubicBezTo>
                    <a:cubicBezTo>
                      <a:pt x="325" y="9"/>
                      <a:pt x="272" y="0"/>
                      <a:pt x="217" y="0"/>
                    </a:cubicBezTo>
                    <a:cubicBezTo>
                      <a:pt x="162" y="0"/>
                      <a:pt x="110" y="9"/>
                      <a:pt x="63" y="31"/>
                    </a:cubicBezTo>
                    <a:cubicBezTo>
                      <a:pt x="30" y="46"/>
                      <a:pt x="20" y="60"/>
                      <a:pt x="15" y="106"/>
                    </a:cubicBezTo>
                    <a:cubicBezTo>
                      <a:pt x="11" y="147"/>
                      <a:pt x="0" y="252"/>
                      <a:pt x="0" y="252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38" y="458"/>
                      <a:pt x="38" y="458"/>
                      <a:pt x="38" y="458"/>
                    </a:cubicBezTo>
                    <a:cubicBezTo>
                      <a:pt x="96" y="458"/>
                      <a:pt x="96" y="458"/>
                      <a:pt x="96" y="458"/>
                    </a:cubicBezTo>
                    <a:cubicBezTo>
                      <a:pt x="338" y="458"/>
                      <a:pt x="338" y="458"/>
                      <a:pt x="338" y="458"/>
                    </a:cubicBezTo>
                    <a:cubicBezTo>
                      <a:pt x="396" y="458"/>
                      <a:pt x="396" y="458"/>
                      <a:pt x="396" y="458"/>
                    </a:cubicBezTo>
                    <a:cubicBezTo>
                      <a:pt x="434" y="458"/>
                      <a:pt x="434" y="458"/>
                      <a:pt x="434" y="458"/>
                    </a:cubicBezTo>
                    <a:cubicBezTo>
                      <a:pt x="434" y="252"/>
                      <a:pt x="434" y="252"/>
                      <a:pt x="434" y="252"/>
                    </a:cubicBezTo>
                    <a:cubicBezTo>
                      <a:pt x="434" y="252"/>
                      <a:pt x="424" y="147"/>
                      <a:pt x="419" y="106"/>
                    </a:cubicBezTo>
                    <a:close/>
                    <a:moveTo>
                      <a:pt x="131" y="51"/>
                    </a:moveTo>
                    <a:cubicBezTo>
                      <a:pt x="131" y="44"/>
                      <a:pt x="136" y="38"/>
                      <a:pt x="143" y="38"/>
                    </a:cubicBezTo>
                    <a:cubicBezTo>
                      <a:pt x="292" y="38"/>
                      <a:pt x="292" y="38"/>
                      <a:pt x="292" y="38"/>
                    </a:cubicBezTo>
                    <a:cubicBezTo>
                      <a:pt x="299" y="38"/>
                      <a:pt x="304" y="44"/>
                      <a:pt x="304" y="51"/>
                    </a:cubicBezTo>
                    <a:cubicBezTo>
                      <a:pt x="304" y="72"/>
                      <a:pt x="304" y="72"/>
                      <a:pt x="304" y="72"/>
                    </a:cubicBezTo>
                    <a:cubicBezTo>
                      <a:pt x="304" y="79"/>
                      <a:pt x="299" y="84"/>
                      <a:pt x="292" y="84"/>
                    </a:cubicBezTo>
                    <a:cubicBezTo>
                      <a:pt x="143" y="84"/>
                      <a:pt x="143" y="84"/>
                      <a:pt x="143" y="84"/>
                    </a:cubicBezTo>
                    <a:cubicBezTo>
                      <a:pt x="136" y="84"/>
                      <a:pt x="131" y="79"/>
                      <a:pt x="131" y="72"/>
                    </a:cubicBezTo>
                    <a:lnTo>
                      <a:pt x="131" y="51"/>
                    </a:lnTo>
                    <a:close/>
                    <a:moveTo>
                      <a:pt x="67" y="390"/>
                    </a:moveTo>
                    <a:cubicBezTo>
                      <a:pt x="51" y="390"/>
                      <a:pt x="38" y="377"/>
                      <a:pt x="38" y="361"/>
                    </a:cubicBezTo>
                    <a:cubicBezTo>
                      <a:pt x="38" y="345"/>
                      <a:pt x="51" y="332"/>
                      <a:pt x="67" y="332"/>
                    </a:cubicBezTo>
                    <a:cubicBezTo>
                      <a:pt x="83" y="332"/>
                      <a:pt x="96" y="345"/>
                      <a:pt x="96" y="361"/>
                    </a:cubicBezTo>
                    <a:cubicBezTo>
                      <a:pt x="96" y="377"/>
                      <a:pt x="83" y="390"/>
                      <a:pt x="67" y="390"/>
                    </a:cubicBezTo>
                    <a:close/>
                    <a:moveTo>
                      <a:pt x="367" y="390"/>
                    </a:moveTo>
                    <a:cubicBezTo>
                      <a:pt x="351" y="390"/>
                      <a:pt x="338" y="377"/>
                      <a:pt x="338" y="361"/>
                    </a:cubicBezTo>
                    <a:cubicBezTo>
                      <a:pt x="338" y="345"/>
                      <a:pt x="351" y="332"/>
                      <a:pt x="367" y="332"/>
                    </a:cubicBezTo>
                    <a:cubicBezTo>
                      <a:pt x="383" y="332"/>
                      <a:pt x="396" y="345"/>
                      <a:pt x="396" y="361"/>
                    </a:cubicBezTo>
                    <a:cubicBezTo>
                      <a:pt x="396" y="377"/>
                      <a:pt x="383" y="390"/>
                      <a:pt x="367" y="390"/>
                    </a:cubicBezTo>
                    <a:close/>
                    <a:moveTo>
                      <a:pt x="378" y="254"/>
                    </a:moveTo>
                    <a:cubicBezTo>
                      <a:pt x="58" y="254"/>
                      <a:pt x="58" y="254"/>
                      <a:pt x="58" y="254"/>
                    </a:cubicBezTo>
                    <a:cubicBezTo>
                      <a:pt x="58" y="254"/>
                      <a:pt x="58" y="254"/>
                      <a:pt x="58" y="254"/>
                    </a:cubicBezTo>
                    <a:cubicBezTo>
                      <a:pt x="46" y="254"/>
                      <a:pt x="38" y="245"/>
                      <a:pt x="39" y="234"/>
                    </a:cubicBezTo>
                    <a:cubicBezTo>
                      <a:pt x="42" y="192"/>
                      <a:pt x="45" y="169"/>
                      <a:pt x="50" y="126"/>
                    </a:cubicBezTo>
                    <a:cubicBezTo>
                      <a:pt x="52" y="117"/>
                      <a:pt x="60" y="111"/>
                      <a:pt x="73" y="111"/>
                    </a:cubicBezTo>
                    <a:cubicBezTo>
                      <a:pt x="362" y="111"/>
                      <a:pt x="362" y="111"/>
                      <a:pt x="362" y="111"/>
                    </a:cubicBezTo>
                    <a:cubicBezTo>
                      <a:pt x="375" y="111"/>
                      <a:pt x="383" y="118"/>
                      <a:pt x="384" y="127"/>
                    </a:cubicBezTo>
                    <a:cubicBezTo>
                      <a:pt x="391" y="172"/>
                      <a:pt x="393" y="191"/>
                      <a:pt x="396" y="234"/>
                    </a:cubicBezTo>
                    <a:cubicBezTo>
                      <a:pt x="397" y="246"/>
                      <a:pt x="388" y="254"/>
                      <a:pt x="378" y="2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211" name="Freeform 210"/>
              <p:cNvSpPr>
                <a:spLocks/>
              </p:cNvSpPr>
              <p:nvPr/>
            </p:nvSpPr>
            <p:spPr bwMode="auto">
              <a:xfrm>
                <a:off x="3329" y="3179"/>
                <a:ext cx="183" cy="202"/>
              </a:xfrm>
              <a:custGeom>
                <a:avLst/>
                <a:gdLst>
                  <a:gd name="T0" fmla="*/ 0 w 77"/>
                  <a:gd name="T1" fmla="*/ 46 h 85"/>
                  <a:gd name="T2" fmla="*/ 38 w 77"/>
                  <a:gd name="T3" fmla="*/ 85 h 85"/>
                  <a:gd name="T4" fmla="*/ 77 w 77"/>
                  <a:gd name="T5" fmla="*/ 46 h 85"/>
                  <a:gd name="T6" fmla="*/ 77 w 77"/>
                  <a:gd name="T7" fmla="*/ 0 h 85"/>
                  <a:gd name="T8" fmla="*/ 1 w 77"/>
                  <a:gd name="T9" fmla="*/ 0 h 85"/>
                  <a:gd name="T10" fmla="*/ 0 w 77"/>
                  <a:gd name="T11" fmla="*/ 4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85">
                    <a:moveTo>
                      <a:pt x="0" y="46"/>
                    </a:moveTo>
                    <a:cubicBezTo>
                      <a:pt x="0" y="67"/>
                      <a:pt x="17" y="85"/>
                      <a:pt x="38" y="85"/>
                    </a:cubicBezTo>
                    <a:cubicBezTo>
                      <a:pt x="60" y="85"/>
                      <a:pt x="77" y="67"/>
                      <a:pt x="77" y="46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4"/>
                      <a:pt x="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212" name="Freeform 211"/>
              <p:cNvSpPr>
                <a:spLocks/>
              </p:cNvSpPr>
              <p:nvPr/>
            </p:nvSpPr>
            <p:spPr bwMode="auto">
              <a:xfrm>
                <a:off x="3990" y="3179"/>
                <a:ext cx="183" cy="202"/>
              </a:xfrm>
              <a:custGeom>
                <a:avLst/>
                <a:gdLst>
                  <a:gd name="T0" fmla="*/ 0 w 77"/>
                  <a:gd name="T1" fmla="*/ 46 h 85"/>
                  <a:gd name="T2" fmla="*/ 39 w 77"/>
                  <a:gd name="T3" fmla="*/ 85 h 85"/>
                  <a:gd name="T4" fmla="*/ 77 w 77"/>
                  <a:gd name="T5" fmla="*/ 46 h 85"/>
                  <a:gd name="T6" fmla="*/ 77 w 77"/>
                  <a:gd name="T7" fmla="*/ 0 h 85"/>
                  <a:gd name="T8" fmla="*/ 1 w 77"/>
                  <a:gd name="T9" fmla="*/ 0 h 85"/>
                  <a:gd name="T10" fmla="*/ 0 w 77"/>
                  <a:gd name="T11" fmla="*/ 4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85">
                    <a:moveTo>
                      <a:pt x="0" y="46"/>
                    </a:moveTo>
                    <a:cubicBezTo>
                      <a:pt x="0" y="67"/>
                      <a:pt x="18" y="85"/>
                      <a:pt x="39" y="85"/>
                    </a:cubicBezTo>
                    <a:cubicBezTo>
                      <a:pt x="60" y="85"/>
                      <a:pt x="77" y="67"/>
                      <a:pt x="77" y="46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34"/>
                      <a:pt x="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  <p:sp>
          <p:nvSpPr>
            <p:cNvPr id="213" name="Freeform 212"/>
            <p:cNvSpPr>
              <a:spLocks noEditPoints="1"/>
            </p:cNvSpPr>
            <p:nvPr/>
          </p:nvSpPr>
          <p:spPr bwMode="auto">
            <a:xfrm>
              <a:off x="7294482" y="281705"/>
              <a:ext cx="484307" cy="345375"/>
            </a:xfrm>
            <a:custGeom>
              <a:avLst/>
              <a:gdLst>
                <a:gd name="T0" fmla="*/ 48 w 574"/>
                <a:gd name="T1" fmla="*/ 136 h 409"/>
                <a:gd name="T2" fmla="*/ 21 w 574"/>
                <a:gd name="T3" fmla="*/ 390 h 409"/>
                <a:gd name="T4" fmla="*/ 83 w 574"/>
                <a:gd name="T5" fmla="*/ 409 h 409"/>
                <a:gd name="T6" fmla="*/ 103 w 574"/>
                <a:gd name="T7" fmla="*/ 351 h 409"/>
                <a:gd name="T8" fmla="*/ 471 w 574"/>
                <a:gd name="T9" fmla="*/ 390 h 409"/>
                <a:gd name="T10" fmla="*/ 533 w 574"/>
                <a:gd name="T11" fmla="*/ 409 h 409"/>
                <a:gd name="T12" fmla="*/ 553 w 574"/>
                <a:gd name="T13" fmla="*/ 234 h 409"/>
                <a:gd name="T14" fmla="*/ 554 w 574"/>
                <a:gd name="T15" fmla="*/ 136 h 409"/>
                <a:gd name="T16" fmla="*/ 574 w 574"/>
                <a:gd name="T17" fmla="*/ 107 h 409"/>
                <a:gd name="T18" fmla="*/ 505 w 574"/>
                <a:gd name="T19" fmla="*/ 97 h 409"/>
                <a:gd name="T20" fmla="*/ 410 w 574"/>
                <a:gd name="T21" fmla="*/ 0 h 409"/>
                <a:gd name="T22" fmla="*/ 124 w 574"/>
                <a:gd name="T23" fmla="*/ 19 h 409"/>
                <a:gd name="T24" fmla="*/ 10 w 574"/>
                <a:gd name="T25" fmla="*/ 97 h 409"/>
                <a:gd name="T26" fmla="*/ 0 w 574"/>
                <a:gd name="T27" fmla="*/ 117 h 409"/>
                <a:gd name="T28" fmla="*/ 369 w 574"/>
                <a:gd name="T29" fmla="*/ 300 h 409"/>
                <a:gd name="T30" fmla="*/ 219 w 574"/>
                <a:gd name="T31" fmla="*/ 312 h 409"/>
                <a:gd name="T32" fmla="*/ 206 w 574"/>
                <a:gd name="T33" fmla="*/ 269 h 409"/>
                <a:gd name="T34" fmla="*/ 356 w 574"/>
                <a:gd name="T35" fmla="*/ 257 h 409"/>
                <a:gd name="T36" fmla="*/ 369 w 574"/>
                <a:gd name="T37" fmla="*/ 300 h 409"/>
                <a:gd name="T38" fmla="*/ 471 w 574"/>
                <a:gd name="T39" fmla="*/ 253 h 409"/>
                <a:gd name="T40" fmla="*/ 471 w 574"/>
                <a:gd name="T41" fmla="*/ 178 h 409"/>
                <a:gd name="T42" fmla="*/ 102 w 574"/>
                <a:gd name="T43" fmla="*/ 115 h 409"/>
                <a:gd name="T44" fmla="*/ 169 w 574"/>
                <a:gd name="T45" fmla="*/ 35 h 409"/>
                <a:gd name="T46" fmla="*/ 431 w 574"/>
                <a:gd name="T47" fmla="*/ 50 h 409"/>
                <a:gd name="T48" fmla="*/ 464 w 574"/>
                <a:gd name="T49" fmla="*/ 134 h 409"/>
                <a:gd name="T50" fmla="*/ 102 w 574"/>
                <a:gd name="T51" fmla="*/ 115 h 409"/>
                <a:gd name="T52" fmla="*/ 144 w 574"/>
                <a:gd name="T53" fmla="*/ 214 h 409"/>
                <a:gd name="T54" fmla="*/ 141 w 574"/>
                <a:gd name="T55" fmla="*/ 229 h 409"/>
                <a:gd name="T56" fmla="*/ 137 w 574"/>
                <a:gd name="T57" fmla="*/ 236 h 409"/>
                <a:gd name="T58" fmla="*/ 103 w 574"/>
                <a:gd name="T59" fmla="*/ 253 h 409"/>
                <a:gd name="T60" fmla="*/ 88 w 574"/>
                <a:gd name="T61" fmla="*/ 250 h 409"/>
                <a:gd name="T62" fmla="*/ 82 w 574"/>
                <a:gd name="T63" fmla="*/ 247 h 409"/>
                <a:gd name="T64" fmla="*/ 75 w 574"/>
                <a:gd name="T65" fmla="*/ 242 h 409"/>
                <a:gd name="T66" fmla="*/ 62 w 574"/>
                <a:gd name="T67" fmla="*/ 214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4" h="409">
                  <a:moveTo>
                    <a:pt x="21" y="136"/>
                  </a:moveTo>
                  <a:cubicBezTo>
                    <a:pt x="48" y="136"/>
                    <a:pt x="48" y="136"/>
                    <a:pt x="48" y="136"/>
                  </a:cubicBezTo>
                  <a:cubicBezTo>
                    <a:pt x="48" y="136"/>
                    <a:pt x="21" y="185"/>
                    <a:pt x="21" y="234"/>
                  </a:cubicBezTo>
                  <a:cubicBezTo>
                    <a:pt x="21" y="390"/>
                    <a:pt x="21" y="390"/>
                    <a:pt x="21" y="390"/>
                  </a:cubicBezTo>
                  <a:cubicBezTo>
                    <a:pt x="21" y="398"/>
                    <a:pt x="30" y="409"/>
                    <a:pt x="42" y="409"/>
                  </a:cubicBezTo>
                  <a:cubicBezTo>
                    <a:pt x="83" y="409"/>
                    <a:pt x="83" y="409"/>
                    <a:pt x="83" y="409"/>
                  </a:cubicBezTo>
                  <a:cubicBezTo>
                    <a:pt x="93" y="409"/>
                    <a:pt x="103" y="399"/>
                    <a:pt x="103" y="390"/>
                  </a:cubicBezTo>
                  <a:cubicBezTo>
                    <a:pt x="103" y="351"/>
                    <a:pt x="103" y="351"/>
                    <a:pt x="103" y="351"/>
                  </a:cubicBezTo>
                  <a:cubicBezTo>
                    <a:pt x="471" y="351"/>
                    <a:pt x="471" y="351"/>
                    <a:pt x="471" y="351"/>
                  </a:cubicBezTo>
                  <a:cubicBezTo>
                    <a:pt x="471" y="390"/>
                    <a:pt x="471" y="390"/>
                    <a:pt x="471" y="390"/>
                  </a:cubicBezTo>
                  <a:cubicBezTo>
                    <a:pt x="471" y="399"/>
                    <a:pt x="482" y="409"/>
                    <a:pt x="492" y="409"/>
                  </a:cubicBezTo>
                  <a:cubicBezTo>
                    <a:pt x="533" y="409"/>
                    <a:pt x="533" y="409"/>
                    <a:pt x="533" y="409"/>
                  </a:cubicBezTo>
                  <a:cubicBezTo>
                    <a:pt x="545" y="409"/>
                    <a:pt x="553" y="398"/>
                    <a:pt x="553" y="390"/>
                  </a:cubicBezTo>
                  <a:cubicBezTo>
                    <a:pt x="553" y="234"/>
                    <a:pt x="553" y="234"/>
                    <a:pt x="553" y="234"/>
                  </a:cubicBezTo>
                  <a:cubicBezTo>
                    <a:pt x="553" y="188"/>
                    <a:pt x="526" y="136"/>
                    <a:pt x="526" y="136"/>
                  </a:cubicBezTo>
                  <a:cubicBezTo>
                    <a:pt x="554" y="136"/>
                    <a:pt x="554" y="136"/>
                    <a:pt x="554" y="136"/>
                  </a:cubicBezTo>
                  <a:cubicBezTo>
                    <a:pt x="566" y="136"/>
                    <a:pt x="574" y="126"/>
                    <a:pt x="574" y="117"/>
                  </a:cubicBezTo>
                  <a:cubicBezTo>
                    <a:pt x="574" y="107"/>
                    <a:pt x="574" y="107"/>
                    <a:pt x="574" y="107"/>
                  </a:cubicBezTo>
                  <a:cubicBezTo>
                    <a:pt x="574" y="97"/>
                    <a:pt x="567" y="97"/>
                    <a:pt x="565" y="97"/>
                  </a:cubicBezTo>
                  <a:cubicBezTo>
                    <a:pt x="505" y="97"/>
                    <a:pt x="505" y="97"/>
                    <a:pt x="505" y="97"/>
                  </a:cubicBezTo>
                  <a:cubicBezTo>
                    <a:pt x="491" y="74"/>
                    <a:pt x="477" y="51"/>
                    <a:pt x="451" y="19"/>
                  </a:cubicBezTo>
                  <a:cubicBezTo>
                    <a:pt x="440" y="6"/>
                    <a:pt x="430" y="0"/>
                    <a:pt x="410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45" y="0"/>
                    <a:pt x="135" y="6"/>
                    <a:pt x="124" y="19"/>
                  </a:cubicBezTo>
                  <a:cubicBezTo>
                    <a:pt x="104" y="45"/>
                    <a:pt x="86" y="71"/>
                    <a:pt x="69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7" y="97"/>
                    <a:pt x="0" y="97"/>
                    <a:pt x="0" y="10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6"/>
                    <a:pt x="8" y="136"/>
                    <a:pt x="21" y="136"/>
                  </a:cubicBezTo>
                  <a:close/>
                  <a:moveTo>
                    <a:pt x="369" y="300"/>
                  </a:moveTo>
                  <a:cubicBezTo>
                    <a:pt x="369" y="306"/>
                    <a:pt x="363" y="312"/>
                    <a:pt x="356" y="312"/>
                  </a:cubicBezTo>
                  <a:cubicBezTo>
                    <a:pt x="219" y="312"/>
                    <a:pt x="219" y="312"/>
                    <a:pt x="219" y="312"/>
                  </a:cubicBezTo>
                  <a:cubicBezTo>
                    <a:pt x="212" y="312"/>
                    <a:pt x="206" y="306"/>
                    <a:pt x="206" y="300"/>
                  </a:cubicBezTo>
                  <a:cubicBezTo>
                    <a:pt x="206" y="269"/>
                    <a:pt x="206" y="269"/>
                    <a:pt x="206" y="269"/>
                  </a:cubicBezTo>
                  <a:cubicBezTo>
                    <a:pt x="206" y="262"/>
                    <a:pt x="212" y="257"/>
                    <a:pt x="219" y="257"/>
                  </a:cubicBezTo>
                  <a:cubicBezTo>
                    <a:pt x="356" y="257"/>
                    <a:pt x="356" y="257"/>
                    <a:pt x="356" y="257"/>
                  </a:cubicBezTo>
                  <a:cubicBezTo>
                    <a:pt x="363" y="257"/>
                    <a:pt x="369" y="262"/>
                    <a:pt x="369" y="269"/>
                  </a:cubicBezTo>
                  <a:lnTo>
                    <a:pt x="369" y="300"/>
                  </a:lnTo>
                  <a:close/>
                  <a:moveTo>
                    <a:pt x="511" y="215"/>
                  </a:moveTo>
                  <a:cubicBezTo>
                    <a:pt x="511" y="236"/>
                    <a:pt x="493" y="253"/>
                    <a:pt x="471" y="253"/>
                  </a:cubicBezTo>
                  <a:cubicBezTo>
                    <a:pt x="449" y="253"/>
                    <a:pt x="432" y="236"/>
                    <a:pt x="432" y="215"/>
                  </a:cubicBezTo>
                  <a:cubicBezTo>
                    <a:pt x="432" y="195"/>
                    <a:pt x="449" y="178"/>
                    <a:pt x="471" y="178"/>
                  </a:cubicBezTo>
                  <a:cubicBezTo>
                    <a:pt x="493" y="178"/>
                    <a:pt x="511" y="195"/>
                    <a:pt x="511" y="215"/>
                  </a:cubicBezTo>
                  <a:close/>
                  <a:moveTo>
                    <a:pt x="102" y="115"/>
                  </a:moveTo>
                  <a:cubicBezTo>
                    <a:pt x="115" y="93"/>
                    <a:pt x="128" y="72"/>
                    <a:pt x="144" y="50"/>
                  </a:cubicBezTo>
                  <a:cubicBezTo>
                    <a:pt x="152" y="38"/>
                    <a:pt x="162" y="35"/>
                    <a:pt x="169" y="35"/>
                  </a:cubicBezTo>
                  <a:cubicBezTo>
                    <a:pt x="406" y="35"/>
                    <a:pt x="406" y="35"/>
                    <a:pt x="406" y="35"/>
                  </a:cubicBezTo>
                  <a:cubicBezTo>
                    <a:pt x="413" y="35"/>
                    <a:pt x="423" y="38"/>
                    <a:pt x="431" y="50"/>
                  </a:cubicBezTo>
                  <a:cubicBezTo>
                    <a:pt x="451" y="78"/>
                    <a:pt x="462" y="96"/>
                    <a:pt x="473" y="115"/>
                  </a:cubicBezTo>
                  <a:cubicBezTo>
                    <a:pt x="480" y="127"/>
                    <a:pt x="472" y="134"/>
                    <a:pt x="464" y="134"/>
                  </a:cubicBezTo>
                  <a:cubicBezTo>
                    <a:pt x="110" y="134"/>
                    <a:pt x="110" y="134"/>
                    <a:pt x="110" y="134"/>
                  </a:cubicBezTo>
                  <a:cubicBezTo>
                    <a:pt x="103" y="134"/>
                    <a:pt x="94" y="127"/>
                    <a:pt x="102" y="115"/>
                  </a:cubicBezTo>
                  <a:close/>
                  <a:moveTo>
                    <a:pt x="103" y="176"/>
                  </a:moveTo>
                  <a:cubicBezTo>
                    <a:pt x="125" y="176"/>
                    <a:pt x="144" y="193"/>
                    <a:pt x="144" y="214"/>
                  </a:cubicBezTo>
                  <a:cubicBezTo>
                    <a:pt x="144" y="217"/>
                    <a:pt x="143" y="220"/>
                    <a:pt x="142" y="223"/>
                  </a:cubicBezTo>
                  <a:cubicBezTo>
                    <a:pt x="142" y="225"/>
                    <a:pt x="141" y="227"/>
                    <a:pt x="141" y="229"/>
                  </a:cubicBezTo>
                  <a:cubicBezTo>
                    <a:pt x="140" y="229"/>
                    <a:pt x="140" y="230"/>
                    <a:pt x="140" y="230"/>
                  </a:cubicBezTo>
                  <a:cubicBezTo>
                    <a:pt x="139" y="232"/>
                    <a:pt x="138" y="234"/>
                    <a:pt x="137" y="236"/>
                  </a:cubicBezTo>
                  <a:cubicBezTo>
                    <a:pt x="135" y="238"/>
                    <a:pt x="134" y="240"/>
                    <a:pt x="132" y="241"/>
                  </a:cubicBezTo>
                  <a:cubicBezTo>
                    <a:pt x="125" y="248"/>
                    <a:pt x="115" y="253"/>
                    <a:pt x="103" y="253"/>
                  </a:cubicBezTo>
                  <a:cubicBezTo>
                    <a:pt x="100" y="253"/>
                    <a:pt x="97" y="252"/>
                    <a:pt x="94" y="251"/>
                  </a:cubicBezTo>
                  <a:cubicBezTo>
                    <a:pt x="92" y="251"/>
                    <a:pt x="90" y="251"/>
                    <a:pt x="88" y="250"/>
                  </a:cubicBezTo>
                  <a:cubicBezTo>
                    <a:pt x="88" y="250"/>
                    <a:pt x="87" y="250"/>
                    <a:pt x="87" y="250"/>
                  </a:cubicBezTo>
                  <a:cubicBezTo>
                    <a:pt x="85" y="249"/>
                    <a:pt x="83" y="248"/>
                    <a:pt x="82" y="247"/>
                  </a:cubicBezTo>
                  <a:cubicBezTo>
                    <a:pt x="80" y="245"/>
                    <a:pt x="78" y="244"/>
                    <a:pt x="76" y="243"/>
                  </a:cubicBezTo>
                  <a:cubicBezTo>
                    <a:pt x="76" y="243"/>
                    <a:pt x="76" y="242"/>
                    <a:pt x="75" y="242"/>
                  </a:cubicBezTo>
                  <a:cubicBezTo>
                    <a:pt x="75" y="241"/>
                    <a:pt x="74" y="241"/>
                    <a:pt x="74" y="241"/>
                  </a:cubicBezTo>
                  <a:cubicBezTo>
                    <a:pt x="67" y="234"/>
                    <a:pt x="62" y="225"/>
                    <a:pt x="62" y="214"/>
                  </a:cubicBezTo>
                  <a:cubicBezTo>
                    <a:pt x="62" y="193"/>
                    <a:pt x="80" y="176"/>
                    <a:pt x="103" y="176"/>
                  </a:cubicBezTo>
                  <a:close/>
                </a:path>
              </a:pathLst>
            </a:custGeom>
            <a:solidFill>
              <a:srgbClr val="32A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/>
            </a:p>
          </p:txBody>
        </p:sp>
      </p:grpSp>
      <p:grpSp>
        <p:nvGrpSpPr>
          <p:cNvPr id="216" name="Gruppieren 399"/>
          <p:cNvGrpSpPr/>
          <p:nvPr/>
        </p:nvGrpSpPr>
        <p:grpSpPr bwMode="gray">
          <a:xfrm>
            <a:off x="8653921" y="3652089"/>
            <a:ext cx="530738" cy="452420"/>
            <a:chOff x="9266696" y="2202941"/>
            <a:chExt cx="1142876" cy="974227"/>
          </a:xfrm>
          <a:solidFill>
            <a:srgbClr val="32A0A0"/>
          </a:solidFill>
        </p:grpSpPr>
        <p:grpSp>
          <p:nvGrpSpPr>
            <p:cNvPr id="217" name="Gruppieren 390"/>
            <p:cNvGrpSpPr/>
            <p:nvPr/>
          </p:nvGrpSpPr>
          <p:grpSpPr bwMode="gray">
            <a:xfrm>
              <a:off x="9266696" y="2479529"/>
              <a:ext cx="302293" cy="697639"/>
              <a:chOff x="9266696" y="2479529"/>
              <a:chExt cx="302293" cy="697639"/>
            </a:xfrm>
            <a:grpFill/>
          </p:grpSpPr>
          <p:sp>
            <p:nvSpPr>
              <p:cNvPr id="236" name="Oval 72"/>
              <p:cNvSpPr>
                <a:spLocks noChangeArrowheads="1"/>
              </p:cNvSpPr>
              <p:nvPr/>
            </p:nvSpPr>
            <p:spPr bwMode="gray">
              <a:xfrm>
                <a:off x="9266696" y="2479529"/>
                <a:ext cx="302293" cy="12904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7" name="Freeform 74"/>
              <p:cNvSpPr>
                <a:spLocks noEditPoints="1"/>
              </p:cNvSpPr>
              <p:nvPr/>
            </p:nvSpPr>
            <p:spPr bwMode="gray">
              <a:xfrm>
                <a:off x="9266696" y="2576694"/>
                <a:ext cx="302293" cy="519759"/>
              </a:xfrm>
              <a:custGeom>
                <a:avLst/>
                <a:gdLst>
                  <a:gd name="T0" fmla="*/ 348 w 348"/>
                  <a:gd name="T1" fmla="*/ 56 h 598"/>
                  <a:gd name="T2" fmla="*/ 174 w 348"/>
                  <a:gd name="T3" fmla="*/ 131 h 598"/>
                  <a:gd name="T4" fmla="*/ 0 w 348"/>
                  <a:gd name="T5" fmla="*/ 56 h 598"/>
                  <a:gd name="T6" fmla="*/ 0 w 348"/>
                  <a:gd name="T7" fmla="*/ 0 h 598"/>
                  <a:gd name="T8" fmla="*/ 174 w 348"/>
                  <a:gd name="T9" fmla="*/ 75 h 598"/>
                  <a:gd name="T10" fmla="*/ 348 w 348"/>
                  <a:gd name="T11" fmla="*/ 0 h 598"/>
                  <a:gd name="T12" fmla="*/ 348 w 348"/>
                  <a:gd name="T13" fmla="*/ 56 h 598"/>
                  <a:gd name="T14" fmla="*/ 348 w 348"/>
                  <a:gd name="T15" fmla="*/ 149 h 598"/>
                  <a:gd name="T16" fmla="*/ 174 w 348"/>
                  <a:gd name="T17" fmla="*/ 224 h 598"/>
                  <a:gd name="T18" fmla="*/ 0 w 348"/>
                  <a:gd name="T19" fmla="*/ 149 h 598"/>
                  <a:gd name="T20" fmla="*/ 0 w 348"/>
                  <a:gd name="T21" fmla="*/ 93 h 598"/>
                  <a:gd name="T22" fmla="*/ 174 w 348"/>
                  <a:gd name="T23" fmla="*/ 168 h 598"/>
                  <a:gd name="T24" fmla="*/ 348 w 348"/>
                  <a:gd name="T25" fmla="*/ 93 h 598"/>
                  <a:gd name="T26" fmla="*/ 348 w 348"/>
                  <a:gd name="T27" fmla="*/ 149 h 598"/>
                  <a:gd name="T28" fmla="*/ 348 w 348"/>
                  <a:gd name="T29" fmla="*/ 243 h 598"/>
                  <a:gd name="T30" fmla="*/ 174 w 348"/>
                  <a:gd name="T31" fmla="*/ 318 h 598"/>
                  <a:gd name="T32" fmla="*/ 0 w 348"/>
                  <a:gd name="T33" fmla="*/ 243 h 598"/>
                  <a:gd name="T34" fmla="*/ 0 w 348"/>
                  <a:gd name="T35" fmla="*/ 187 h 598"/>
                  <a:gd name="T36" fmla="*/ 174 w 348"/>
                  <a:gd name="T37" fmla="*/ 261 h 598"/>
                  <a:gd name="T38" fmla="*/ 348 w 348"/>
                  <a:gd name="T39" fmla="*/ 187 h 598"/>
                  <a:gd name="T40" fmla="*/ 348 w 348"/>
                  <a:gd name="T41" fmla="*/ 243 h 598"/>
                  <a:gd name="T42" fmla="*/ 348 w 348"/>
                  <a:gd name="T43" fmla="*/ 336 h 598"/>
                  <a:gd name="T44" fmla="*/ 174 w 348"/>
                  <a:gd name="T45" fmla="*/ 411 h 598"/>
                  <a:gd name="T46" fmla="*/ 0 w 348"/>
                  <a:gd name="T47" fmla="*/ 336 h 598"/>
                  <a:gd name="T48" fmla="*/ 0 w 348"/>
                  <a:gd name="T49" fmla="*/ 280 h 598"/>
                  <a:gd name="T50" fmla="*/ 174 w 348"/>
                  <a:gd name="T51" fmla="*/ 355 h 598"/>
                  <a:gd name="T52" fmla="*/ 348 w 348"/>
                  <a:gd name="T53" fmla="*/ 280 h 598"/>
                  <a:gd name="T54" fmla="*/ 348 w 348"/>
                  <a:gd name="T55" fmla="*/ 336 h 598"/>
                  <a:gd name="T56" fmla="*/ 348 w 348"/>
                  <a:gd name="T57" fmla="*/ 430 h 598"/>
                  <a:gd name="T58" fmla="*/ 174 w 348"/>
                  <a:gd name="T59" fmla="*/ 504 h 598"/>
                  <a:gd name="T60" fmla="*/ 0 w 348"/>
                  <a:gd name="T61" fmla="*/ 430 h 598"/>
                  <a:gd name="T62" fmla="*/ 0 w 348"/>
                  <a:gd name="T63" fmla="*/ 374 h 598"/>
                  <a:gd name="T64" fmla="*/ 174 w 348"/>
                  <a:gd name="T65" fmla="*/ 448 h 598"/>
                  <a:gd name="T66" fmla="*/ 348 w 348"/>
                  <a:gd name="T67" fmla="*/ 374 h 598"/>
                  <a:gd name="T68" fmla="*/ 348 w 348"/>
                  <a:gd name="T69" fmla="*/ 430 h 598"/>
                  <a:gd name="T70" fmla="*/ 348 w 348"/>
                  <a:gd name="T71" fmla="*/ 523 h 598"/>
                  <a:gd name="T72" fmla="*/ 174 w 348"/>
                  <a:gd name="T73" fmla="*/ 598 h 598"/>
                  <a:gd name="T74" fmla="*/ 0 w 348"/>
                  <a:gd name="T75" fmla="*/ 523 h 598"/>
                  <a:gd name="T76" fmla="*/ 0 w 348"/>
                  <a:gd name="T77" fmla="*/ 467 h 598"/>
                  <a:gd name="T78" fmla="*/ 174 w 348"/>
                  <a:gd name="T79" fmla="*/ 542 h 598"/>
                  <a:gd name="T80" fmla="*/ 348 w 348"/>
                  <a:gd name="T81" fmla="*/ 467 h 598"/>
                  <a:gd name="T82" fmla="*/ 348 w 348"/>
                  <a:gd name="T83" fmla="*/ 523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48" h="598">
                    <a:moveTo>
                      <a:pt x="348" y="56"/>
                    </a:moveTo>
                    <a:cubicBezTo>
                      <a:pt x="348" y="97"/>
                      <a:pt x="270" y="131"/>
                      <a:pt x="174" y="131"/>
                    </a:cubicBezTo>
                    <a:cubicBezTo>
                      <a:pt x="78" y="131"/>
                      <a:pt x="0" y="97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1"/>
                      <a:pt x="78" y="75"/>
                      <a:pt x="174" y="75"/>
                    </a:cubicBezTo>
                    <a:cubicBezTo>
                      <a:pt x="270" y="75"/>
                      <a:pt x="348" y="41"/>
                      <a:pt x="348" y="0"/>
                    </a:cubicBezTo>
                    <a:lnTo>
                      <a:pt x="348" y="56"/>
                    </a:lnTo>
                    <a:close/>
                    <a:moveTo>
                      <a:pt x="348" y="149"/>
                    </a:moveTo>
                    <a:cubicBezTo>
                      <a:pt x="348" y="191"/>
                      <a:pt x="270" y="224"/>
                      <a:pt x="174" y="224"/>
                    </a:cubicBezTo>
                    <a:cubicBezTo>
                      <a:pt x="78" y="224"/>
                      <a:pt x="0" y="191"/>
                      <a:pt x="0" y="149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35"/>
                      <a:pt x="78" y="168"/>
                      <a:pt x="174" y="168"/>
                    </a:cubicBezTo>
                    <a:cubicBezTo>
                      <a:pt x="270" y="168"/>
                      <a:pt x="348" y="135"/>
                      <a:pt x="348" y="93"/>
                    </a:cubicBezTo>
                    <a:lnTo>
                      <a:pt x="348" y="149"/>
                    </a:lnTo>
                    <a:close/>
                    <a:moveTo>
                      <a:pt x="348" y="243"/>
                    </a:moveTo>
                    <a:cubicBezTo>
                      <a:pt x="348" y="284"/>
                      <a:pt x="270" y="318"/>
                      <a:pt x="174" y="318"/>
                    </a:cubicBezTo>
                    <a:cubicBezTo>
                      <a:pt x="78" y="318"/>
                      <a:pt x="0" y="284"/>
                      <a:pt x="0" y="243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228"/>
                      <a:pt x="78" y="261"/>
                      <a:pt x="174" y="261"/>
                    </a:cubicBezTo>
                    <a:cubicBezTo>
                      <a:pt x="270" y="261"/>
                      <a:pt x="348" y="228"/>
                      <a:pt x="348" y="187"/>
                    </a:cubicBezTo>
                    <a:lnTo>
                      <a:pt x="348" y="243"/>
                    </a:lnTo>
                    <a:close/>
                    <a:moveTo>
                      <a:pt x="348" y="336"/>
                    </a:moveTo>
                    <a:cubicBezTo>
                      <a:pt x="348" y="377"/>
                      <a:pt x="270" y="411"/>
                      <a:pt x="174" y="411"/>
                    </a:cubicBezTo>
                    <a:cubicBezTo>
                      <a:pt x="78" y="411"/>
                      <a:pt x="0" y="377"/>
                      <a:pt x="0" y="336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321"/>
                      <a:pt x="78" y="355"/>
                      <a:pt x="174" y="355"/>
                    </a:cubicBezTo>
                    <a:cubicBezTo>
                      <a:pt x="270" y="355"/>
                      <a:pt x="348" y="321"/>
                      <a:pt x="348" y="280"/>
                    </a:cubicBezTo>
                    <a:lnTo>
                      <a:pt x="348" y="336"/>
                    </a:lnTo>
                    <a:close/>
                    <a:moveTo>
                      <a:pt x="348" y="430"/>
                    </a:moveTo>
                    <a:cubicBezTo>
                      <a:pt x="348" y="471"/>
                      <a:pt x="270" y="504"/>
                      <a:pt x="174" y="504"/>
                    </a:cubicBezTo>
                    <a:cubicBezTo>
                      <a:pt x="78" y="504"/>
                      <a:pt x="0" y="471"/>
                      <a:pt x="0" y="430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415"/>
                      <a:pt x="78" y="448"/>
                      <a:pt x="174" y="448"/>
                    </a:cubicBezTo>
                    <a:cubicBezTo>
                      <a:pt x="270" y="448"/>
                      <a:pt x="348" y="415"/>
                      <a:pt x="348" y="374"/>
                    </a:cubicBezTo>
                    <a:lnTo>
                      <a:pt x="348" y="430"/>
                    </a:lnTo>
                    <a:close/>
                    <a:moveTo>
                      <a:pt x="348" y="523"/>
                    </a:moveTo>
                    <a:cubicBezTo>
                      <a:pt x="348" y="564"/>
                      <a:pt x="270" y="598"/>
                      <a:pt x="174" y="598"/>
                    </a:cubicBezTo>
                    <a:cubicBezTo>
                      <a:pt x="78" y="598"/>
                      <a:pt x="0" y="564"/>
                      <a:pt x="0" y="523"/>
                    </a:cubicBezTo>
                    <a:cubicBezTo>
                      <a:pt x="0" y="467"/>
                      <a:pt x="0" y="467"/>
                      <a:pt x="0" y="467"/>
                    </a:cubicBezTo>
                    <a:cubicBezTo>
                      <a:pt x="0" y="508"/>
                      <a:pt x="78" y="542"/>
                      <a:pt x="174" y="542"/>
                    </a:cubicBezTo>
                    <a:cubicBezTo>
                      <a:pt x="270" y="542"/>
                      <a:pt x="348" y="508"/>
                      <a:pt x="348" y="467"/>
                    </a:cubicBezTo>
                    <a:lnTo>
                      <a:pt x="348" y="5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8" name="Freeform 75"/>
              <p:cNvSpPr>
                <a:spLocks/>
              </p:cNvSpPr>
              <p:nvPr/>
            </p:nvSpPr>
            <p:spPr bwMode="gray">
              <a:xfrm>
                <a:off x="9266696" y="3063037"/>
                <a:ext cx="302293" cy="114131"/>
              </a:xfrm>
              <a:custGeom>
                <a:avLst/>
                <a:gdLst>
                  <a:gd name="T0" fmla="*/ 348 w 348"/>
                  <a:gd name="T1" fmla="*/ 56 h 131"/>
                  <a:gd name="T2" fmla="*/ 174 w 348"/>
                  <a:gd name="T3" fmla="*/ 131 h 131"/>
                  <a:gd name="T4" fmla="*/ 0 w 348"/>
                  <a:gd name="T5" fmla="*/ 56 h 131"/>
                  <a:gd name="T6" fmla="*/ 0 w 348"/>
                  <a:gd name="T7" fmla="*/ 0 h 131"/>
                  <a:gd name="T8" fmla="*/ 174 w 348"/>
                  <a:gd name="T9" fmla="*/ 75 h 131"/>
                  <a:gd name="T10" fmla="*/ 348 w 348"/>
                  <a:gd name="T11" fmla="*/ 0 h 131"/>
                  <a:gd name="T12" fmla="*/ 348 w 348"/>
                  <a:gd name="T13" fmla="*/ 5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348" y="56"/>
                    </a:moveTo>
                    <a:cubicBezTo>
                      <a:pt x="348" y="98"/>
                      <a:pt x="270" y="131"/>
                      <a:pt x="174" y="131"/>
                    </a:cubicBezTo>
                    <a:cubicBezTo>
                      <a:pt x="78" y="131"/>
                      <a:pt x="0" y="98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78" y="75"/>
                      <a:pt x="174" y="75"/>
                    </a:cubicBezTo>
                    <a:cubicBezTo>
                      <a:pt x="270" y="75"/>
                      <a:pt x="348" y="42"/>
                      <a:pt x="348" y="0"/>
                    </a:cubicBezTo>
                    <a:lnTo>
                      <a:pt x="348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18" name="Gruppieren 398"/>
            <p:cNvGrpSpPr/>
            <p:nvPr/>
          </p:nvGrpSpPr>
          <p:grpSpPr bwMode="gray">
            <a:xfrm>
              <a:off x="9741214" y="2560243"/>
              <a:ext cx="303835" cy="616925"/>
              <a:chOff x="9741214" y="2560243"/>
              <a:chExt cx="303835" cy="616925"/>
            </a:xfrm>
            <a:grpFill/>
          </p:grpSpPr>
          <p:sp>
            <p:nvSpPr>
              <p:cNvPr id="234" name="Oval 71"/>
              <p:cNvSpPr>
                <a:spLocks noChangeArrowheads="1"/>
              </p:cNvSpPr>
              <p:nvPr/>
            </p:nvSpPr>
            <p:spPr bwMode="gray">
              <a:xfrm>
                <a:off x="9741214" y="2560243"/>
                <a:ext cx="302807" cy="13006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5" name="Freeform 76"/>
              <p:cNvSpPr>
                <a:spLocks noEditPoints="1"/>
              </p:cNvSpPr>
              <p:nvPr/>
            </p:nvSpPr>
            <p:spPr bwMode="gray">
              <a:xfrm>
                <a:off x="9741728" y="2657409"/>
                <a:ext cx="303321" cy="519759"/>
              </a:xfrm>
              <a:custGeom>
                <a:avLst/>
                <a:gdLst>
                  <a:gd name="T0" fmla="*/ 349 w 349"/>
                  <a:gd name="T1" fmla="*/ 56 h 598"/>
                  <a:gd name="T2" fmla="*/ 175 w 349"/>
                  <a:gd name="T3" fmla="*/ 131 h 598"/>
                  <a:gd name="T4" fmla="*/ 0 w 349"/>
                  <a:gd name="T5" fmla="*/ 56 h 598"/>
                  <a:gd name="T6" fmla="*/ 0 w 349"/>
                  <a:gd name="T7" fmla="*/ 0 h 598"/>
                  <a:gd name="T8" fmla="*/ 175 w 349"/>
                  <a:gd name="T9" fmla="*/ 75 h 598"/>
                  <a:gd name="T10" fmla="*/ 349 w 349"/>
                  <a:gd name="T11" fmla="*/ 0 h 598"/>
                  <a:gd name="T12" fmla="*/ 349 w 349"/>
                  <a:gd name="T13" fmla="*/ 56 h 598"/>
                  <a:gd name="T14" fmla="*/ 349 w 349"/>
                  <a:gd name="T15" fmla="*/ 150 h 598"/>
                  <a:gd name="T16" fmla="*/ 175 w 349"/>
                  <a:gd name="T17" fmla="*/ 225 h 598"/>
                  <a:gd name="T18" fmla="*/ 0 w 349"/>
                  <a:gd name="T19" fmla="*/ 150 h 598"/>
                  <a:gd name="T20" fmla="*/ 0 w 349"/>
                  <a:gd name="T21" fmla="*/ 94 h 598"/>
                  <a:gd name="T22" fmla="*/ 175 w 349"/>
                  <a:gd name="T23" fmla="*/ 169 h 598"/>
                  <a:gd name="T24" fmla="*/ 349 w 349"/>
                  <a:gd name="T25" fmla="*/ 94 h 598"/>
                  <a:gd name="T26" fmla="*/ 349 w 349"/>
                  <a:gd name="T27" fmla="*/ 150 h 598"/>
                  <a:gd name="T28" fmla="*/ 349 w 349"/>
                  <a:gd name="T29" fmla="*/ 243 h 598"/>
                  <a:gd name="T30" fmla="*/ 175 w 349"/>
                  <a:gd name="T31" fmla="*/ 318 h 598"/>
                  <a:gd name="T32" fmla="*/ 0 w 349"/>
                  <a:gd name="T33" fmla="*/ 243 h 598"/>
                  <a:gd name="T34" fmla="*/ 0 w 349"/>
                  <a:gd name="T35" fmla="*/ 187 h 598"/>
                  <a:gd name="T36" fmla="*/ 175 w 349"/>
                  <a:gd name="T37" fmla="*/ 262 h 598"/>
                  <a:gd name="T38" fmla="*/ 349 w 349"/>
                  <a:gd name="T39" fmla="*/ 187 h 598"/>
                  <a:gd name="T40" fmla="*/ 349 w 349"/>
                  <a:gd name="T41" fmla="*/ 243 h 598"/>
                  <a:gd name="T42" fmla="*/ 349 w 349"/>
                  <a:gd name="T43" fmla="*/ 337 h 598"/>
                  <a:gd name="T44" fmla="*/ 175 w 349"/>
                  <a:gd name="T45" fmla="*/ 411 h 598"/>
                  <a:gd name="T46" fmla="*/ 0 w 349"/>
                  <a:gd name="T47" fmla="*/ 337 h 598"/>
                  <a:gd name="T48" fmla="*/ 0 w 349"/>
                  <a:gd name="T49" fmla="*/ 281 h 598"/>
                  <a:gd name="T50" fmla="*/ 175 w 349"/>
                  <a:gd name="T51" fmla="*/ 355 h 598"/>
                  <a:gd name="T52" fmla="*/ 349 w 349"/>
                  <a:gd name="T53" fmla="*/ 281 h 598"/>
                  <a:gd name="T54" fmla="*/ 349 w 349"/>
                  <a:gd name="T55" fmla="*/ 337 h 598"/>
                  <a:gd name="T56" fmla="*/ 349 w 349"/>
                  <a:gd name="T57" fmla="*/ 430 h 598"/>
                  <a:gd name="T58" fmla="*/ 175 w 349"/>
                  <a:gd name="T59" fmla="*/ 505 h 598"/>
                  <a:gd name="T60" fmla="*/ 0 w 349"/>
                  <a:gd name="T61" fmla="*/ 430 h 598"/>
                  <a:gd name="T62" fmla="*/ 0 w 349"/>
                  <a:gd name="T63" fmla="*/ 374 h 598"/>
                  <a:gd name="T64" fmla="*/ 175 w 349"/>
                  <a:gd name="T65" fmla="*/ 449 h 598"/>
                  <a:gd name="T66" fmla="*/ 349 w 349"/>
                  <a:gd name="T67" fmla="*/ 374 h 598"/>
                  <a:gd name="T68" fmla="*/ 349 w 349"/>
                  <a:gd name="T69" fmla="*/ 430 h 598"/>
                  <a:gd name="T70" fmla="*/ 349 w 349"/>
                  <a:gd name="T71" fmla="*/ 523 h 598"/>
                  <a:gd name="T72" fmla="*/ 175 w 349"/>
                  <a:gd name="T73" fmla="*/ 598 h 598"/>
                  <a:gd name="T74" fmla="*/ 0 w 349"/>
                  <a:gd name="T75" fmla="*/ 523 h 598"/>
                  <a:gd name="T76" fmla="*/ 0 w 349"/>
                  <a:gd name="T77" fmla="*/ 467 h 598"/>
                  <a:gd name="T78" fmla="*/ 175 w 349"/>
                  <a:gd name="T79" fmla="*/ 542 h 598"/>
                  <a:gd name="T80" fmla="*/ 349 w 349"/>
                  <a:gd name="T81" fmla="*/ 467 h 598"/>
                  <a:gd name="T82" fmla="*/ 349 w 349"/>
                  <a:gd name="T83" fmla="*/ 523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49" h="598">
                    <a:moveTo>
                      <a:pt x="349" y="56"/>
                    </a:moveTo>
                    <a:cubicBezTo>
                      <a:pt x="349" y="98"/>
                      <a:pt x="271" y="131"/>
                      <a:pt x="175" y="131"/>
                    </a:cubicBezTo>
                    <a:cubicBezTo>
                      <a:pt x="79" y="131"/>
                      <a:pt x="0" y="98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79" y="75"/>
                      <a:pt x="175" y="75"/>
                    </a:cubicBezTo>
                    <a:cubicBezTo>
                      <a:pt x="271" y="75"/>
                      <a:pt x="349" y="42"/>
                      <a:pt x="349" y="0"/>
                    </a:cubicBezTo>
                    <a:lnTo>
                      <a:pt x="349" y="56"/>
                    </a:lnTo>
                    <a:close/>
                    <a:moveTo>
                      <a:pt x="349" y="150"/>
                    </a:moveTo>
                    <a:cubicBezTo>
                      <a:pt x="349" y="191"/>
                      <a:pt x="271" y="225"/>
                      <a:pt x="175" y="225"/>
                    </a:cubicBezTo>
                    <a:cubicBezTo>
                      <a:pt x="79" y="225"/>
                      <a:pt x="0" y="191"/>
                      <a:pt x="0" y="15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0" y="135"/>
                      <a:pt x="79" y="169"/>
                      <a:pt x="175" y="169"/>
                    </a:cubicBezTo>
                    <a:cubicBezTo>
                      <a:pt x="271" y="169"/>
                      <a:pt x="349" y="135"/>
                      <a:pt x="349" y="94"/>
                    </a:cubicBezTo>
                    <a:lnTo>
                      <a:pt x="349" y="150"/>
                    </a:lnTo>
                    <a:close/>
                    <a:moveTo>
                      <a:pt x="349" y="243"/>
                    </a:moveTo>
                    <a:cubicBezTo>
                      <a:pt x="349" y="284"/>
                      <a:pt x="271" y="318"/>
                      <a:pt x="175" y="318"/>
                    </a:cubicBezTo>
                    <a:cubicBezTo>
                      <a:pt x="79" y="318"/>
                      <a:pt x="0" y="284"/>
                      <a:pt x="0" y="243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228"/>
                      <a:pt x="79" y="262"/>
                      <a:pt x="175" y="262"/>
                    </a:cubicBezTo>
                    <a:cubicBezTo>
                      <a:pt x="271" y="262"/>
                      <a:pt x="349" y="228"/>
                      <a:pt x="349" y="187"/>
                    </a:cubicBezTo>
                    <a:lnTo>
                      <a:pt x="349" y="243"/>
                    </a:lnTo>
                    <a:close/>
                    <a:moveTo>
                      <a:pt x="349" y="337"/>
                    </a:moveTo>
                    <a:cubicBezTo>
                      <a:pt x="349" y="378"/>
                      <a:pt x="271" y="411"/>
                      <a:pt x="175" y="411"/>
                    </a:cubicBezTo>
                    <a:cubicBezTo>
                      <a:pt x="79" y="411"/>
                      <a:pt x="0" y="378"/>
                      <a:pt x="0" y="337"/>
                    </a:cubicBezTo>
                    <a:cubicBezTo>
                      <a:pt x="0" y="281"/>
                      <a:pt x="0" y="281"/>
                      <a:pt x="0" y="281"/>
                    </a:cubicBezTo>
                    <a:cubicBezTo>
                      <a:pt x="0" y="322"/>
                      <a:pt x="79" y="355"/>
                      <a:pt x="175" y="355"/>
                    </a:cubicBezTo>
                    <a:cubicBezTo>
                      <a:pt x="271" y="355"/>
                      <a:pt x="349" y="322"/>
                      <a:pt x="349" y="281"/>
                    </a:cubicBezTo>
                    <a:lnTo>
                      <a:pt x="349" y="337"/>
                    </a:lnTo>
                    <a:close/>
                    <a:moveTo>
                      <a:pt x="349" y="430"/>
                    </a:moveTo>
                    <a:cubicBezTo>
                      <a:pt x="349" y="471"/>
                      <a:pt x="271" y="505"/>
                      <a:pt x="175" y="505"/>
                    </a:cubicBezTo>
                    <a:cubicBezTo>
                      <a:pt x="79" y="505"/>
                      <a:pt x="0" y="471"/>
                      <a:pt x="0" y="430"/>
                    </a:cubicBezTo>
                    <a:cubicBezTo>
                      <a:pt x="0" y="374"/>
                      <a:pt x="0" y="374"/>
                      <a:pt x="0" y="374"/>
                    </a:cubicBezTo>
                    <a:cubicBezTo>
                      <a:pt x="0" y="415"/>
                      <a:pt x="79" y="449"/>
                      <a:pt x="175" y="449"/>
                    </a:cubicBezTo>
                    <a:cubicBezTo>
                      <a:pt x="271" y="449"/>
                      <a:pt x="349" y="415"/>
                      <a:pt x="349" y="374"/>
                    </a:cubicBezTo>
                    <a:lnTo>
                      <a:pt x="349" y="430"/>
                    </a:lnTo>
                    <a:close/>
                    <a:moveTo>
                      <a:pt x="349" y="523"/>
                    </a:moveTo>
                    <a:cubicBezTo>
                      <a:pt x="349" y="565"/>
                      <a:pt x="271" y="598"/>
                      <a:pt x="175" y="598"/>
                    </a:cubicBezTo>
                    <a:cubicBezTo>
                      <a:pt x="79" y="598"/>
                      <a:pt x="0" y="565"/>
                      <a:pt x="0" y="523"/>
                    </a:cubicBezTo>
                    <a:cubicBezTo>
                      <a:pt x="0" y="467"/>
                      <a:pt x="0" y="467"/>
                      <a:pt x="0" y="467"/>
                    </a:cubicBezTo>
                    <a:cubicBezTo>
                      <a:pt x="0" y="509"/>
                      <a:pt x="79" y="542"/>
                      <a:pt x="175" y="542"/>
                    </a:cubicBezTo>
                    <a:cubicBezTo>
                      <a:pt x="271" y="542"/>
                      <a:pt x="349" y="509"/>
                      <a:pt x="349" y="467"/>
                    </a:cubicBezTo>
                    <a:lnTo>
                      <a:pt x="349" y="52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19" name="Gruppieren 389"/>
            <p:cNvGrpSpPr/>
            <p:nvPr/>
          </p:nvGrpSpPr>
          <p:grpSpPr bwMode="gray">
            <a:xfrm>
              <a:off x="9504726" y="2202941"/>
              <a:ext cx="302293" cy="860095"/>
              <a:chOff x="9504726" y="2202941"/>
              <a:chExt cx="302293" cy="860095"/>
            </a:xfrm>
            <a:grpFill/>
          </p:grpSpPr>
          <p:sp>
            <p:nvSpPr>
              <p:cNvPr id="224" name="Oval 73"/>
              <p:cNvSpPr>
                <a:spLocks noChangeArrowheads="1"/>
              </p:cNvSpPr>
              <p:nvPr/>
            </p:nvSpPr>
            <p:spPr bwMode="gray">
              <a:xfrm>
                <a:off x="9504726" y="2202941"/>
                <a:ext cx="302293" cy="130582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Freeform 77"/>
              <p:cNvSpPr>
                <a:spLocks/>
              </p:cNvSpPr>
              <p:nvPr/>
            </p:nvSpPr>
            <p:spPr bwMode="gray">
              <a:xfrm>
                <a:off x="9504726" y="2300106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8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2"/>
                      <a:pt x="270" y="75"/>
                      <a:pt x="174" y="75"/>
                    </a:cubicBezTo>
                    <a:cubicBezTo>
                      <a:pt x="78" y="75"/>
                      <a:pt x="0" y="42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8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Freeform 78"/>
              <p:cNvSpPr>
                <a:spLocks/>
              </p:cNvSpPr>
              <p:nvPr/>
            </p:nvSpPr>
            <p:spPr bwMode="gray">
              <a:xfrm>
                <a:off x="9504726" y="2381849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7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1"/>
                      <a:pt x="270" y="75"/>
                      <a:pt x="174" y="75"/>
                    </a:cubicBezTo>
                    <a:cubicBezTo>
                      <a:pt x="78" y="75"/>
                      <a:pt x="0" y="41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7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Freeform 79"/>
              <p:cNvSpPr>
                <a:spLocks/>
              </p:cNvSpPr>
              <p:nvPr/>
            </p:nvSpPr>
            <p:spPr bwMode="gray">
              <a:xfrm>
                <a:off x="9585440" y="2764342"/>
                <a:ext cx="140864" cy="55523"/>
              </a:xfrm>
              <a:custGeom>
                <a:avLst/>
                <a:gdLst>
                  <a:gd name="T0" fmla="*/ 81 w 162"/>
                  <a:gd name="T1" fmla="*/ 8 h 64"/>
                  <a:gd name="T2" fmla="*/ 0 w 162"/>
                  <a:gd name="T3" fmla="*/ 0 h 64"/>
                  <a:gd name="T4" fmla="*/ 0 w 162"/>
                  <a:gd name="T5" fmla="*/ 56 h 64"/>
                  <a:gd name="T6" fmla="*/ 81 w 162"/>
                  <a:gd name="T7" fmla="*/ 64 h 64"/>
                  <a:gd name="T8" fmla="*/ 162 w 162"/>
                  <a:gd name="T9" fmla="*/ 56 h 64"/>
                  <a:gd name="T10" fmla="*/ 162 w 162"/>
                  <a:gd name="T11" fmla="*/ 0 h 64"/>
                  <a:gd name="T12" fmla="*/ 81 w 162"/>
                  <a:gd name="T13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4">
                    <a:moveTo>
                      <a:pt x="81" y="8"/>
                    </a:moveTo>
                    <a:cubicBezTo>
                      <a:pt x="52" y="8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4"/>
                      <a:pt x="81" y="64"/>
                    </a:cubicBezTo>
                    <a:cubicBezTo>
                      <a:pt x="110" y="64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8"/>
                      <a:pt x="8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8" name="Freeform 80"/>
              <p:cNvSpPr>
                <a:spLocks/>
              </p:cNvSpPr>
              <p:nvPr/>
            </p:nvSpPr>
            <p:spPr bwMode="gray">
              <a:xfrm>
                <a:off x="9585440" y="2845057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5"/>
                      <a:pt x="81" y="65"/>
                    </a:cubicBezTo>
                    <a:cubicBezTo>
                      <a:pt x="110" y="65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Freeform 81"/>
              <p:cNvSpPr>
                <a:spLocks/>
              </p:cNvSpPr>
              <p:nvPr/>
            </p:nvSpPr>
            <p:spPr bwMode="gray">
              <a:xfrm>
                <a:off x="9585440" y="2925771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6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2"/>
                      <a:pt x="52" y="65"/>
                      <a:pt x="81" y="65"/>
                    </a:cubicBezTo>
                    <a:cubicBezTo>
                      <a:pt x="110" y="65"/>
                      <a:pt x="138" y="62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6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Freeform 82"/>
              <p:cNvSpPr>
                <a:spLocks/>
              </p:cNvSpPr>
              <p:nvPr/>
            </p:nvSpPr>
            <p:spPr bwMode="gray">
              <a:xfrm>
                <a:off x="9585440" y="3007513"/>
                <a:ext cx="140864" cy="55523"/>
              </a:xfrm>
              <a:custGeom>
                <a:avLst/>
                <a:gdLst>
                  <a:gd name="T0" fmla="*/ 81 w 162"/>
                  <a:gd name="T1" fmla="*/ 8 h 64"/>
                  <a:gd name="T2" fmla="*/ 0 w 162"/>
                  <a:gd name="T3" fmla="*/ 0 h 64"/>
                  <a:gd name="T4" fmla="*/ 0 w 162"/>
                  <a:gd name="T5" fmla="*/ 56 h 64"/>
                  <a:gd name="T6" fmla="*/ 81 w 162"/>
                  <a:gd name="T7" fmla="*/ 64 h 64"/>
                  <a:gd name="T8" fmla="*/ 162 w 162"/>
                  <a:gd name="T9" fmla="*/ 56 h 64"/>
                  <a:gd name="T10" fmla="*/ 162 w 162"/>
                  <a:gd name="T11" fmla="*/ 0 h 64"/>
                  <a:gd name="T12" fmla="*/ 81 w 162"/>
                  <a:gd name="T13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4">
                    <a:moveTo>
                      <a:pt x="81" y="8"/>
                    </a:moveTo>
                    <a:cubicBezTo>
                      <a:pt x="52" y="8"/>
                      <a:pt x="24" y="5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1"/>
                      <a:pt x="52" y="64"/>
                      <a:pt x="81" y="64"/>
                    </a:cubicBezTo>
                    <a:cubicBezTo>
                      <a:pt x="110" y="64"/>
                      <a:pt x="138" y="61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5"/>
                      <a:pt x="110" y="8"/>
                      <a:pt x="8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Freeform 83"/>
              <p:cNvSpPr>
                <a:spLocks/>
              </p:cNvSpPr>
              <p:nvPr/>
            </p:nvSpPr>
            <p:spPr bwMode="gray">
              <a:xfrm>
                <a:off x="9577729" y="2462563"/>
                <a:ext cx="229290" cy="114131"/>
              </a:xfrm>
              <a:custGeom>
                <a:avLst/>
                <a:gdLst>
                  <a:gd name="T0" fmla="*/ 90 w 264"/>
                  <a:gd name="T1" fmla="*/ 75 h 131"/>
                  <a:gd name="T2" fmla="*/ 0 w 264"/>
                  <a:gd name="T3" fmla="*/ 64 h 131"/>
                  <a:gd name="T4" fmla="*/ 9 w 264"/>
                  <a:gd name="T5" fmla="*/ 94 h 131"/>
                  <a:gd name="T6" fmla="*/ 9 w 264"/>
                  <a:gd name="T7" fmla="*/ 122 h 131"/>
                  <a:gd name="T8" fmla="*/ 90 w 264"/>
                  <a:gd name="T9" fmla="*/ 131 h 131"/>
                  <a:gd name="T10" fmla="*/ 264 w 264"/>
                  <a:gd name="T11" fmla="*/ 56 h 131"/>
                  <a:gd name="T12" fmla="*/ 264 w 264"/>
                  <a:gd name="T13" fmla="*/ 0 h 131"/>
                  <a:gd name="T14" fmla="*/ 90 w 264"/>
                  <a:gd name="T15" fmla="*/ 75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4" h="131">
                    <a:moveTo>
                      <a:pt x="90" y="75"/>
                    </a:moveTo>
                    <a:cubicBezTo>
                      <a:pt x="57" y="75"/>
                      <a:pt x="26" y="71"/>
                      <a:pt x="0" y="64"/>
                    </a:cubicBezTo>
                    <a:cubicBezTo>
                      <a:pt x="6" y="74"/>
                      <a:pt x="9" y="83"/>
                      <a:pt x="9" y="94"/>
                    </a:cubicBezTo>
                    <a:cubicBezTo>
                      <a:pt x="9" y="122"/>
                      <a:pt x="9" y="122"/>
                      <a:pt x="9" y="122"/>
                    </a:cubicBezTo>
                    <a:cubicBezTo>
                      <a:pt x="33" y="128"/>
                      <a:pt x="61" y="131"/>
                      <a:pt x="90" y="131"/>
                    </a:cubicBezTo>
                    <a:cubicBezTo>
                      <a:pt x="186" y="131"/>
                      <a:pt x="264" y="98"/>
                      <a:pt x="264" y="56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64" y="42"/>
                      <a:pt x="186" y="75"/>
                      <a:pt x="90" y="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2" name="Freeform 84"/>
              <p:cNvSpPr>
                <a:spLocks/>
              </p:cNvSpPr>
              <p:nvPr/>
            </p:nvSpPr>
            <p:spPr bwMode="gray">
              <a:xfrm>
                <a:off x="9585440" y="2599829"/>
                <a:ext cx="148576" cy="57580"/>
              </a:xfrm>
              <a:custGeom>
                <a:avLst/>
                <a:gdLst>
                  <a:gd name="T0" fmla="*/ 81 w 171"/>
                  <a:gd name="T1" fmla="*/ 10 h 66"/>
                  <a:gd name="T2" fmla="*/ 0 w 171"/>
                  <a:gd name="T3" fmla="*/ 2 h 66"/>
                  <a:gd name="T4" fmla="*/ 0 w 171"/>
                  <a:gd name="T5" fmla="*/ 58 h 66"/>
                  <a:gd name="T6" fmla="*/ 81 w 171"/>
                  <a:gd name="T7" fmla="*/ 66 h 66"/>
                  <a:gd name="T8" fmla="*/ 162 w 171"/>
                  <a:gd name="T9" fmla="*/ 58 h 66"/>
                  <a:gd name="T10" fmla="*/ 162 w 171"/>
                  <a:gd name="T11" fmla="*/ 29 h 66"/>
                  <a:gd name="T12" fmla="*/ 171 w 171"/>
                  <a:gd name="T13" fmla="*/ 0 h 66"/>
                  <a:gd name="T14" fmla="*/ 81 w 171"/>
                  <a:gd name="T15" fmla="*/ 1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1" h="66">
                    <a:moveTo>
                      <a:pt x="81" y="10"/>
                    </a:moveTo>
                    <a:cubicBezTo>
                      <a:pt x="52" y="10"/>
                      <a:pt x="24" y="7"/>
                      <a:pt x="0" y="2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24" y="63"/>
                      <a:pt x="52" y="66"/>
                      <a:pt x="81" y="66"/>
                    </a:cubicBezTo>
                    <a:cubicBezTo>
                      <a:pt x="110" y="66"/>
                      <a:pt x="138" y="63"/>
                      <a:pt x="162" y="58"/>
                    </a:cubicBezTo>
                    <a:cubicBezTo>
                      <a:pt x="162" y="29"/>
                      <a:pt x="162" y="29"/>
                      <a:pt x="162" y="29"/>
                    </a:cubicBezTo>
                    <a:cubicBezTo>
                      <a:pt x="162" y="19"/>
                      <a:pt x="165" y="9"/>
                      <a:pt x="171" y="0"/>
                    </a:cubicBezTo>
                    <a:cubicBezTo>
                      <a:pt x="144" y="6"/>
                      <a:pt x="114" y="10"/>
                      <a:pt x="8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3" name="Freeform 85"/>
              <p:cNvSpPr>
                <a:spLocks/>
              </p:cNvSpPr>
              <p:nvPr/>
            </p:nvSpPr>
            <p:spPr bwMode="gray">
              <a:xfrm>
                <a:off x="9585440" y="2682600"/>
                <a:ext cx="140864" cy="56551"/>
              </a:xfrm>
              <a:custGeom>
                <a:avLst/>
                <a:gdLst>
                  <a:gd name="T0" fmla="*/ 81 w 162"/>
                  <a:gd name="T1" fmla="*/ 9 h 65"/>
                  <a:gd name="T2" fmla="*/ 0 w 162"/>
                  <a:gd name="T3" fmla="*/ 0 h 65"/>
                  <a:gd name="T4" fmla="*/ 0 w 162"/>
                  <a:gd name="T5" fmla="*/ 56 h 65"/>
                  <a:gd name="T6" fmla="*/ 81 w 162"/>
                  <a:gd name="T7" fmla="*/ 65 h 65"/>
                  <a:gd name="T8" fmla="*/ 162 w 162"/>
                  <a:gd name="T9" fmla="*/ 56 h 65"/>
                  <a:gd name="T10" fmla="*/ 162 w 162"/>
                  <a:gd name="T11" fmla="*/ 0 h 65"/>
                  <a:gd name="T12" fmla="*/ 81 w 162"/>
                  <a:gd name="T13" fmla="*/ 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65">
                    <a:moveTo>
                      <a:pt x="81" y="9"/>
                    </a:moveTo>
                    <a:cubicBezTo>
                      <a:pt x="52" y="9"/>
                      <a:pt x="24" y="6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4" y="62"/>
                      <a:pt x="52" y="65"/>
                      <a:pt x="81" y="65"/>
                    </a:cubicBezTo>
                    <a:cubicBezTo>
                      <a:pt x="110" y="65"/>
                      <a:pt x="138" y="62"/>
                      <a:pt x="162" y="56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38" y="6"/>
                      <a:pt x="110" y="9"/>
                      <a:pt x="8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20" name="Gruppieren 397"/>
            <p:cNvGrpSpPr/>
            <p:nvPr/>
          </p:nvGrpSpPr>
          <p:grpSpPr bwMode="gray">
            <a:xfrm>
              <a:off x="10107279" y="2884129"/>
              <a:ext cx="302293" cy="293039"/>
              <a:chOff x="10080867" y="2862297"/>
              <a:chExt cx="302293" cy="293039"/>
            </a:xfrm>
            <a:grpFill/>
          </p:grpSpPr>
          <p:sp>
            <p:nvSpPr>
              <p:cNvPr id="221" name="Oval 73"/>
              <p:cNvSpPr>
                <a:spLocks noChangeArrowheads="1"/>
              </p:cNvSpPr>
              <p:nvPr/>
            </p:nvSpPr>
            <p:spPr bwMode="gray">
              <a:xfrm>
                <a:off x="10080867" y="2862297"/>
                <a:ext cx="302293" cy="130582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Freeform 77"/>
              <p:cNvSpPr>
                <a:spLocks/>
              </p:cNvSpPr>
              <p:nvPr/>
            </p:nvSpPr>
            <p:spPr bwMode="gray">
              <a:xfrm>
                <a:off x="10080867" y="2959462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8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2"/>
                      <a:pt x="270" y="75"/>
                      <a:pt x="174" y="75"/>
                    </a:cubicBezTo>
                    <a:cubicBezTo>
                      <a:pt x="78" y="75"/>
                      <a:pt x="0" y="42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8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Freeform 78"/>
              <p:cNvSpPr>
                <a:spLocks/>
              </p:cNvSpPr>
              <p:nvPr/>
            </p:nvSpPr>
            <p:spPr bwMode="gray">
              <a:xfrm>
                <a:off x="10080867" y="3041205"/>
                <a:ext cx="302293" cy="114131"/>
              </a:xfrm>
              <a:custGeom>
                <a:avLst/>
                <a:gdLst>
                  <a:gd name="T0" fmla="*/ 174 w 348"/>
                  <a:gd name="T1" fmla="*/ 131 h 131"/>
                  <a:gd name="T2" fmla="*/ 348 w 348"/>
                  <a:gd name="T3" fmla="*/ 56 h 131"/>
                  <a:gd name="T4" fmla="*/ 348 w 348"/>
                  <a:gd name="T5" fmla="*/ 0 h 131"/>
                  <a:gd name="T6" fmla="*/ 174 w 348"/>
                  <a:gd name="T7" fmla="*/ 75 h 131"/>
                  <a:gd name="T8" fmla="*/ 0 w 348"/>
                  <a:gd name="T9" fmla="*/ 0 h 131"/>
                  <a:gd name="T10" fmla="*/ 0 w 348"/>
                  <a:gd name="T11" fmla="*/ 56 h 131"/>
                  <a:gd name="T12" fmla="*/ 174 w 348"/>
                  <a:gd name="T1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8" h="131">
                    <a:moveTo>
                      <a:pt x="174" y="131"/>
                    </a:moveTo>
                    <a:cubicBezTo>
                      <a:pt x="270" y="131"/>
                      <a:pt x="348" y="97"/>
                      <a:pt x="348" y="56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41"/>
                      <a:pt x="270" y="75"/>
                      <a:pt x="174" y="75"/>
                    </a:cubicBezTo>
                    <a:cubicBezTo>
                      <a:pt x="78" y="75"/>
                      <a:pt x="0" y="41"/>
                      <a:pt x="0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97"/>
                      <a:pt x="78" y="131"/>
                      <a:pt x="174" y="1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573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1638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36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4" name="Freeform 869"/>
          <p:cNvSpPr/>
          <p:nvPr/>
        </p:nvSpPr>
        <p:spPr>
          <a:xfrm rot="1592352">
            <a:off x="7438978" y="5999245"/>
            <a:ext cx="3688866" cy="521555"/>
          </a:xfrm>
          <a:custGeom>
            <a:avLst/>
            <a:gdLst/>
            <a:ahLst/>
            <a:cxnLst/>
            <a:rect l="l" t="t" r="r" b="b"/>
            <a:pathLst>
              <a:path w="3688865" h="521555">
                <a:moveTo>
                  <a:pt x="0" y="0"/>
                </a:moveTo>
                <a:lnTo>
                  <a:pt x="3688865" y="1820"/>
                </a:lnTo>
                <a:lnTo>
                  <a:pt x="2645081" y="521444"/>
                </a:lnTo>
                <a:lnTo>
                  <a:pt x="260484" y="521555"/>
                </a:lnTo>
                <a:close/>
              </a:path>
            </a:pathLst>
          </a:custGeom>
          <a:solidFill>
            <a:srgbClr val="DFE6ED"/>
          </a:solidFill>
          <a:ln w="25400" cap="flat" cmpd="sng" algn="ctr">
            <a:noFill/>
            <a:prstDash val="solid"/>
          </a:ln>
          <a:effectLst/>
        </p:spPr>
        <p:txBody>
          <a:bodyPr lIns="91417" tIns="45709" rIns="91417" bIns="45709" rtlCol="0" anchor="ctr"/>
          <a:lstStyle/>
          <a:p>
            <a:pPr algn="ctr"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l-Time Optimiser </a:t>
            </a:r>
            <a:r>
              <a:rPr lang="en-US" dirty="0"/>
              <a:t>(</a:t>
            </a:r>
            <a:r>
              <a:rPr lang="en-US" dirty="0" smtClean="0"/>
              <a:t>RTO) Project</a:t>
            </a:r>
            <a:endParaRPr lang="en-US" noProof="0" dirty="0"/>
          </a:p>
        </p:txBody>
      </p:sp>
      <p:sp>
        <p:nvSpPr>
          <p:cNvPr id="6" name="Freeform 425"/>
          <p:cNvSpPr>
            <a:spLocks/>
          </p:cNvSpPr>
          <p:nvPr/>
        </p:nvSpPr>
        <p:spPr bwMode="auto">
          <a:xfrm>
            <a:off x="5792165" y="3660330"/>
            <a:ext cx="4834713" cy="2194687"/>
          </a:xfrm>
          <a:custGeom>
            <a:avLst/>
            <a:gdLst/>
            <a:ahLst/>
            <a:cxnLst/>
            <a:rect l="l" t="t" r="r" b="b"/>
            <a:pathLst>
              <a:path w="4834713" h="2194686">
                <a:moveTo>
                  <a:pt x="3593804" y="0"/>
                </a:moveTo>
                <a:lnTo>
                  <a:pt x="4834713" y="0"/>
                </a:lnTo>
                <a:lnTo>
                  <a:pt x="475905" y="2194686"/>
                </a:lnTo>
                <a:lnTo>
                  <a:pt x="0" y="2192168"/>
                </a:lnTo>
                <a:lnTo>
                  <a:pt x="0" y="1800886"/>
                </a:lnTo>
                <a:close/>
              </a:path>
            </a:pathLst>
          </a:custGeom>
          <a:solidFill>
            <a:srgbClr val="DFE6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Freeform 411"/>
          <p:cNvSpPr>
            <a:spLocks/>
          </p:cNvSpPr>
          <p:nvPr/>
        </p:nvSpPr>
        <p:spPr bwMode="auto">
          <a:xfrm>
            <a:off x="7811325" y="3756223"/>
            <a:ext cx="372268" cy="197020"/>
          </a:xfrm>
          <a:custGeom>
            <a:avLst/>
            <a:gdLst/>
            <a:ahLst/>
            <a:cxnLst>
              <a:cxn ang="0">
                <a:pos x="203" y="0"/>
              </a:cxn>
              <a:cxn ang="0">
                <a:pos x="701" y="256"/>
              </a:cxn>
              <a:cxn ang="0">
                <a:pos x="683" y="279"/>
              </a:cxn>
              <a:cxn ang="0">
                <a:pos x="525" y="371"/>
              </a:cxn>
              <a:cxn ang="0">
                <a:pos x="28" y="86"/>
              </a:cxn>
              <a:cxn ang="0">
                <a:pos x="0" y="57"/>
              </a:cxn>
              <a:cxn ang="0">
                <a:pos x="203" y="0"/>
              </a:cxn>
            </a:cxnLst>
            <a:rect l="0" t="0" r="r" b="b"/>
            <a:pathLst>
              <a:path w="701" h="371">
                <a:moveTo>
                  <a:pt x="203" y="0"/>
                </a:moveTo>
                <a:lnTo>
                  <a:pt x="701" y="256"/>
                </a:lnTo>
                <a:lnTo>
                  <a:pt x="683" y="279"/>
                </a:lnTo>
                <a:lnTo>
                  <a:pt x="525" y="371"/>
                </a:lnTo>
                <a:lnTo>
                  <a:pt x="28" y="86"/>
                </a:lnTo>
                <a:lnTo>
                  <a:pt x="0" y="57"/>
                </a:lnTo>
                <a:lnTo>
                  <a:pt x="203" y="0"/>
                </a:lnTo>
                <a:close/>
              </a:path>
            </a:pathLst>
          </a:custGeom>
          <a:solidFill>
            <a:srgbClr val="96ABA9"/>
          </a:solidFill>
          <a:ln w="0">
            <a:solidFill>
              <a:srgbClr val="96ABA9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Freeform 412"/>
          <p:cNvSpPr>
            <a:spLocks/>
          </p:cNvSpPr>
          <p:nvPr/>
        </p:nvSpPr>
        <p:spPr bwMode="auto">
          <a:xfrm>
            <a:off x="8080568" y="3892173"/>
            <a:ext cx="103024" cy="193835"/>
          </a:xfrm>
          <a:custGeom>
            <a:avLst/>
            <a:gdLst/>
            <a:ahLst/>
            <a:cxnLst>
              <a:cxn ang="0">
                <a:pos x="194" y="0"/>
              </a:cxn>
              <a:cxn ang="0">
                <a:pos x="194" y="270"/>
              </a:cxn>
              <a:cxn ang="0">
                <a:pos x="20" y="365"/>
              </a:cxn>
              <a:cxn ang="0">
                <a:pos x="0" y="332"/>
              </a:cxn>
              <a:cxn ang="0">
                <a:pos x="9" y="82"/>
              </a:cxn>
              <a:cxn ang="0">
                <a:pos x="194" y="0"/>
              </a:cxn>
            </a:cxnLst>
            <a:rect l="0" t="0" r="r" b="b"/>
            <a:pathLst>
              <a:path w="194" h="365">
                <a:moveTo>
                  <a:pt x="194" y="0"/>
                </a:moveTo>
                <a:lnTo>
                  <a:pt x="194" y="270"/>
                </a:lnTo>
                <a:lnTo>
                  <a:pt x="20" y="365"/>
                </a:lnTo>
                <a:lnTo>
                  <a:pt x="0" y="332"/>
                </a:lnTo>
                <a:lnTo>
                  <a:pt x="9" y="82"/>
                </a:lnTo>
                <a:lnTo>
                  <a:pt x="194" y="0"/>
                </a:lnTo>
                <a:close/>
              </a:path>
            </a:pathLst>
          </a:custGeom>
          <a:solidFill>
            <a:srgbClr val="687C7C"/>
          </a:solidFill>
          <a:ln w="0">
            <a:solidFill>
              <a:srgbClr val="687C7C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Freeform 413"/>
          <p:cNvSpPr>
            <a:spLocks/>
          </p:cNvSpPr>
          <p:nvPr/>
        </p:nvSpPr>
        <p:spPr bwMode="auto">
          <a:xfrm>
            <a:off x="7811336" y="3786499"/>
            <a:ext cx="279864" cy="299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7" y="277"/>
              </a:cxn>
              <a:cxn ang="0">
                <a:pos x="527" y="564"/>
              </a:cxn>
              <a:cxn ang="0">
                <a:pos x="8" y="265"/>
              </a:cxn>
              <a:cxn ang="0">
                <a:pos x="0" y="0"/>
              </a:cxn>
            </a:cxnLst>
            <a:rect l="0" t="0" r="r" b="b"/>
            <a:pathLst>
              <a:path w="527" h="564">
                <a:moveTo>
                  <a:pt x="0" y="0"/>
                </a:moveTo>
                <a:lnTo>
                  <a:pt x="527" y="277"/>
                </a:lnTo>
                <a:lnTo>
                  <a:pt x="527" y="564"/>
                </a:lnTo>
                <a:lnTo>
                  <a:pt x="8" y="265"/>
                </a:lnTo>
                <a:lnTo>
                  <a:pt x="0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Freeform 414"/>
          <p:cNvSpPr>
            <a:spLocks/>
          </p:cNvSpPr>
          <p:nvPr/>
        </p:nvSpPr>
        <p:spPr bwMode="auto">
          <a:xfrm>
            <a:off x="8003577" y="3930410"/>
            <a:ext cx="78065" cy="10674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69" y="3"/>
              </a:cxn>
              <a:cxn ang="0">
                <a:pos x="85" y="10"/>
              </a:cxn>
              <a:cxn ang="0">
                <a:pos x="101" y="21"/>
              </a:cxn>
              <a:cxn ang="0">
                <a:pos x="114" y="36"/>
              </a:cxn>
              <a:cxn ang="0">
                <a:pos x="127" y="54"/>
              </a:cxn>
              <a:cxn ang="0">
                <a:pos x="137" y="76"/>
              </a:cxn>
              <a:cxn ang="0">
                <a:pos x="144" y="99"/>
              </a:cxn>
              <a:cxn ang="0">
                <a:pos x="147" y="122"/>
              </a:cxn>
              <a:cxn ang="0">
                <a:pos x="146" y="142"/>
              </a:cxn>
              <a:cxn ang="0">
                <a:pos x="143" y="162"/>
              </a:cxn>
              <a:cxn ang="0">
                <a:pos x="135" y="178"/>
              </a:cxn>
              <a:cxn ang="0">
                <a:pos x="125" y="190"/>
              </a:cxn>
              <a:cxn ang="0">
                <a:pos x="111" y="198"/>
              </a:cxn>
              <a:cxn ang="0">
                <a:pos x="93" y="201"/>
              </a:cxn>
              <a:cxn ang="0">
                <a:pos x="73" y="197"/>
              </a:cxn>
              <a:cxn ang="0">
                <a:pos x="55" y="187"/>
              </a:cxn>
              <a:cxn ang="0">
                <a:pos x="38" y="171"/>
              </a:cxn>
              <a:cxn ang="0">
                <a:pos x="23" y="150"/>
              </a:cxn>
              <a:cxn ang="0">
                <a:pos x="10" y="125"/>
              </a:cxn>
              <a:cxn ang="0">
                <a:pos x="3" y="102"/>
              </a:cxn>
              <a:cxn ang="0">
                <a:pos x="0" y="81"/>
              </a:cxn>
              <a:cxn ang="0">
                <a:pos x="1" y="59"/>
              </a:cxn>
              <a:cxn ang="0">
                <a:pos x="5" y="40"/>
              </a:cxn>
              <a:cxn ang="0">
                <a:pos x="13" y="24"/>
              </a:cxn>
              <a:cxn ang="0">
                <a:pos x="23" y="12"/>
              </a:cxn>
              <a:cxn ang="0">
                <a:pos x="37" y="4"/>
              </a:cxn>
              <a:cxn ang="0">
                <a:pos x="53" y="0"/>
              </a:cxn>
            </a:cxnLst>
            <a:rect l="0" t="0" r="r" b="b"/>
            <a:pathLst>
              <a:path w="147" h="201">
                <a:moveTo>
                  <a:pt x="53" y="0"/>
                </a:moveTo>
                <a:lnTo>
                  <a:pt x="69" y="3"/>
                </a:lnTo>
                <a:lnTo>
                  <a:pt x="85" y="10"/>
                </a:lnTo>
                <a:lnTo>
                  <a:pt x="101" y="21"/>
                </a:lnTo>
                <a:lnTo>
                  <a:pt x="114" y="36"/>
                </a:lnTo>
                <a:lnTo>
                  <a:pt x="127" y="54"/>
                </a:lnTo>
                <a:lnTo>
                  <a:pt x="137" y="76"/>
                </a:lnTo>
                <a:lnTo>
                  <a:pt x="144" y="99"/>
                </a:lnTo>
                <a:lnTo>
                  <a:pt x="147" y="122"/>
                </a:lnTo>
                <a:lnTo>
                  <a:pt x="146" y="142"/>
                </a:lnTo>
                <a:lnTo>
                  <a:pt x="143" y="162"/>
                </a:lnTo>
                <a:lnTo>
                  <a:pt x="135" y="178"/>
                </a:lnTo>
                <a:lnTo>
                  <a:pt x="125" y="190"/>
                </a:lnTo>
                <a:lnTo>
                  <a:pt x="111" y="198"/>
                </a:lnTo>
                <a:lnTo>
                  <a:pt x="93" y="201"/>
                </a:lnTo>
                <a:lnTo>
                  <a:pt x="73" y="197"/>
                </a:lnTo>
                <a:lnTo>
                  <a:pt x="55" y="187"/>
                </a:lnTo>
                <a:lnTo>
                  <a:pt x="38" y="171"/>
                </a:lnTo>
                <a:lnTo>
                  <a:pt x="23" y="150"/>
                </a:lnTo>
                <a:lnTo>
                  <a:pt x="10" y="125"/>
                </a:lnTo>
                <a:lnTo>
                  <a:pt x="3" y="102"/>
                </a:lnTo>
                <a:lnTo>
                  <a:pt x="0" y="81"/>
                </a:lnTo>
                <a:lnTo>
                  <a:pt x="1" y="59"/>
                </a:lnTo>
                <a:lnTo>
                  <a:pt x="5" y="40"/>
                </a:lnTo>
                <a:lnTo>
                  <a:pt x="13" y="24"/>
                </a:lnTo>
                <a:lnTo>
                  <a:pt x="23" y="12"/>
                </a:lnTo>
                <a:lnTo>
                  <a:pt x="37" y="4"/>
                </a:lnTo>
                <a:lnTo>
                  <a:pt x="53" y="0"/>
                </a:lnTo>
                <a:close/>
              </a:path>
            </a:pathLst>
          </a:custGeom>
          <a:solidFill>
            <a:srgbClr val="647D2D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  <a:effectLst>
            <a:glow rad="38100">
              <a:srgbClr val="647D2D"/>
            </a:glow>
          </a:effectLst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Freeform 415"/>
          <p:cNvSpPr>
            <a:spLocks/>
          </p:cNvSpPr>
          <p:nvPr/>
        </p:nvSpPr>
        <p:spPr bwMode="auto">
          <a:xfrm>
            <a:off x="7917014" y="3883145"/>
            <a:ext cx="78065" cy="106211"/>
          </a:xfrm>
          <a:custGeom>
            <a:avLst/>
            <a:gdLst/>
            <a:ahLst/>
            <a:cxnLst>
              <a:cxn ang="0">
                <a:pos x="51" y="0"/>
              </a:cxn>
              <a:cxn ang="0">
                <a:pos x="67" y="2"/>
              </a:cxn>
              <a:cxn ang="0">
                <a:pos x="84" y="9"/>
              </a:cxn>
              <a:cxn ang="0">
                <a:pos x="99" y="21"/>
              </a:cxn>
              <a:cxn ang="0">
                <a:pos x="114" y="36"/>
              </a:cxn>
              <a:cxn ang="0">
                <a:pos x="126" y="54"/>
              </a:cxn>
              <a:cxn ang="0">
                <a:pos x="137" y="76"/>
              </a:cxn>
              <a:cxn ang="0">
                <a:pos x="144" y="99"/>
              </a:cxn>
              <a:cxn ang="0">
                <a:pos x="147" y="120"/>
              </a:cxn>
              <a:cxn ang="0">
                <a:pos x="146" y="141"/>
              </a:cxn>
              <a:cxn ang="0">
                <a:pos x="142" y="160"/>
              </a:cxn>
              <a:cxn ang="0">
                <a:pos x="134" y="176"/>
              </a:cxn>
              <a:cxn ang="0">
                <a:pos x="124" y="189"/>
              </a:cxn>
              <a:cxn ang="0">
                <a:pos x="110" y="197"/>
              </a:cxn>
              <a:cxn ang="0">
                <a:pos x="94" y="200"/>
              </a:cxn>
              <a:cxn ang="0">
                <a:pos x="78" y="198"/>
              </a:cxn>
              <a:cxn ang="0">
                <a:pos x="62" y="191"/>
              </a:cxn>
              <a:cxn ang="0">
                <a:pos x="46" y="180"/>
              </a:cxn>
              <a:cxn ang="0">
                <a:pos x="33" y="165"/>
              </a:cxn>
              <a:cxn ang="0">
                <a:pos x="20" y="147"/>
              </a:cxn>
              <a:cxn ang="0">
                <a:pos x="10" y="125"/>
              </a:cxn>
              <a:cxn ang="0">
                <a:pos x="3" y="102"/>
              </a:cxn>
              <a:cxn ang="0">
                <a:pos x="0" y="79"/>
              </a:cxn>
              <a:cxn ang="0">
                <a:pos x="1" y="59"/>
              </a:cxn>
              <a:cxn ang="0">
                <a:pos x="4" y="40"/>
              </a:cxn>
              <a:cxn ang="0">
                <a:pos x="12" y="24"/>
              </a:cxn>
              <a:cxn ang="0">
                <a:pos x="22" y="12"/>
              </a:cxn>
              <a:cxn ang="0">
                <a:pos x="36" y="4"/>
              </a:cxn>
              <a:cxn ang="0">
                <a:pos x="51" y="0"/>
              </a:cxn>
            </a:cxnLst>
            <a:rect l="0" t="0" r="r" b="b"/>
            <a:pathLst>
              <a:path w="147" h="200">
                <a:moveTo>
                  <a:pt x="51" y="0"/>
                </a:moveTo>
                <a:lnTo>
                  <a:pt x="67" y="2"/>
                </a:lnTo>
                <a:lnTo>
                  <a:pt x="84" y="9"/>
                </a:lnTo>
                <a:lnTo>
                  <a:pt x="99" y="21"/>
                </a:lnTo>
                <a:lnTo>
                  <a:pt x="114" y="36"/>
                </a:lnTo>
                <a:lnTo>
                  <a:pt x="126" y="54"/>
                </a:lnTo>
                <a:lnTo>
                  <a:pt x="137" y="76"/>
                </a:lnTo>
                <a:lnTo>
                  <a:pt x="144" y="99"/>
                </a:lnTo>
                <a:lnTo>
                  <a:pt x="147" y="120"/>
                </a:lnTo>
                <a:lnTo>
                  <a:pt x="146" y="141"/>
                </a:lnTo>
                <a:lnTo>
                  <a:pt x="142" y="160"/>
                </a:lnTo>
                <a:lnTo>
                  <a:pt x="134" y="176"/>
                </a:lnTo>
                <a:lnTo>
                  <a:pt x="124" y="189"/>
                </a:lnTo>
                <a:lnTo>
                  <a:pt x="110" y="197"/>
                </a:lnTo>
                <a:lnTo>
                  <a:pt x="94" y="200"/>
                </a:lnTo>
                <a:lnTo>
                  <a:pt x="78" y="198"/>
                </a:lnTo>
                <a:lnTo>
                  <a:pt x="62" y="191"/>
                </a:lnTo>
                <a:lnTo>
                  <a:pt x="46" y="180"/>
                </a:lnTo>
                <a:lnTo>
                  <a:pt x="33" y="165"/>
                </a:lnTo>
                <a:lnTo>
                  <a:pt x="20" y="147"/>
                </a:lnTo>
                <a:lnTo>
                  <a:pt x="10" y="125"/>
                </a:lnTo>
                <a:lnTo>
                  <a:pt x="3" y="102"/>
                </a:lnTo>
                <a:lnTo>
                  <a:pt x="0" y="79"/>
                </a:lnTo>
                <a:lnTo>
                  <a:pt x="1" y="59"/>
                </a:lnTo>
                <a:lnTo>
                  <a:pt x="4" y="40"/>
                </a:lnTo>
                <a:lnTo>
                  <a:pt x="12" y="24"/>
                </a:lnTo>
                <a:lnTo>
                  <a:pt x="22" y="12"/>
                </a:lnTo>
                <a:lnTo>
                  <a:pt x="36" y="4"/>
                </a:lnTo>
                <a:lnTo>
                  <a:pt x="51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Freeform 416"/>
          <p:cNvSpPr>
            <a:spLocks/>
          </p:cNvSpPr>
          <p:nvPr/>
        </p:nvSpPr>
        <p:spPr bwMode="auto">
          <a:xfrm>
            <a:off x="7824605" y="3836413"/>
            <a:ext cx="78065" cy="106211"/>
          </a:xfrm>
          <a:custGeom>
            <a:avLst/>
            <a:gdLst/>
            <a:ahLst/>
            <a:cxnLst>
              <a:cxn ang="0">
                <a:pos x="51" y="0"/>
              </a:cxn>
              <a:cxn ang="0">
                <a:pos x="67" y="2"/>
              </a:cxn>
              <a:cxn ang="0">
                <a:pos x="84" y="9"/>
              </a:cxn>
              <a:cxn ang="0">
                <a:pos x="99" y="21"/>
              </a:cxn>
              <a:cxn ang="0">
                <a:pos x="114" y="36"/>
              </a:cxn>
              <a:cxn ang="0">
                <a:pos x="127" y="54"/>
              </a:cxn>
              <a:cxn ang="0">
                <a:pos x="137" y="76"/>
              </a:cxn>
              <a:cxn ang="0">
                <a:pos x="144" y="98"/>
              </a:cxn>
              <a:cxn ang="0">
                <a:pos x="147" y="120"/>
              </a:cxn>
              <a:cxn ang="0">
                <a:pos x="146" y="142"/>
              </a:cxn>
              <a:cxn ang="0">
                <a:pos x="143" y="160"/>
              </a:cxn>
              <a:cxn ang="0">
                <a:pos x="135" y="176"/>
              </a:cxn>
              <a:cxn ang="0">
                <a:pos x="124" y="189"/>
              </a:cxn>
              <a:cxn ang="0">
                <a:pos x="111" y="197"/>
              </a:cxn>
              <a:cxn ang="0">
                <a:pos x="95" y="200"/>
              </a:cxn>
              <a:cxn ang="0">
                <a:pos x="79" y="198"/>
              </a:cxn>
              <a:cxn ang="0">
                <a:pos x="63" y="191"/>
              </a:cxn>
              <a:cxn ang="0">
                <a:pos x="47" y="180"/>
              </a:cxn>
              <a:cxn ang="0">
                <a:pos x="33" y="165"/>
              </a:cxn>
              <a:cxn ang="0">
                <a:pos x="20" y="147"/>
              </a:cxn>
              <a:cxn ang="0">
                <a:pos x="10" y="125"/>
              </a:cxn>
              <a:cxn ang="0">
                <a:pos x="3" y="102"/>
              </a:cxn>
              <a:cxn ang="0">
                <a:pos x="0" y="80"/>
              </a:cxn>
              <a:cxn ang="0">
                <a:pos x="1" y="58"/>
              </a:cxn>
              <a:cxn ang="0">
                <a:pos x="4" y="40"/>
              </a:cxn>
              <a:cxn ang="0">
                <a:pos x="12" y="24"/>
              </a:cxn>
              <a:cxn ang="0">
                <a:pos x="23" y="12"/>
              </a:cxn>
              <a:cxn ang="0">
                <a:pos x="36" y="3"/>
              </a:cxn>
              <a:cxn ang="0">
                <a:pos x="51" y="0"/>
              </a:cxn>
            </a:cxnLst>
            <a:rect l="0" t="0" r="r" b="b"/>
            <a:pathLst>
              <a:path w="147" h="200">
                <a:moveTo>
                  <a:pt x="51" y="0"/>
                </a:moveTo>
                <a:lnTo>
                  <a:pt x="67" y="2"/>
                </a:lnTo>
                <a:lnTo>
                  <a:pt x="84" y="9"/>
                </a:lnTo>
                <a:lnTo>
                  <a:pt x="99" y="21"/>
                </a:lnTo>
                <a:lnTo>
                  <a:pt x="114" y="36"/>
                </a:lnTo>
                <a:lnTo>
                  <a:pt x="127" y="54"/>
                </a:lnTo>
                <a:lnTo>
                  <a:pt x="137" y="76"/>
                </a:lnTo>
                <a:lnTo>
                  <a:pt x="144" y="98"/>
                </a:lnTo>
                <a:lnTo>
                  <a:pt x="147" y="120"/>
                </a:lnTo>
                <a:lnTo>
                  <a:pt x="146" y="142"/>
                </a:lnTo>
                <a:lnTo>
                  <a:pt x="143" y="160"/>
                </a:lnTo>
                <a:lnTo>
                  <a:pt x="135" y="176"/>
                </a:lnTo>
                <a:lnTo>
                  <a:pt x="124" y="189"/>
                </a:lnTo>
                <a:lnTo>
                  <a:pt x="111" y="197"/>
                </a:lnTo>
                <a:lnTo>
                  <a:pt x="95" y="200"/>
                </a:lnTo>
                <a:lnTo>
                  <a:pt x="79" y="198"/>
                </a:lnTo>
                <a:lnTo>
                  <a:pt x="63" y="191"/>
                </a:lnTo>
                <a:lnTo>
                  <a:pt x="47" y="180"/>
                </a:lnTo>
                <a:lnTo>
                  <a:pt x="33" y="165"/>
                </a:lnTo>
                <a:lnTo>
                  <a:pt x="20" y="147"/>
                </a:lnTo>
                <a:lnTo>
                  <a:pt x="10" y="125"/>
                </a:lnTo>
                <a:lnTo>
                  <a:pt x="3" y="102"/>
                </a:lnTo>
                <a:lnTo>
                  <a:pt x="0" y="80"/>
                </a:lnTo>
                <a:lnTo>
                  <a:pt x="1" y="58"/>
                </a:lnTo>
                <a:lnTo>
                  <a:pt x="4" y="40"/>
                </a:lnTo>
                <a:lnTo>
                  <a:pt x="12" y="24"/>
                </a:lnTo>
                <a:lnTo>
                  <a:pt x="23" y="12"/>
                </a:lnTo>
                <a:lnTo>
                  <a:pt x="36" y="3"/>
                </a:lnTo>
                <a:lnTo>
                  <a:pt x="51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Freeform 417"/>
          <p:cNvSpPr>
            <a:spLocks/>
          </p:cNvSpPr>
          <p:nvPr/>
        </p:nvSpPr>
        <p:spPr bwMode="auto">
          <a:xfrm>
            <a:off x="7362054" y="3512476"/>
            <a:ext cx="823662" cy="1071663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72" y="0"/>
              </a:cxn>
              <a:cxn ang="0">
                <a:pos x="1549" y="755"/>
              </a:cxn>
              <a:cxn ang="0">
                <a:pos x="1550" y="758"/>
              </a:cxn>
              <a:cxn ang="0">
                <a:pos x="1551" y="762"/>
              </a:cxn>
              <a:cxn ang="0">
                <a:pos x="1551" y="768"/>
              </a:cxn>
              <a:cxn ang="0">
                <a:pos x="1550" y="776"/>
              </a:cxn>
              <a:cxn ang="0">
                <a:pos x="1546" y="784"/>
              </a:cxn>
              <a:cxn ang="0">
                <a:pos x="1540" y="790"/>
              </a:cxn>
              <a:cxn ang="0">
                <a:pos x="1527" y="794"/>
              </a:cxn>
              <a:cxn ang="0">
                <a:pos x="94" y="57"/>
              </a:cxn>
              <a:cxn ang="0">
                <a:pos x="93" y="57"/>
              </a:cxn>
              <a:cxn ang="0">
                <a:pos x="89" y="56"/>
              </a:cxn>
              <a:cxn ang="0">
                <a:pos x="85" y="55"/>
              </a:cxn>
              <a:cxn ang="0">
                <a:pos x="79" y="55"/>
              </a:cxn>
              <a:cxn ang="0">
                <a:pos x="73" y="57"/>
              </a:cxn>
              <a:cxn ang="0">
                <a:pos x="69" y="63"/>
              </a:cxn>
              <a:cxn ang="0">
                <a:pos x="65" y="72"/>
              </a:cxn>
              <a:cxn ang="0">
                <a:pos x="64" y="86"/>
              </a:cxn>
              <a:cxn ang="0">
                <a:pos x="64" y="1195"/>
              </a:cxn>
              <a:cxn ang="0">
                <a:pos x="73" y="1203"/>
              </a:cxn>
              <a:cxn ang="0">
                <a:pos x="80" y="1213"/>
              </a:cxn>
              <a:cxn ang="0">
                <a:pos x="85" y="1225"/>
              </a:cxn>
              <a:cxn ang="0">
                <a:pos x="86" y="1238"/>
              </a:cxn>
              <a:cxn ang="0">
                <a:pos x="86" y="1966"/>
              </a:cxn>
              <a:cxn ang="0">
                <a:pos x="84" y="1982"/>
              </a:cxn>
              <a:cxn ang="0">
                <a:pos x="78" y="1997"/>
              </a:cxn>
              <a:cxn ang="0">
                <a:pos x="69" y="2007"/>
              </a:cxn>
              <a:cxn ang="0">
                <a:pos x="57" y="2015"/>
              </a:cxn>
              <a:cxn ang="0">
                <a:pos x="44" y="2018"/>
              </a:cxn>
              <a:cxn ang="0">
                <a:pos x="30" y="2015"/>
              </a:cxn>
              <a:cxn ang="0">
                <a:pos x="19" y="2007"/>
              </a:cxn>
              <a:cxn ang="0">
                <a:pos x="8" y="1997"/>
              </a:cxn>
              <a:cxn ang="0">
                <a:pos x="3" y="1982"/>
              </a:cxn>
              <a:cxn ang="0">
                <a:pos x="0" y="1966"/>
              </a:cxn>
              <a:cxn ang="0">
                <a:pos x="0" y="1238"/>
              </a:cxn>
              <a:cxn ang="0">
                <a:pos x="3" y="1221"/>
              </a:cxn>
              <a:cxn ang="0">
                <a:pos x="9" y="1206"/>
              </a:cxn>
              <a:cxn ang="0">
                <a:pos x="21" y="1196"/>
              </a:cxn>
              <a:cxn ang="0">
                <a:pos x="21" y="53"/>
              </a:cxn>
              <a:cxn ang="0">
                <a:pos x="22" y="42"/>
              </a:cxn>
              <a:cxn ang="0">
                <a:pos x="24" y="31"/>
              </a:cxn>
              <a:cxn ang="0">
                <a:pos x="29" y="21"/>
              </a:cxn>
              <a:cxn ang="0">
                <a:pos x="36" y="12"/>
              </a:cxn>
              <a:cxn ang="0">
                <a:pos x="45" y="5"/>
              </a:cxn>
              <a:cxn ang="0">
                <a:pos x="56" y="0"/>
              </a:cxn>
            </a:cxnLst>
            <a:rect l="0" t="0" r="r" b="b"/>
            <a:pathLst>
              <a:path w="1551" h="2018">
                <a:moveTo>
                  <a:pt x="56" y="0"/>
                </a:moveTo>
                <a:lnTo>
                  <a:pt x="72" y="0"/>
                </a:lnTo>
                <a:lnTo>
                  <a:pt x="1549" y="755"/>
                </a:lnTo>
                <a:lnTo>
                  <a:pt x="1550" y="758"/>
                </a:lnTo>
                <a:lnTo>
                  <a:pt x="1551" y="762"/>
                </a:lnTo>
                <a:lnTo>
                  <a:pt x="1551" y="768"/>
                </a:lnTo>
                <a:lnTo>
                  <a:pt x="1550" y="776"/>
                </a:lnTo>
                <a:lnTo>
                  <a:pt x="1546" y="784"/>
                </a:lnTo>
                <a:lnTo>
                  <a:pt x="1540" y="790"/>
                </a:lnTo>
                <a:lnTo>
                  <a:pt x="1527" y="794"/>
                </a:lnTo>
                <a:lnTo>
                  <a:pt x="94" y="57"/>
                </a:lnTo>
                <a:lnTo>
                  <a:pt x="93" y="57"/>
                </a:lnTo>
                <a:lnTo>
                  <a:pt x="89" y="56"/>
                </a:lnTo>
                <a:lnTo>
                  <a:pt x="85" y="55"/>
                </a:lnTo>
                <a:lnTo>
                  <a:pt x="79" y="55"/>
                </a:lnTo>
                <a:lnTo>
                  <a:pt x="73" y="57"/>
                </a:lnTo>
                <a:lnTo>
                  <a:pt x="69" y="63"/>
                </a:lnTo>
                <a:lnTo>
                  <a:pt x="65" y="72"/>
                </a:lnTo>
                <a:lnTo>
                  <a:pt x="64" y="86"/>
                </a:lnTo>
                <a:lnTo>
                  <a:pt x="64" y="1195"/>
                </a:lnTo>
                <a:lnTo>
                  <a:pt x="73" y="1203"/>
                </a:lnTo>
                <a:lnTo>
                  <a:pt x="80" y="1213"/>
                </a:lnTo>
                <a:lnTo>
                  <a:pt x="85" y="1225"/>
                </a:lnTo>
                <a:lnTo>
                  <a:pt x="86" y="1238"/>
                </a:lnTo>
                <a:lnTo>
                  <a:pt x="86" y="1966"/>
                </a:lnTo>
                <a:lnTo>
                  <a:pt x="84" y="1982"/>
                </a:lnTo>
                <a:lnTo>
                  <a:pt x="78" y="1997"/>
                </a:lnTo>
                <a:lnTo>
                  <a:pt x="69" y="2007"/>
                </a:lnTo>
                <a:lnTo>
                  <a:pt x="57" y="2015"/>
                </a:lnTo>
                <a:lnTo>
                  <a:pt x="44" y="2018"/>
                </a:lnTo>
                <a:lnTo>
                  <a:pt x="30" y="2015"/>
                </a:lnTo>
                <a:lnTo>
                  <a:pt x="19" y="2007"/>
                </a:lnTo>
                <a:lnTo>
                  <a:pt x="8" y="1997"/>
                </a:lnTo>
                <a:lnTo>
                  <a:pt x="3" y="1982"/>
                </a:lnTo>
                <a:lnTo>
                  <a:pt x="0" y="1966"/>
                </a:lnTo>
                <a:lnTo>
                  <a:pt x="0" y="1238"/>
                </a:lnTo>
                <a:lnTo>
                  <a:pt x="3" y="1221"/>
                </a:lnTo>
                <a:lnTo>
                  <a:pt x="9" y="1206"/>
                </a:lnTo>
                <a:lnTo>
                  <a:pt x="21" y="1196"/>
                </a:lnTo>
                <a:lnTo>
                  <a:pt x="21" y="53"/>
                </a:lnTo>
                <a:lnTo>
                  <a:pt x="22" y="42"/>
                </a:lnTo>
                <a:lnTo>
                  <a:pt x="24" y="31"/>
                </a:lnTo>
                <a:lnTo>
                  <a:pt x="29" y="21"/>
                </a:lnTo>
                <a:lnTo>
                  <a:pt x="36" y="12"/>
                </a:lnTo>
                <a:lnTo>
                  <a:pt x="45" y="5"/>
                </a:lnTo>
                <a:lnTo>
                  <a:pt x="56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Freeform 424"/>
          <p:cNvSpPr>
            <a:spLocks noEditPoints="1"/>
          </p:cNvSpPr>
          <p:nvPr/>
        </p:nvSpPr>
        <p:spPr bwMode="auto">
          <a:xfrm>
            <a:off x="7651421" y="4381335"/>
            <a:ext cx="932828" cy="468847"/>
          </a:xfrm>
          <a:custGeom>
            <a:avLst/>
            <a:gdLst/>
            <a:ahLst/>
            <a:cxnLst>
              <a:cxn ang="0">
                <a:pos x="1936" y="726"/>
              </a:cxn>
              <a:cxn ang="0">
                <a:pos x="1433" y="979"/>
              </a:cxn>
              <a:cxn ang="0">
                <a:pos x="1526" y="1027"/>
              </a:cxn>
              <a:cxn ang="0">
                <a:pos x="2029" y="774"/>
              </a:cxn>
              <a:cxn ang="0">
                <a:pos x="1936" y="726"/>
              </a:cxn>
              <a:cxn ang="0">
                <a:pos x="1749" y="631"/>
              </a:cxn>
              <a:cxn ang="0">
                <a:pos x="1246" y="884"/>
              </a:cxn>
              <a:cxn ang="0">
                <a:pos x="1356" y="940"/>
              </a:cxn>
              <a:cxn ang="0">
                <a:pos x="1859" y="687"/>
              </a:cxn>
              <a:cxn ang="0">
                <a:pos x="1749" y="631"/>
              </a:cxn>
              <a:cxn ang="0">
                <a:pos x="1562" y="535"/>
              </a:cxn>
              <a:cxn ang="0">
                <a:pos x="1060" y="789"/>
              </a:cxn>
              <a:cxn ang="0">
                <a:pos x="1170" y="845"/>
              </a:cxn>
              <a:cxn ang="0">
                <a:pos x="1673" y="591"/>
              </a:cxn>
              <a:cxn ang="0">
                <a:pos x="1562" y="535"/>
              </a:cxn>
              <a:cxn ang="0">
                <a:pos x="1387" y="445"/>
              </a:cxn>
              <a:cxn ang="0">
                <a:pos x="885" y="698"/>
              </a:cxn>
              <a:cxn ang="0">
                <a:pos x="984" y="749"/>
              </a:cxn>
              <a:cxn ang="0">
                <a:pos x="1485" y="496"/>
              </a:cxn>
              <a:cxn ang="0">
                <a:pos x="1387" y="445"/>
              </a:cxn>
              <a:cxn ang="0">
                <a:pos x="1212" y="356"/>
              </a:cxn>
              <a:cxn ang="0">
                <a:pos x="710" y="609"/>
              </a:cxn>
              <a:cxn ang="0">
                <a:pos x="809" y="659"/>
              </a:cxn>
              <a:cxn ang="0">
                <a:pos x="1310" y="406"/>
              </a:cxn>
              <a:cxn ang="0">
                <a:pos x="1212" y="356"/>
              </a:cxn>
              <a:cxn ang="0">
                <a:pos x="1029" y="263"/>
              </a:cxn>
              <a:cxn ang="0">
                <a:pos x="529" y="516"/>
              </a:cxn>
              <a:cxn ang="0">
                <a:pos x="634" y="570"/>
              </a:cxn>
              <a:cxn ang="0">
                <a:pos x="1136" y="317"/>
              </a:cxn>
              <a:cxn ang="0">
                <a:pos x="1029" y="263"/>
              </a:cxn>
              <a:cxn ang="0">
                <a:pos x="850" y="172"/>
              </a:cxn>
              <a:cxn ang="0">
                <a:pos x="349" y="425"/>
              </a:cxn>
              <a:cxn ang="0">
                <a:pos x="452" y="477"/>
              </a:cxn>
              <a:cxn ang="0">
                <a:pos x="953" y="225"/>
              </a:cxn>
              <a:cxn ang="0">
                <a:pos x="850" y="172"/>
              </a:cxn>
              <a:cxn ang="0">
                <a:pos x="770" y="0"/>
              </a:cxn>
              <a:cxn ang="0">
                <a:pos x="2300" y="770"/>
              </a:cxn>
              <a:cxn ang="0">
                <a:pos x="2161" y="840"/>
              </a:cxn>
              <a:cxn ang="0">
                <a:pos x="2106" y="813"/>
              </a:cxn>
              <a:cxn ang="0">
                <a:pos x="1603" y="1066"/>
              </a:cxn>
              <a:cxn ang="0">
                <a:pos x="1653" y="1091"/>
              </a:cxn>
              <a:cxn ang="0">
                <a:pos x="1521" y="1156"/>
              </a:cxn>
              <a:cxn ang="0">
                <a:pos x="0" y="385"/>
              </a:cxn>
              <a:cxn ang="0">
                <a:pos x="140" y="314"/>
              </a:cxn>
              <a:cxn ang="0">
                <a:pos x="273" y="385"/>
              </a:cxn>
              <a:cxn ang="0">
                <a:pos x="773" y="133"/>
              </a:cxn>
              <a:cxn ang="0">
                <a:pos x="637" y="67"/>
              </a:cxn>
              <a:cxn ang="0">
                <a:pos x="770" y="0"/>
              </a:cxn>
            </a:cxnLst>
            <a:rect l="0" t="0" r="r" b="b"/>
            <a:pathLst>
              <a:path w="2300" h="1156">
                <a:moveTo>
                  <a:pt x="1936" y="726"/>
                </a:moveTo>
                <a:lnTo>
                  <a:pt x="1433" y="979"/>
                </a:lnTo>
                <a:lnTo>
                  <a:pt x="1526" y="1027"/>
                </a:lnTo>
                <a:lnTo>
                  <a:pt x="2029" y="774"/>
                </a:lnTo>
                <a:lnTo>
                  <a:pt x="1936" y="726"/>
                </a:lnTo>
                <a:close/>
                <a:moveTo>
                  <a:pt x="1749" y="631"/>
                </a:moveTo>
                <a:lnTo>
                  <a:pt x="1246" y="884"/>
                </a:lnTo>
                <a:lnTo>
                  <a:pt x="1356" y="940"/>
                </a:lnTo>
                <a:lnTo>
                  <a:pt x="1859" y="687"/>
                </a:lnTo>
                <a:lnTo>
                  <a:pt x="1749" y="631"/>
                </a:lnTo>
                <a:close/>
                <a:moveTo>
                  <a:pt x="1562" y="535"/>
                </a:moveTo>
                <a:lnTo>
                  <a:pt x="1060" y="789"/>
                </a:lnTo>
                <a:lnTo>
                  <a:pt x="1170" y="845"/>
                </a:lnTo>
                <a:lnTo>
                  <a:pt x="1673" y="591"/>
                </a:lnTo>
                <a:lnTo>
                  <a:pt x="1562" y="535"/>
                </a:lnTo>
                <a:close/>
                <a:moveTo>
                  <a:pt x="1387" y="445"/>
                </a:moveTo>
                <a:lnTo>
                  <a:pt x="885" y="698"/>
                </a:lnTo>
                <a:lnTo>
                  <a:pt x="984" y="749"/>
                </a:lnTo>
                <a:lnTo>
                  <a:pt x="1485" y="496"/>
                </a:lnTo>
                <a:lnTo>
                  <a:pt x="1387" y="445"/>
                </a:lnTo>
                <a:close/>
                <a:moveTo>
                  <a:pt x="1212" y="356"/>
                </a:moveTo>
                <a:lnTo>
                  <a:pt x="710" y="609"/>
                </a:lnTo>
                <a:lnTo>
                  <a:pt x="809" y="659"/>
                </a:lnTo>
                <a:lnTo>
                  <a:pt x="1310" y="406"/>
                </a:lnTo>
                <a:lnTo>
                  <a:pt x="1212" y="356"/>
                </a:lnTo>
                <a:close/>
                <a:moveTo>
                  <a:pt x="1029" y="263"/>
                </a:moveTo>
                <a:lnTo>
                  <a:pt x="529" y="516"/>
                </a:lnTo>
                <a:lnTo>
                  <a:pt x="634" y="570"/>
                </a:lnTo>
                <a:lnTo>
                  <a:pt x="1136" y="317"/>
                </a:lnTo>
                <a:lnTo>
                  <a:pt x="1029" y="263"/>
                </a:lnTo>
                <a:close/>
                <a:moveTo>
                  <a:pt x="850" y="172"/>
                </a:moveTo>
                <a:lnTo>
                  <a:pt x="349" y="425"/>
                </a:lnTo>
                <a:lnTo>
                  <a:pt x="452" y="477"/>
                </a:lnTo>
                <a:lnTo>
                  <a:pt x="953" y="225"/>
                </a:lnTo>
                <a:lnTo>
                  <a:pt x="850" y="172"/>
                </a:lnTo>
                <a:close/>
                <a:moveTo>
                  <a:pt x="770" y="0"/>
                </a:moveTo>
                <a:lnTo>
                  <a:pt x="2300" y="770"/>
                </a:lnTo>
                <a:lnTo>
                  <a:pt x="2161" y="840"/>
                </a:lnTo>
                <a:lnTo>
                  <a:pt x="2106" y="813"/>
                </a:lnTo>
                <a:lnTo>
                  <a:pt x="1603" y="1066"/>
                </a:lnTo>
                <a:lnTo>
                  <a:pt x="1653" y="1091"/>
                </a:lnTo>
                <a:lnTo>
                  <a:pt x="1521" y="1156"/>
                </a:lnTo>
                <a:lnTo>
                  <a:pt x="0" y="385"/>
                </a:lnTo>
                <a:lnTo>
                  <a:pt x="140" y="314"/>
                </a:lnTo>
                <a:lnTo>
                  <a:pt x="273" y="385"/>
                </a:lnTo>
                <a:lnTo>
                  <a:pt x="773" y="133"/>
                </a:lnTo>
                <a:lnTo>
                  <a:pt x="637" y="67"/>
                </a:lnTo>
                <a:lnTo>
                  <a:pt x="770" y="0"/>
                </a:lnTo>
                <a:close/>
              </a:path>
            </a:pathLst>
          </a:custGeom>
          <a:solidFill>
            <a:sysClr val="window" lastClr="FFFFFF"/>
          </a:solidFill>
          <a:ln w="0">
            <a:solidFill>
              <a:srgbClr val="E8EFED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Freeform 869"/>
          <p:cNvSpPr/>
          <p:nvPr/>
        </p:nvSpPr>
        <p:spPr>
          <a:xfrm rot="1592352">
            <a:off x="5481284" y="5019124"/>
            <a:ext cx="3688866" cy="521555"/>
          </a:xfrm>
          <a:custGeom>
            <a:avLst/>
            <a:gdLst/>
            <a:ahLst/>
            <a:cxnLst/>
            <a:rect l="l" t="t" r="r" b="b"/>
            <a:pathLst>
              <a:path w="3688865" h="521555">
                <a:moveTo>
                  <a:pt x="0" y="0"/>
                </a:moveTo>
                <a:lnTo>
                  <a:pt x="3688865" y="1820"/>
                </a:lnTo>
                <a:lnTo>
                  <a:pt x="2645081" y="521444"/>
                </a:lnTo>
                <a:lnTo>
                  <a:pt x="260484" y="521555"/>
                </a:lnTo>
                <a:close/>
              </a:path>
            </a:pathLst>
          </a:custGeom>
          <a:solidFill>
            <a:srgbClr val="DFE6ED"/>
          </a:solidFill>
          <a:ln w="25400" cap="flat" cmpd="sng" algn="ctr">
            <a:noFill/>
            <a:prstDash val="solid"/>
          </a:ln>
          <a:effectLst/>
        </p:spPr>
        <p:txBody>
          <a:bodyPr lIns="91417" tIns="45709" rIns="91417" bIns="45709" rtlCol="0" anchor="ctr"/>
          <a:lstStyle/>
          <a:p>
            <a:pPr algn="ctr"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Freeform 21"/>
          <p:cNvSpPr>
            <a:spLocks/>
          </p:cNvSpPr>
          <p:nvPr/>
        </p:nvSpPr>
        <p:spPr bwMode="auto">
          <a:xfrm>
            <a:off x="7687754" y="4284862"/>
            <a:ext cx="383248" cy="201823"/>
          </a:xfrm>
          <a:custGeom>
            <a:avLst/>
            <a:gdLst/>
            <a:ahLst/>
            <a:cxnLst>
              <a:cxn ang="0">
                <a:pos x="761" y="0"/>
              </a:cxn>
              <a:cxn ang="0">
                <a:pos x="1071" y="86"/>
              </a:cxn>
              <a:cxn ang="0">
                <a:pos x="1030" y="129"/>
              </a:cxn>
              <a:cxn ang="0">
                <a:pos x="269" y="564"/>
              </a:cxn>
              <a:cxn ang="0">
                <a:pos x="27" y="426"/>
              </a:cxn>
              <a:cxn ang="0">
                <a:pos x="0" y="389"/>
              </a:cxn>
              <a:cxn ang="0">
                <a:pos x="761" y="0"/>
              </a:cxn>
            </a:cxnLst>
            <a:rect l="0" t="0" r="r" b="b"/>
            <a:pathLst>
              <a:path w="1071" h="564">
                <a:moveTo>
                  <a:pt x="761" y="0"/>
                </a:moveTo>
                <a:lnTo>
                  <a:pt x="1071" y="86"/>
                </a:lnTo>
                <a:lnTo>
                  <a:pt x="1030" y="129"/>
                </a:lnTo>
                <a:lnTo>
                  <a:pt x="269" y="564"/>
                </a:lnTo>
                <a:lnTo>
                  <a:pt x="27" y="426"/>
                </a:lnTo>
                <a:lnTo>
                  <a:pt x="0" y="389"/>
                </a:lnTo>
                <a:lnTo>
                  <a:pt x="761" y="0"/>
                </a:lnTo>
                <a:close/>
              </a:path>
            </a:pathLst>
          </a:custGeom>
          <a:solidFill>
            <a:srgbClr val="96ABA9"/>
          </a:solidFill>
          <a:ln w="0">
            <a:solidFill>
              <a:srgbClr val="96ABA9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Freeform 22"/>
          <p:cNvSpPr>
            <a:spLocks/>
          </p:cNvSpPr>
          <p:nvPr/>
        </p:nvSpPr>
        <p:spPr bwMode="auto">
          <a:xfrm>
            <a:off x="7687760" y="4424055"/>
            <a:ext cx="105920" cy="1996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83" y="125"/>
              </a:cxn>
              <a:cxn ang="0">
                <a:pos x="296" y="506"/>
              </a:cxn>
              <a:cxn ang="0">
                <a:pos x="267" y="558"/>
              </a:cxn>
              <a:cxn ang="0">
                <a:pos x="0" y="413"/>
              </a:cxn>
              <a:cxn ang="0">
                <a:pos x="0" y="0"/>
              </a:cxn>
            </a:cxnLst>
            <a:rect l="0" t="0" r="r" b="b"/>
            <a:pathLst>
              <a:path w="296" h="558">
                <a:moveTo>
                  <a:pt x="0" y="0"/>
                </a:moveTo>
                <a:lnTo>
                  <a:pt x="283" y="125"/>
                </a:lnTo>
                <a:lnTo>
                  <a:pt x="296" y="506"/>
                </a:lnTo>
                <a:lnTo>
                  <a:pt x="267" y="558"/>
                </a:lnTo>
                <a:lnTo>
                  <a:pt x="0" y="413"/>
                </a:lnTo>
                <a:lnTo>
                  <a:pt x="0" y="0"/>
                </a:lnTo>
                <a:close/>
              </a:path>
            </a:pathLst>
          </a:custGeom>
          <a:solidFill>
            <a:srgbClr val="687C7C"/>
          </a:solidFill>
          <a:ln w="0">
            <a:solidFill>
              <a:srgbClr val="687C7C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Freeform 23"/>
          <p:cNvSpPr>
            <a:spLocks/>
          </p:cNvSpPr>
          <p:nvPr/>
        </p:nvSpPr>
        <p:spPr bwMode="auto">
          <a:xfrm>
            <a:off x="7783299" y="4315631"/>
            <a:ext cx="287704" cy="308101"/>
          </a:xfrm>
          <a:custGeom>
            <a:avLst/>
            <a:gdLst/>
            <a:ahLst/>
            <a:cxnLst>
              <a:cxn ang="0">
                <a:pos x="804" y="0"/>
              </a:cxn>
              <a:cxn ang="0">
                <a:pos x="793" y="403"/>
              </a:cxn>
              <a:cxn ang="0">
                <a:pos x="0" y="861"/>
              </a:cxn>
              <a:cxn ang="0">
                <a:pos x="0" y="424"/>
              </a:cxn>
              <a:cxn ang="0">
                <a:pos x="804" y="0"/>
              </a:cxn>
            </a:cxnLst>
            <a:rect l="0" t="0" r="r" b="b"/>
            <a:pathLst>
              <a:path w="804" h="861">
                <a:moveTo>
                  <a:pt x="804" y="0"/>
                </a:moveTo>
                <a:lnTo>
                  <a:pt x="793" y="403"/>
                </a:lnTo>
                <a:lnTo>
                  <a:pt x="0" y="861"/>
                </a:lnTo>
                <a:lnTo>
                  <a:pt x="0" y="424"/>
                </a:lnTo>
                <a:lnTo>
                  <a:pt x="804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Freeform 24"/>
          <p:cNvSpPr>
            <a:spLocks/>
          </p:cNvSpPr>
          <p:nvPr/>
        </p:nvSpPr>
        <p:spPr bwMode="auto">
          <a:xfrm>
            <a:off x="7792960" y="4463775"/>
            <a:ext cx="80156" cy="109500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3" y="21"/>
              </a:cxn>
              <a:cxn ang="0">
                <a:pos x="211" y="44"/>
              </a:cxn>
              <a:cxn ang="0">
                <a:pos x="220" y="75"/>
              </a:cxn>
              <a:cxn ang="0">
                <a:pos x="224" y="112"/>
              </a:cxn>
              <a:cxn ang="0">
                <a:pos x="220" y="150"/>
              </a:cxn>
              <a:cxn ang="0">
                <a:pos x="209" y="191"/>
              </a:cxn>
              <a:cxn ang="0">
                <a:pos x="190" y="229"/>
              </a:cxn>
              <a:cxn ang="0">
                <a:pos x="166" y="261"/>
              </a:cxn>
              <a:cxn ang="0">
                <a:pos x="141" y="284"/>
              </a:cxn>
              <a:cxn ang="0">
                <a:pos x="111" y="300"/>
              </a:cxn>
              <a:cxn ang="0">
                <a:pos x="82" y="306"/>
              </a:cxn>
              <a:cxn ang="0">
                <a:pos x="55" y="302"/>
              </a:cxn>
              <a:cxn ang="0">
                <a:pos x="30" y="286"/>
              </a:cxn>
              <a:cxn ang="0">
                <a:pos x="14" y="263"/>
              </a:cxn>
              <a:cxn ang="0">
                <a:pos x="2" y="232"/>
              </a:cxn>
              <a:cxn ang="0">
                <a:pos x="0" y="195"/>
              </a:cxn>
              <a:cxn ang="0">
                <a:pos x="2" y="157"/>
              </a:cxn>
              <a:cxn ang="0">
                <a:pos x="14" y="116"/>
              </a:cxn>
              <a:cxn ang="0">
                <a:pos x="32" y="78"/>
              </a:cxn>
              <a:cxn ang="0">
                <a:pos x="57" y="46"/>
              </a:cxn>
              <a:cxn ang="0">
                <a:pos x="84" y="23"/>
              </a:cxn>
              <a:cxn ang="0">
                <a:pos x="113" y="7"/>
              </a:cxn>
              <a:cxn ang="0">
                <a:pos x="143" y="0"/>
              </a:cxn>
            </a:cxnLst>
            <a:rect l="0" t="0" r="r" b="b"/>
            <a:pathLst>
              <a:path w="224" h="306">
                <a:moveTo>
                  <a:pt x="143" y="0"/>
                </a:moveTo>
                <a:lnTo>
                  <a:pt x="170" y="5"/>
                </a:lnTo>
                <a:lnTo>
                  <a:pt x="193" y="21"/>
                </a:lnTo>
                <a:lnTo>
                  <a:pt x="211" y="44"/>
                </a:lnTo>
                <a:lnTo>
                  <a:pt x="220" y="75"/>
                </a:lnTo>
                <a:lnTo>
                  <a:pt x="224" y="112"/>
                </a:lnTo>
                <a:lnTo>
                  <a:pt x="220" y="150"/>
                </a:lnTo>
                <a:lnTo>
                  <a:pt x="209" y="191"/>
                </a:lnTo>
                <a:lnTo>
                  <a:pt x="190" y="229"/>
                </a:lnTo>
                <a:lnTo>
                  <a:pt x="166" y="261"/>
                </a:lnTo>
                <a:lnTo>
                  <a:pt x="141" y="284"/>
                </a:lnTo>
                <a:lnTo>
                  <a:pt x="111" y="300"/>
                </a:lnTo>
                <a:lnTo>
                  <a:pt x="82" y="306"/>
                </a:lnTo>
                <a:lnTo>
                  <a:pt x="55" y="302"/>
                </a:lnTo>
                <a:lnTo>
                  <a:pt x="30" y="286"/>
                </a:lnTo>
                <a:lnTo>
                  <a:pt x="14" y="263"/>
                </a:lnTo>
                <a:lnTo>
                  <a:pt x="2" y="232"/>
                </a:lnTo>
                <a:lnTo>
                  <a:pt x="0" y="195"/>
                </a:lnTo>
                <a:lnTo>
                  <a:pt x="2" y="157"/>
                </a:lnTo>
                <a:lnTo>
                  <a:pt x="14" y="116"/>
                </a:lnTo>
                <a:lnTo>
                  <a:pt x="32" y="78"/>
                </a:lnTo>
                <a:lnTo>
                  <a:pt x="57" y="46"/>
                </a:lnTo>
                <a:lnTo>
                  <a:pt x="84" y="23"/>
                </a:lnTo>
                <a:lnTo>
                  <a:pt x="113" y="7"/>
                </a:lnTo>
                <a:lnTo>
                  <a:pt x="143" y="0"/>
                </a:lnTo>
                <a:close/>
              </a:path>
            </a:pathLst>
          </a:custGeom>
          <a:solidFill>
            <a:srgbClr val="990000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  <a:effectLst>
            <a:glow rad="38100">
              <a:srgbClr val="C00000"/>
            </a:glow>
          </a:effectLst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Freeform 25"/>
          <p:cNvSpPr>
            <a:spLocks/>
          </p:cNvSpPr>
          <p:nvPr/>
        </p:nvSpPr>
        <p:spPr bwMode="auto">
          <a:xfrm>
            <a:off x="7882064" y="4415115"/>
            <a:ext cx="81230" cy="108784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5" y="21"/>
              </a:cxn>
              <a:cxn ang="0">
                <a:pos x="211" y="44"/>
              </a:cxn>
              <a:cxn ang="0">
                <a:pos x="222" y="73"/>
              </a:cxn>
              <a:cxn ang="0">
                <a:pos x="227" y="109"/>
              </a:cxn>
              <a:cxn ang="0">
                <a:pos x="222" y="148"/>
              </a:cxn>
              <a:cxn ang="0">
                <a:pos x="211" y="189"/>
              </a:cxn>
              <a:cxn ang="0">
                <a:pos x="193" y="227"/>
              </a:cxn>
              <a:cxn ang="0">
                <a:pos x="168" y="259"/>
              </a:cxn>
              <a:cxn ang="0">
                <a:pos x="141" y="282"/>
              </a:cxn>
              <a:cxn ang="0">
                <a:pos x="114" y="297"/>
              </a:cxn>
              <a:cxn ang="0">
                <a:pos x="84" y="304"/>
              </a:cxn>
              <a:cxn ang="0">
                <a:pos x="57" y="300"/>
              </a:cxn>
              <a:cxn ang="0">
                <a:pos x="32" y="284"/>
              </a:cxn>
              <a:cxn ang="0">
                <a:pos x="16" y="261"/>
              </a:cxn>
              <a:cxn ang="0">
                <a:pos x="5" y="229"/>
              </a:cxn>
              <a:cxn ang="0">
                <a:pos x="0" y="193"/>
              </a:cxn>
              <a:cxn ang="0">
                <a:pos x="5" y="155"/>
              </a:cxn>
              <a:cxn ang="0">
                <a:pos x="16" y="114"/>
              </a:cxn>
              <a:cxn ang="0">
                <a:pos x="34" y="75"/>
              </a:cxn>
              <a:cxn ang="0">
                <a:pos x="59" y="44"/>
              </a:cxn>
              <a:cxn ang="0">
                <a:pos x="84" y="21"/>
              </a:cxn>
              <a:cxn ang="0">
                <a:pos x="114" y="5"/>
              </a:cxn>
              <a:cxn ang="0">
                <a:pos x="143" y="0"/>
              </a:cxn>
            </a:cxnLst>
            <a:rect l="0" t="0" r="r" b="b"/>
            <a:pathLst>
              <a:path w="227" h="304">
                <a:moveTo>
                  <a:pt x="143" y="0"/>
                </a:moveTo>
                <a:lnTo>
                  <a:pt x="170" y="5"/>
                </a:lnTo>
                <a:lnTo>
                  <a:pt x="195" y="21"/>
                </a:lnTo>
                <a:lnTo>
                  <a:pt x="211" y="44"/>
                </a:lnTo>
                <a:lnTo>
                  <a:pt x="222" y="73"/>
                </a:lnTo>
                <a:lnTo>
                  <a:pt x="227" y="109"/>
                </a:lnTo>
                <a:lnTo>
                  <a:pt x="222" y="148"/>
                </a:lnTo>
                <a:lnTo>
                  <a:pt x="211" y="189"/>
                </a:lnTo>
                <a:lnTo>
                  <a:pt x="193" y="227"/>
                </a:lnTo>
                <a:lnTo>
                  <a:pt x="168" y="259"/>
                </a:lnTo>
                <a:lnTo>
                  <a:pt x="141" y="282"/>
                </a:lnTo>
                <a:lnTo>
                  <a:pt x="114" y="297"/>
                </a:lnTo>
                <a:lnTo>
                  <a:pt x="84" y="304"/>
                </a:lnTo>
                <a:lnTo>
                  <a:pt x="57" y="300"/>
                </a:lnTo>
                <a:lnTo>
                  <a:pt x="32" y="284"/>
                </a:lnTo>
                <a:lnTo>
                  <a:pt x="16" y="261"/>
                </a:lnTo>
                <a:lnTo>
                  <a:pt x="5" y="229"/>
                </a:lnTo>
                <a:lnTo>
                  <a:pt x="0" y="193"/>
                </a:lnTo>
                <a:lnTo>
                  <a:pt x="5" y="155"/>
                </a:lnTo>
                <a:lnTo>
                  <a:pt x="16" y="114"/>
                </a:lnTo>
                <a:lnTo>
                  <a:pt x="34" y="75"/>
                </a:lnTo>
                <a:lnTo>
                  <a:pt x="59" y="44"/>
                </a:lnTo>
                <a:lnTo>
                  <a:pt x="84" y="21"/>
                </a:lnTo>
                <a:lnTo>
                  <a:pt x="114" y="5"/>
                </a:lnTo>
                <a:lnTo>
                  <a:pt x="143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Freeform 26"/>
          <p:cNvSpPr>
            <a:spLocks/>
          </p:cNvSpPr>
          <p:nvPr/>
        </p:nvSpPr>
        <p:spPr bwMode="auto">
          <a:xfrm>
            <a:off x="7976892" y="4366447"/>
            <a:ext cx="81230" cy="109500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5" y="21"/>
              </a:cxn>
              <a:cxn ang="0">
                <a:pos x="211" y="46"/>
              </a:cxn>
              <a:cxn ang="0">
                <a:pos x="222" y="75"/>
              </a:cxn>
              <a:cxn ang="0">
                <a:pos x="227" y="112"/>
              </a:cxn>
              <a:cxn ang="0">
                <a:pos x="222" y="150"/>
              </a:cxn>
              <a:cxn ang="0">
                <a:pos x="211" y="191"/>
              </a:cxn>
              <a:cxn ang="0">
                <a:pos x="193" y="229"/>
              </a:cxn>
              <a:cxn ang="0">
                <a:pos x="168" y="261"/>
              </a:cxn>
              <a:cxn ang="0">
                <a:pos x="143" y="284"/>
              </a:cxn>
              <a:cxn ang="0">
                <a:pos x="114" y="300"/>
              </a:cxn>
              <a:cxn ang="0">
                <a:pos x="84" y="306"/>
              </a:cxn>
              <a:cxn ang="0">
                <a:pos x="57" y="302"/>
              </a:cxn>
              <a:cxn ang="0">
                <a:pos x="32" y="286"/>
              </a:cxn>
              <a:cxn ang="0">
                <a:pos x="16" y="263"/>
              </a:cxn>
              <a:cxn ang="0">
                <a:pos x="5" y="232"/>
              </a:cxn>
              <a:cxn ang="0">
                <a:pos x="0" y="195"/>
              </a:cxn>
              <a:cxn ang="0">
                <a:pos x="5" y="157"/>
              </a:cxn>
              <a:cxn ang="0">
                <a:pos x="16" y="116"/>
              </a:cxn>
              <a:cxn ang="0">
                <a:pos x="34" y="78"/>
              </a:cxn>
              <a:cxn ang="0">
                <a:pos x="59" y="46"/>
              </a:cxn>
              <a:cxn ang="0">
                <a:pos x="86" y="23"/>
              </a:cxn>
              <a:cxn ang="0">
                <a:pos x="114" y="7"/>
              </a:cxn>
              <a:cxn ang="0">
                <a:pos x="143" y="0"/>
              </a:cxn>
            </a:cxnLst>
            <a:rect l="0" t="0" r="r" b="b"/>
            <a:pathLst>
              <a:path w="227" h="306">
                <a:moveTo>
                  <a:pt x="143" y="0"/>
                </a:moveTo>
                <a:lnTo>
                  <a:pt x="170" y="5"/>
                </a:lnTo>
                <a:lnTo>
                  <a:pt x="195" y="21"/>
                </a:lnTo>
                <a:lnTo>
                  <a:pt x="211" y="46"/>
                </a:lnTo>
                <a:lnTo>
                  <a:pt x="222" y="75"/>
                </a:lnTo>
                <a:lnTo>
                  <a:pt x="227" y="112"/>
                </a:lnTo>
                <a:lnTo>
                  <a:pt x="222" y="150"/>
                </a:lnTo>
                <a:lnTo>
                  <a:pt x="211" y="191"/>
                </a:lnTo>
                <a:lnTo>
                  <a:pt x="193" y="229"/>
                </a:lnTo>
                <a:lnTo>
                  <a:pt x="168" y="261"/>
                </a:lnTo>
                <a:lnTo>
                  <a:pt x="143" y="284"/>
                </a:lnTo>
                <a:lnTo>
                  <a:pt x="114" y="300"/>
                </a:lnTo>
                <a:lnTo>
                  <a:pt x="84" y="306"/>
                </a:lnTo>
                <a:lnTo>
                  <a:pt x="57" y="302"/>
                </a:lnTo>
                <a:lnTo>
                  <a:pt x="32" y="286"/>
                </a:lnTo>
                <a:lnTo>
                  <a:pt x="16" y="263"/>
                </a:lnTo>
                <a:lnTo>
                  <a:pt x="5" y="232"/>
                </a:lnTo>
                <a:lnTo>
                  <a:pt x="0" y="195"/>
                </a:lnTo>
                <a:lnTo>
                  <a:pt x="5" y="157"/>
                </a:lnTo>
                <a:lnTo>
                  <a:pt x="16" y="116"/>
                </a:lnTo>
                <a:lnTo>
                  <a:pt x="34" y="78"/>
                </a:lnTo>
                <a:lnTo>
                  <a:pt x="59" y="46"/>
                </a:lnTo>
                <a:lnTo>
                  <a:pt x="86" y="23"/>
                </a:lnTo>
                <a:lnTo>
                  <a:pt x="114" y="7"/>
                </a:lnTo>
                <a:lnTo>
                  <a:pt x="143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Freeform 27"/>
          <p:cNvSpPr>
            <a:spLocks/>
          </p:cNvSpPr>
          <p:nvPr/>
        </p:nvSpPr>
        <p:spPr bwMode="auto">
          <a:xfrm>
            <a:off x="7250119" y="4258733"/>
            <a:ext cx="781883" cy="1481107"/>
          </a:xfrm>
          <a:custGeom>
            <a:avLst/>
            <a:gdLst/>
            <a:ahLst/>
            <a:cxnLst>
              <a:cxn ang="0">
                <a:pos x="2151" y="0"/>
              </a:cxn>
              <a:cxn ang="0">
                <a:pos x="2167" y="5"/>
              </a:cxn>
              <a:cxn ang="0">
                <a:pos x="2176" y="14"/>
              </a:cxn>
              <a:cxn ang="0">
                <a:pos x="2183" y="25"/>
              </a:cxn>
              <a:cxn ang="0">
                <a:pos x="2185" y="39"/>
              </a:cxn>
              <a:cxn ang="0">
                <a:pos x="2185" y="61"/>
              </a:cxn>
              <a:cxn ang="0">
                <a:pos x="2183" y="68"/>
              </a:cxn>
              <a:cxn ang="0">
                <a:pos x="2183" y="70"/>
              </a:cxn>
              <a:cxn ang="0">
                <a:pos x="181" y="1131"/>
              </a:cxn>
              <a:cxn ang="0">
                <a:pos x="176" y="1133"/>
              </a:cxn>
              <a:cxn ang="0">
                <a:pos x="165" y="1145"/>
              </a:cxn>
              <a:cxn ang="0">
                <a:pos x="154" y="1158"/>
              </a:cxn>
              <a:cxn ang="0">
                <a:pos x="142" y="1181"/>
              </a:cxn>
              <a:cxn ang="0">
                <a:pos x="138" y="1206"/>
              </a:cxn>
              <a:cxn ang="0">
                <a:pos x="138" y="2702"/>
              </a:cxn>
              <a:cxn ang="0">
                <a:pos x="156" y="2720"/>
              </a:cxn>
              <a:cxn ang="0">
                <a:pos x="170" y="2743"/>
              </a:cxn>
              <a:cxn ang="0">
                <a:pos x="174" y="2770"/>
              </a:cxn>
              <a:cxn ang="0">
                <a:pos x="174" y="4053"/>
              </a:cxn>
              <a:cxn ang="0">
                <a:pos x="170" y="4080"/>
              </a:cxn>
              <a:cxn ang="0">
                <a:pos x="158" y="4103"/>
              </a:cxn>
              <a:cxn ang="0">
                <a:pos x="138" y="4123"/>
              </a:cxn>
              <a:cxn ang="0">
                <a:pos x="115" y="4134"/>
              </a:cxn>
              <a:cxn ang="0">
                <a:pos x="86" y="4139"/>
              </a:cxn>
              <a:cxn ang="0">
                <a:pos x="52" y="4132"/>
              </a:cxn>
              <a:cxn ang="0">
                <a:pos x="25" y="4114"/>
              </a:cxn>
              <a:cxn ang="0">
                <a:pos x="6" y="4087"/>
              </a:cxn>
              <a:cxn ang="0">
                <a:pos x="0" y="4053"/>
              </a:cxn>
              <a:cxn ang="0">
                <a:pos x="0" y="2770"/>
              </a:cxn>
              <a:cxn ang="0">
                <a:pos x="4" y="2740"/>
              </a:cxn>
              <a:cxn ang="0">
                <a:pos x="20" y="2718"/>
              </a:cxn>
              <a:cxn ang="0">
                <a:pos x="40" y="2697"/>
              </a:cxn>
              <a:cxn ang="0">
                <a:pos x="40" y="1176"/>
              </a:cxn>
              <a:cxn ang="0">
                <a:pos x="43" y="1147"/>
              </a:cxn>
              <a:cxn ang="0">
                <a:pos x="52" y="1122"/>
              </a:cxn>
              <a:cxn ang="0">
                <a:pos x="65" y="1104"/>
              </a:cxn>
              <a:cxn ang="0">
                <a:pos x="81" y="1088"/>
              </a:cxn>
              <a:cxn ang="0">
                <a:pos x="95" y="1079"/>
              </a:cxn>
              <a:cxn ang="0">
                <a:pos x="108" y="1072"/>
              </a:cxn>
              <a:cxn ang="0">
                <a:pos x="2129" y="2"/>
              </a:cxn>
              <a:cxn ang="0">
                <a:pos x="2151" y="0"/>
              </a:cxn>
            </a:cxnLst>
            <a:rect l="0" t="0" r="r" b="b"/>
            <a:pathLst>
              <a:path w="2185" h="4139">
                <a:moveTo>
                  <a:pt x="2151" y="0"/>
                </a:moveTo>
                <a:lnTo>
                  <a:pt x="2167" y="5"/>
                </a:lnTo>
                <a:lnTo>
                  <a:pt x="2176" y="14"/>
                </a:lnTo>
                <a:lnTo>
                  <a:pt x="2183" y="25"/>
                </a:lnTo>
                <a:lnTo>
                  <a:pt x="2185" y="39"/>
                </a:lnTo>
                <a:lnTo>
                  <a:pt x="2185" y="61"/>
                </a:lnTo>
                <a:lnTo>
                  <a:pt x="2183" y="68"/>
                </a:lnTo>
                <a:lnTo>
                  <a:pt x="2183" y="70"/>
                </a:lnTo>
                <a:lnTo>
                  <a:pt x="181" y="1131"/>
                </a:lnTo>
                <a:lnTo>
                  <a:pt x="176" y="1133"/>
                </a:lnTo>
                <a:lnTo>
                  <a:pt x="165" y="1145"/>
                </a:lnTo>
                <a:lnTo>
                  <a:pt x="154" y="1158"/>
                </a:lnTo>
                <a:lnTo>
                  <a:pt x="142" y="1181"/>
                </a:lnTo>
                <a:lnTo>
                  <a:pt x="138" y="1206"/>
                </a:lnTo>
                <a:lnTo>
                  <a:pt x="138" y="2702"/>
                </a:lnTo>
                <a:lnTo>
                  <a:pt x="156" y="2720"/>
                </a:lnTo>
                <a:lnTo>
                  <a:pt x="170" y="2743"/>
                </a:lnTo>
                <a:lnTo>
                  <a:pt x="174" y="2770"/>
                </a:lnTo>
                <a:lnTo>
                  <a:pt x="174" y="4053"/>
                </a:lnTo>
                <a:lnTo>
                  <a:pt x="170" y="4080"/>
                </a:lnTo>
                <a:lnTo>
                  <a:pt x="158" y="4103"/>
                </a:lnTo>
                <a:lnTo>
                  <a:pt x="138" y="4123"/>
                </a:lnTo>
                <a:lnTo>
                  <a:pt x="115" y="4134"/>
                </a:lnTo>
                <a:lnTo>
                  <a:pt x="86" y="4139"/>
                </a:lnTo>
                <a:lnTo>
                  <a:pt x="52" y="4132"/>
                </a:lnTo>
                <a:lnTo>
                  <a:pt x="25" y="4114"/>
                </a:lnTo>
                <a:lnTo>
                  <a:pt x="6" y="4087"/>
                </a:lnTo>
                <a:lnTo>
                  <a:pt x="0" y="4053"/>
                </a:lnTo>
                <a:lnTo>
                  <a:pt x="0" y="2770"/>
                </a:lnTo>
                <a:lnTo>
                  <a:pt x="4" y="2740"/>
                </a:lnTo>
                <a:lnTo>
                  <a:pt x="20" y="2718"/>
                </a:lnTo>
                <a:lnTo>
                  <a:pt x="40" y="2697"/>
                </a:lnTo>
                <a:lnTo>
                  <a:pt x="40" y="1176"/>
                </a:lnTo>
                <a:lnTo>
                  <a:pt x="43" y="1147"/>
                </a:lnTo>
                <a:lnTo>
                  <a:pt x="52" y="1122"/>
                </a:lnTo>
                <a:lnTo>
                  <a:pt x="65" y="1104"/>
                </a:lnTo>
                <a:lnTo>
                  <a:pt x="81" y="1088"/>
                </a:lnTo>
                <a:lnTo>
                  <a:pt x="95" y="1079"/>
                </a:lnTo>
                <a:lnTo>
                  <a:pt x="108" y="1072"/>
                </a:lnTo>
                <a:lnTo>
                  <a:pt x="2129" y="2"/>
                </a:lnTo>
                <a:lnTo>
                  <a:pt x="2151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Freeform 424"/>
          <p:cNvSpPr>
            <a:spLocks noEditPoints="1"/>
          </p:cNvSpPr>
          <p:nvPr/>
        </p:nvSpPr>
        <p:spPr bwMode="auto">
          <a:xfrm>
            <a:off x="5806195" y="5304137"/>
            <a:ext cx="932828" cy="468847"/>
          </a:xfrm>
          <a:custGeom>
            <a:avLst/>
            <a:gdLst/>
            <a:ahLst/>
            <a:cxnLst>
              <a:cxn ang="0">
                <a:pos x="1936" y="726"/>
              </a:cxn>
              <a:cxn ang="0">
                <a:pos x="1433" y="979"/>
              </a:cxn>
              <a:cxn ang="0">
                <a:pos x="1526" y="1027"/>
              </a:cxn>
              <a:cxn ang="0">
                <a:pos x="2029" y="774"/>
              </a:cxn>
              <a:cxn ang="0">
                <a:pos x="1936" y="726"/>
              </a:cxn>
              <a:cxn ang="0">
                <a:pos x="1749" y="631"/>
              </a:cxn>
              <a:cxn ang="0">
                <a:pos x="1246" y="884"/>
              </a:cxn>
              <a:cxn ang="0">
                <a:pos x="1356" y="940"/>
              </a:cxn>
              <a:cxn ang="0">
                <a:pos x="1859" y="687"/>
              </a:cxn>
              <a:cxn ang="0">
                <a:pos x="1749" y="631"/>
              </a:cxn>
              <a:cxn ang="0">
                <a:pos x="1562" y="535"/>
              </a:cxn>
              <a:cxn ang="0">
                <a:pos x="1060" y="789"/>
              </a:cxn>
              <a:cxn ang="0">
                <a:pos x="1170" y="845"/>
              </a:cxn>
              <a:cxn ang="0">
                <a:pos x="1673" y="591"/>
              </a:cxn>
              <a:cxn ang="0">
                <a:pos x="1562" y="535"/>
              </a:cxn>
              <a:cxn ang="0">
                <a:pos x="1387" y="445"/>
              </a:cxn>
              <a:cxn ang="0">
                <a:pos x="885" y="698"/>
              </a:cxn>
              <a:cxn ang="0">
                <a:pos x="984" y="749"/>
              </a:cxn>
              <a:cxn ang="0">
                <a:pos x="1485" y="496"/>
              </a:cxn>
              <a:cxn ang="0">
                <a:pos x="1387" y="445"/>
              </a:cxn>
              <a:cxn ang="0">
                <a:pos x="1212" y="356"/>
              </a:cxn>
              <a:cxn ang="0">
                <a:pos x="710" y="609"/>
              </a:cxn>
              <a:cxn ang="0">
                <a:pos x="809" y="659"/>
              </a:cxn>
              <a:cxn ang="0">
                <a:pos x="1310" y="406"/>
              </a:cxn>
              <a:cxn ang="0">
                <a:pos x="1212" y="356"/>
              </a:cxn>
              <a:cxn ang="0">
                <a:pos x="1029" y="263"/>
              </a:cxn>
              <a:cxn ang="0">
                <a:pos x="529" y="516"/>
              </a:cxn>
              <a:cxn ang="0">
                <a:pos x="634" y="570"/>
              </a:cxn>
              <a:cxn ang="0">
                <a:pos x="1136" y="317"/>
              </a:cxn>
              <a:cxn ang="0">
                <a:pos x="1029" y="263"/>
              </a:cxn>
              <a:cxn ang="0">
                <a:pos x="850" y="172"/>
              </a:cxn>
              <a:cxn ang="0">
                <a:pos x="349" y="425"/>
              </a:cxn>
              <a:cxn ang="0">
                <a:pos x="452" y="477"/>
              </a:cxn>
              <a:cxn ang="0">
                <a:pos x="953" y="225"/>
              </a:cxn>
              <a:cxn ang="0">
                <a:pos x="850" y="172"/>
              </a:cxn>
              <a:cxn ang="0">
                <a:pos x="770" y="0"/>
              </a:cxn>
              <a:cxn ang="0">
                <a:pos x="2300" y="770"/>
              </a:cxn>
              <a:cxn ang="0">
                <a:pos x="2161" y="840"/>
              </a:cxn>
              <a:cxn ang="0">
                <a:pos x="2106" y="813"/>
              </a:cxn>
              <a:cxn ang="0">
                <a:pos x="1603" y="1066"/>
              </a:cxn>
              <a:cxn ang="0">
                <a:pos x="1653" y="1091"/>
              </a:cxn>
              <a:cxn ang="0">
                <a:pos x="1521" y="1156"/>
              </a:cxn>
              <a:cxn ang="0">
                <a:pos x="0" y="385"/>
              </a:cxn>
              <a:cxn ang="0">
                <a:pos x="140" y="314"/>
              </a:cxn>
              <a:cxn ang="0">
                <a:pos x="273" y="385"/>
              </a:cxn>
              <a:cxn ang="0">
                <a:pos x="773" y="133"/>
              </a:cxn>
              <a:cxn ang="0">
                <a:pos x="637" y="67"/>
              </a:cxn>
              <a:cxn ang="0">
                <a:pos x="770" y="0"/>
              </a:cxn>
            </a:cxnLst>
            <a:rect l="0" t="0" r="r" b="b"/>
            <a:pathLst>
              <a:path w="2300" h="1156">
                <a:moveTo>
                  <a:pt x="1936" y="726"/>
                </a:moveTo>
                <a:lnTo>
                  <a:pt x="1433" y="979"/>
                </a:lnTo>
                <a:lnTo>
                  <a:pt x="1526" y="1027"/>
                </a:lnTo>
                <a:lnTo>
                  <a:pt x="2029" y="774"/>
                </a:lnTo>
                <a:lnTo>
                  <a:pt x="1936" y="726"/>
                </a:lnTo>
                <a:close/>
                <a:moveTo>
                  <a:pt x="1749" y="631"/>
                </a:moveTo>
                <a:lnTo>
                  <a:pt x="1246" y="884"/>
                </a:lnTo>
                <a:lnTo>
                  <a:pt x="1356" y="940"/>
                </a:lnTo>
                <a:lnTo>
                  <a:pt x="1859" y="687"/>
                </a:lnTo>
                <a:lnTo>
                  <a:pt x="1749" y="631"/>
                </a:lnTo>
                <a:close/>
                <a:moveTo>
                  <a:pt x="1562" y="535"/>
                </a:moveTo>
                <a:lnTo>
                  <a:pt x="1060" y="789"/>
                </a:lnTo>
                <a:lnTo>
                  <a:pt x="1170" y="845"/>
                </a:lnTo>
                <a:lnTo>
                  <a:pt x="1673" y="591"/>
                </a:lnTo>
                <a:lnTo>
                  <a:pt x="1562" y="535"/>
                </a:lnTo>
                <a:close/>
                <a:moveTo>
                  <a:pt x="1387" y="445"/>
                </a:moveTo>
                <a:lnTo>
                  <a:pt x="885" y="698"/>
                </a:lnTo>
                <a:lnTo>
                  <a:pt x="984" y="749"/>
                </a:lnTo>
                <a:lnTo>
                  <a:pt x="1485" y="496"/>
                </a:lnTo>
                <a:lnTo>
                  <a:pt x="1387" y="445"/>
                </a:lnTo>
                <a:close/>
                <a:moveTo>
                  <a:pt x="1212" y="356"/>
                </a:moveTo>
                <a:lnTo>
                  <a:pt x="710" y="609"/>
                </a:lnTo>
                <a:lnTo>
                  <a:pt x="809" y="659"/>
                </a:lnTo>
                <a:lnTo>
                  <a:pt x="1310" y="406"/>
                </a:lnTo>
                <a:lnTo>
                  <a:pt x="1212" y="356"/>
                </a:lnTo>
                <a:close/>
                <a:moveTo>
                  <a:pt x="1029" y="263"/>
                </a:moveTo>
                <a:lnTo>
                  <a:pt x="529" y="516"/>
                </a:lnTo>
                <a:lnTo>
                  <a:pt x="634" y="570"/>
                </a:lnTo>
                <a:lnTo>
                  <a:pt x="1136" y="317"/>
                </a:lnTo>
                <a:lnTo>
                  <a:pt x="1029" y="263"/>
                </a:lnTo>
                <a:close/>
                <a:moveTo>
                  <a:pt x="850" y="172"/>
                </a:moveTo>
                <a:lnTo>
                  <a:pt x="349" y="425"/>
                </a:lnTo>
                <a:lnTo>
                  <a:pt x="452" y="477"/>
                </a:lnTo>
                <a:lnTo>
                  <a:pt x="953" y="225"/>
                </a:lnTo>
                <a:lnTo>
                  <a:pt x="850" y="172"/>
                </a:lnTo>
                <a:close/>
                <a:moveTo>
                  <a:pt x="770" y="0"/>
                </a:moveTo>
                <a:lnTo>
                  <a:pt x="2300" y="770"/>
                </a:lnTo>
                <a:lnTo>
                  <a:pt x="2161" y="840"/>
                </a:lnTo>
                <a:lnTo>
                  <a:pt x="2106" y="813"/>
                </a:lnTo>
                <a:lnTo>
                  <a:pt x="1603" y="1066"/>
                </a:lnTo>
                <a:lnTo>
                  <a:pt x="1653" y="1091"/>
                </a:lnTo>
                <a:lnTo>
                  <a:pt x="1521" y="1156"/>
                </a:lnTo>
                <a:lnTo>
                  <a:pt x="0" y="385"/>
                </a:lnTo>
                <a:lnTo>
                  <a:pt x="140" y="314"/>
                </a:lnTo>
                <a:lnTo>
                  <a:pt x="273" y="385"/>
                </a:lnTo>
                <a:lnTo>
                  <a:pt x="773" y="133"/>
                </a:lnTo>
                <a:lnTo>
                  <a:pt x="637" y="67"/>
                </a:lnTo>
                <a:lnTo>
                  <a:pt x="770" y="0"/>
                </a:lnTo>
                <a:close/>
              </a:path>
            </a:pathLst>
          </a:custGeom>
          <a:solidFill>
            <a:sysClr val="window" lastClr="FFFFFF"/>
          </a:solidFill>
          <a:ln w="0">
            <a:solidFill>
              <a:srgbClr val="E8EFED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5" name="Gruppieren 83"/>
          <p:cNvGrpSpPr/>
          <p:nvPr/>
        </p:nvGrpSpPr>
        <p:grpSpPr>
          <a:xfrm>
            <a:off x="6331164" y="5078497"/>
            <a:ext cx="597009" cy="393763"/>
            <a:chOff x="596757" y="3362466"/>
            <a:chExt cx="597010" cy="393763"/>
          </a:xfrm>
        </p:grpSpPr>
        <p:sp>
          <p:nvSpPr>
            <p:cNvPr id="26" name="Freeform 260"/>
            <p:cNvSpPr>
              <a:spLocks/>
            </p:cNvSpPr>
            <p:nvPr/>
          </p:nvSpPr>
          <p:spPr bwMode="auto">
            <a:xfrm>
              <a:off x="596757" y="3453859"/>
              <a:ext cx="597010" cy="302370"/>
            </a:xfrm>
            <a:custGeom>
              <a:avLst/>
              <a:gdLst/>
              <a:ahLst/>
              <a:cxnLst>
                <a:cxn ang="0">
                  <a:pos x="894" y="0"/>
                </a:cxn>
                <a:cxn ang="0">
                  <a:pos x="1244" y="78"/>
                </a:cxn>
                <a:cxn ang="0">
                  <a:pos x="1275" y="91"/>
                </a:cxn>
                <a:cxn ang="0">
                  <a:pos x="1295" y="106"/>
                </a:cxn>
                <a:cxn ang="0">
                  <a:pos x="1308" y="120"/>
                </a:cxn>
                <a:cxn ang="0">
                  <a:pos x="1313" y="135"/>
                </a:cxn>
                <a:cxn ang="0">
                  <a:pos x="1313" y="150"/>
                </a:cxn>
                <a:cxn ang="0">
                  <a:pos x="1310" y="163"/>
                </a:cxn>
                <a:cxn ang="0">
                  <a:pos x="1303" y="176"/>
                </a:cxn>
                <a:cxn ang="0">
                  <a:pos x="1295" y="186"/>
                </a:cxn>
                <a:cxn ang="0">
                  <a:pos x="1288" y="194"/>
                </a:cxn>
                <a:cxn ang="0">
                  <a:pos x="1282" y="199"/>
                </a:cxn>
                <a:cxn ang="0">
                  <a:pos x="1280" y="200"/>
                </a:cxn>
                <a:cxn ang="0">
                  <a:pos x="546" y="628"/>
                </a:cxn>
                <a:cxn ang="0">
                  <a:pos x="512" y="646"/>
                </a:cxn>
                <a:cxn ang="0">
                  <a:pos x="483" y="657"/>
                </a:cxn>
                <a:cxn ang="0">
                  <a:pos x="456" y="664"/>
                </a:cxn>
                <a:cxn ang="0">
                  <a:pos x="434" y="665"/>
                </a:cxn>
                <a:cxn ang="0">
                  <a:pos x="414" y="664"/>
                </a:cxn>
                <a:cxn ang="0">
                  <a:pos x="399" y="661"/>
                </a:cxn>
                <a:cxn ang="0">
                  <a:pos x="386" y="657"/>
                </a:cxn>
                <a:cxn ang="0">
                  <a:pos x="378" y="652"/>
                </a:cxn>
                <a:cxn ang="0">
                  <a:pos x="373" y="649"/>
                </a:cxn>
                <a:cxn ang="0">
                  <a:pos x="372" y="647"/>
                </a:cxn>
                <a:cxn ang="0">
                  <a:pos x="37" y="453"/>
                </a:cxn>
                <a:cxn ang="0">
                  <a:pos x="16" y="434"/>
                </a:cxn>
                <a:cxn ang="0">
                  <a:pos x="5" y="416"/>
                </a:cxn>
                <a:cxn ang="0">
                  <a:pos x="0" y="401"/>
                </a:cxn>
                <a:cxn ang="0">
                  <a:pos x="3" y="388"/>
                </a:cxn>
                <a:cxn ang="0">
                  <a:pos x="9" y="375"/>
                </a:cxn>
                <a:cxn ang="0">
                  <a:pos x="18" y="365"/>
                </a:cxn>
                <a:cxn ang="0">
                  <a:pos x="40" y="352"/>
                </a:cxn>
                <a:cxn ang="0">
                  <a:pos x="50" y="347"/>
                </a:cxn>
                <a:cxn ang="0">
                  <a:pos x="57" y="346"/>
                </a:cxn>
                <a:cxn ang="0">
                  <a:pos x="60" y="344"/>
                </a:cxn>
                <a:cxn ang="0">
                  <a:pos x="894" y="0"/>
                </a:cxn>
              </a:cxnLst>
              <a:rect l="0" t="0" r="r" b="b"/>
              <a:pathLst>
                <a:path w="1313" h="665">
                  <a:moveTo>
                    <a:pt x="894" y="0"/>
                  </a:moveTo>
                  <a:lnTo>
                    <a:pt x="1244" y="78"/>
                  </a:lnTo>
                  <a:lnTo>
                    <a:pt x="1275" y="91"/>
                  </a:lnTo>
                  <a:lnTo>
                    <a:pt x="1295" y="106"/>
                  </a:lnTo>
                  <a:lnTo>
                    <a:pt x="1308" y="120"/>
                  </a:lnTo>
                  <a:lnTo>
                    <a:pt x="1313" y="135"/>
                  </a:lnTo>
                  <a:lnTo>
                    <a:pt x="1313" y="150"/>
                  </a:lnTo>
                  <a:lnTo>
                    <a:pt x="1310" y="163"/>
                  </a:lnTo>
                  <a:lnTo>
                    <a:pt x="1303" y="176"/>
                  </a:lnTo>
                  <a:lnTo>
                    <a:pt x="1295" y="186"/>
                  </a:lnTo>
                  <a:lnTo>
                    <a:pt x="1288" y="194"/>
                  </a:lnTo>
                  <a:lnTo>
                    <a:pt x="1282" y="199"/>
                  </a:lnTo>
                  <a:lnTo>
                    <a:pt x="1280" y="200"/>
                  </a:lnTo>
                  <a:lnTo>
                    <a:pt x="546" y="628"/>
                  </a:lnTo>
                  <a:lnTo>
                    <a:pt x="512" y="646"/>
                  </a:lnTo>
                  <a:lnTo>
                    <a:pt x="483" y="657"/>
                  </a:lnTo>
                  <a:lnTo>
                    <a:pt x="456" y="664"/>
                  </a:lnTo>
                  <a:lnTo>
                    <a:pt x="434" y="665"/>
                  </a:lnTo>
                  <a:lnTo>
                    <a:pt x="414" y="664"/>
                  </a:lnTo>
                  <a:lnTo>
                    <a:pt x="399" y="661"/>
                  </a:lnTo>
                  <a:lnTo>
                    <a:pt x="386" y="657"/>
                  </a:lnTo>
                  <a:lnTo>
                    <a:pt x="378" y="652"/>
                  </a:lnTo>
                  <a:lnTo>
                    <a:pt x="373" y="649"/>
                  </a:lnTo>
                  <a:lnTo>
                    <a:pt x="372" y="647"/>
                  </a:lnTo>
                  <a:lnTo>
                    <a:pt x="37" y="453"/>
                  </a:lnTo>
                  <a:lnTo>
                    <a:pt x="16" y="434"/>
                  </a:lnTo>
                  <a:lnTo>
                    <a:pt x="5" y="416"/>
                  </a:lnTo>
                  <a:lnTo>
                    <a:pt x="0" y="401"/>
                  </a:lnTo>
                  <a:lnTo>
                    <a:pt x="3" y="388"/>
                  </a:lnTo>
                  <a:lnTo>
                    <a:pt x="9" y="375"/>
                  </a:lnTo>
                  <a:lnTo>
                    <a:pt x="18" y="365"/>
                  </a:lnTo>
                  <a:lnTo>
                    <a:pt x="40" y="352"/>
                  </a:lnTo>
                  <a:lnTo>
                    <a:pt x="50" y="347"/>
                  </a:lnTo>
                  <a:lnTo>
                    <a:pt x="57" y="346"/>
                  </a:lnTo>
                  <a:lnTo>
                    <a:pt x="60" y="344"/>
                  </a:lnTo>
                  <a:lnTo>
                    <a:pt x="894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261"/>
            <p:cNvSpPr>
              <a:spLocks/>
            </p:cNvSpPr>
            <p:nvPr/>
          </p:nvSpPr>
          <p:spPr bwMode="auto">
            <a:xfrm>
              <a:off x="1103738" y="3469319"/>
              <a:ext cx="50016" cy="52744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102" y="37"/>
                </a:cxn>
                <a:cxn ang="0">
                  <a:pos x="110" y="116"/>
                </a:cxn>
                <a:cxn ang="0">
                  <a:pos x="72" y="114"/>
                </a:cxn>
                <a:cxn ang="0">
                  <a:pos x="12" y="75"/>
                </a:cxn>
                <a:cxn ang="0">
                  <a:pos x="0" y="26"/>
                </a:cxn>
                <a:cxn ang="0">
                  <a:pos x="46" y="0"/>
                </a:cxn>
              </a:cxnLst>
              <a:rect l="0" t="0" r="r" b="b"/>
              <a:pathLst>
                <a:path w="110" h="116">
                  <a:moveTo>
                    <a:pt x="46" y="0"/>
                  </a:moveTo>
                  <a:lnTo>
                    <a:pt x="102" y="37"/>
                  </a:lnTo>
                  <a:lnTo>
                    <a:pt x="110" y="116"/>
                  </a:lnTo>
                  <a:lnTo>
                    <a:pt x="72" y="114"/>
                  </a:lnTo>
                  <a:lnTo>
                    <a:pt x="12" y="75"/>
                  </a:lnTo>
                  <a:lnTo>
                    <a:pt x="0" y="2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262"/>
            <p:cNvSpPr>
              <a:spLocks/>
            </p:cNvSpPr>
            <p:nvPr/>
          </p:nvSpPr>
          <p:spPr bwMode="auto">
            <a:xfrm>
              <a:off x="888214" y="3589357"/>
              <a:ext cx="58655" cy="64566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120" y="48"/>
                </a:cxn>
                <a:cxn ang="0">
                  <a:pos x="129" y="97"/>
                </a:cxn>
                <a:cxn ang="0">
                  <a:pos x="106" y="142"/>
                </a:cxn>
                <a:cxn ang="0">
                  <a:pos x="37" y="114"/>
                </a:cxn>
                <a:cxn ang="0">
                  <a:pos x="0" y="30"/>
                </a:cxn>
                <a:cxn ang="0">
                  <a:pos x="45" y="0"/>
                </a:cxn>
              </a:cxnLst>
              <a:rect l="0" t="0" r="r" b="b"/>
              <a:pathLst>
                <a:path w="129" h="142">
                  <a:moveTo>
                    <a:pt x="45" y="0"/>
                  </a:moveTo>
                  <a:lnTo>
                    <a:pt x="120" y="48"/>
                  </a:lnTo>
                  <a:lnTo>
                    <a:pt x="129" y="97"/>
                  </a:lnTo>
                  <a:lnTo>
                    <a:pt x="106" y="142"/>
                  </a:lnTo>
                  <a:lnTo>
                    <a:pt x="37" y="114"/>
                  </a:lnTo>
                  <a:lnTo>
                    <a:pt x="0" y="3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263"/>
            <p:cNvSpPr>
              <a:spLocks/>
            </p:cNvSpPr>
            <p:nvPr/>
          </p:nvSpPr>
          <p:spPr bwMode="auto">
            <a:xfrm>
              <a:off x="1060088" y="3478867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3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0"/>
                </a:cxn>
                <a:cxn ang="0">
                  <a:pos x="139" y="96"/>
                </a:cxn>
                <a:cxn ang="0">
                  <a:pos x="131" y="122"/>
                </a:cxn>
                <a:cxn ang="0">
                  <a:pos x="119" y="147"/>
                </a:cxn>
                <a:cxn ang="0">
                  <a:pos x="105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4"/>
                </a:cxn>
                <a:cxn ang="0">
                  <a:pos x="10" y="170"/>
                </a:cxn>
                <a:cxn ang="0">
                  <a:pos x="3" y="150"/>
                </a:cxn>
                <a:cxn ang="0">
                  <a:pos x="0" y="127"/>
                </a:cxn>
                <a:cxn ang="0">
                  <a:pos x="3" y="101"/>
                </a:cxn>
                <a:cxn ang="0">
                  <a:pos x="10" y="75"/>
                </a:cxn>
                <a:cxn ang="0">
                  <a:pos x="25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3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0"/>
                  </a:lnTo>
                  <a:lnTo>
                    <a:pt x="139" y="96"/>
                  </a:lnTo>
                  <a:lnTo>
                    <a:pt x="131" y="122"/>
                  </a:lnTo>
                  <a:lnTo>
                    <a:pt x="119" y="147"/>
                  </a:lnTo>
                  <a:lnTo>
                    <a:pt x="105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4"/>
                  </a:lnTo>
                  <a:lnTo>
                    <a:pt x="10" y="170"/>
                  </a:lnTo>
                  <a:lnTo>
                    <a:pt x="3" y="150"/>
                  </a:lnTo>
                  <a:lnTo>
                    <a:pt x="0" y="127"/>
                  </a:lnTo>
                  <a:lnTo>
                    <a:pt x="3" y="101"/>
                  </a:lnTo>
                  <a:lnTo>
                    <a:pt x="10" y="75"/>
                  </a:lnTo>
                  <a:lnTo>
                    <a:pt x="25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264"/>
            <p:cNvSpPr>
              <a:spLocks/>
            </p:cNvSpPr>
            <p:nvPr/>
          </p:nvSpPr>
          <p:spPr bwMode="auto">
            <a:xfrm>
              <a:off x="1075093" y="3484778"/>
              <a:ext cx="60929" cy="94121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134" y="18"/>
                </a:cxn>
                <a:cxn ang="0">
                  <a:pos x="124" y="38"/>
                </a:cxn>
                <a:cxn ang="0">
                  <a:pos x="55" y="199"/>
                </a:cxn>
                <a:cxn ang="0">
                  <a:pos x="52" y="207"/>
                </a:cxn>
                <a:cxn ang="0">
                  <a:pos x="0" y="181"/>
                </a:cxn>
                <a:cxn ang="0">
                  <a:pos x="15" y="47"/>
                </a:cxn>
                <a:cxn ang="0">
                  <a:pos x="81" y="0"/>
                </a:cxn>
              </a:cxnLst>
              <a:rect l="0" t="0" r="r" b="b"/>
              <a:pathLst>
                <a:path w="134" h="207">
                  <a:moveTo>
                    <a:pt x="81" y="0"/>
                  </a:moveTo>
                  <a:lnTo>
                    <a:pt x="134" y="18"/>
                  </a:lnTo>
                  <a:lnTo>
                    <a:pt x="124" y="38"/>
                  </a:lnTo>
                  <a:lnTo>
                    <a:pt x="55" y="199"/>
                  </a:lnTo>
                  <a:lnTo>
                    <a:pt x="52" y="207"/>
                  </a:lnTo>
                  <a:lnTo>
                    <a:pt x="0" y="181"/>
                  </a:lnTo>
                  <a:lnTo>
                    <a:pt x="15" y="47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Freeform 265"/>
            <p:cNvSpPr>
              <a:spLocks/>
            </p:cNvSpPr>
            <p:nvPr/>
          </p:nvSpPr>
          <p:spPr bwMode="auto">
            <a:xfrm>
              <a:off x="1084641" y="3490689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2"/>
                </a:cxn>
                <a:cxn ang="0">
                  <a:pos x="139" y="96"/>
                </a:cxn>
                <a:cxn ang="0">
                  <a:pos x="131" y="123"/>
                </a:cxn>
                <a:cxn ang="0">
                  <a:pos x="119" y="147"/>
                </a:cxn>
                <a:cxn ang="0">
                  <a:pos x="104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5"/>
                </a:cxn>
                <a:cxn ang="0">
                  <a:pos x="8" y="170"/>
                </a:cxn>
                <a:cxn ang="0">
                  <a:pos x="2" y="150"/>
                </a:cxn>
                <a:cxn ang="0">
                  <a:pos x="0" y="127"/>
                </a:cxn>
                <a:cxn ang="0">
                  <a:pos x="2" y="103"/>
                </a:cxn>
                <a:cxn ang="0">
                  <a:pos x="10" y="77"/>
                </a:cxn>
                <a:cxn ang="0">
                  <a:pos x="25" y="47"/>
                </a:cxn>
                <a:cxn ang="0">
                  <a:pos x="44" y="25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2"/>
                  </a:lnTo>
                  <a:lnTo>
                    <a:pt x="139" y="96"/>
                  </a:lnTo>
                  <a:lnTo>
                    <a:pt x="131" y="123"/>
                  </a:lnTo>
                  <a:lnTo>
                    <a:pt x="119" y="147"/>
                  </a:lnTo>
                  <a:lnTo>
                    <a:pt x="104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5"/>
                  </a:lnTo>
                  <a:lnTo>
                    <a:pt x="8" y="170"/>
                  </a:lnTo>
                  <a:lnTo>
                    <a:pt x="2" y="150"/>
                  </a:lnTo>
                  <a:lnTo>
                    <a:pt x="0" y="127"/>
                  </a:lnTo>
                  <a:lnTo>
                    <a:pt x="2" y="103"/>
                  </a:lnTo>
                  <a:lnTo>
                    <a:pt x="10" y="77"/>
                  </a:lnTo>
                  <a:lnTo>
                    <a:pt x="25" y="47"/>
                  </a:lnTo>
                  <a:lnTo>
                    <a:pt x="44" y="25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Freeform 266"/>
            <p:cNvSpPr>
              <a:spLocks/>
            </p:cNvSpPr>
            <p:nvPr/>
          </p:nvSpPr>
          <p:spPr bwMode="auto">
            <a:xfrm>
              <a:off x="1101010" y="3512969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7" y="0"/>
                </a:cxn>
                <a:cxn ang="0">
                  <a:pos x="67" y="8"/>
                </a:cxn>
                <a:cxn ang="0">
                  <a:pos x="73" y="25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9" y="82"/>
                </a:cxn>
                <a:cxn ang="0">
                  <a:pos x="46" y="96"/>
                </a:cxn>
                <a:cxn ang="0">
                  <a:pos x="31" y="103"/>
                </a:cxn>
                <a:cxn ang="0">
                  <a:pos x="18" y="103"/>
                </a:cxn>
                <a:cxn ang="0">
                  <a:pos x="8" y="96"/>
                </a:cxn>
                <a:cxn ang="0">
                  <a:pos x="3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5" y="39"/>
                </a:cxn>
                <a:cxn ang="0">
                  <a:pos x="15" y="21"/>
                </a:cxn>
                <a:cxn ang="0">
                  <a:pos x="29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7" y="0"/>
                  </a:lnTo>
                  <a:lnTo>
                    <a:pt x="67" y="8"/>
                  </a:lnTo>
                  <a:lnTo>
                    <a:pt x="73" y="25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9" y="82"/>
                  </a:lnTo>
                  <a:lnTo>
                    <a:pt x="46" y="96"/>
                  </a:lnTo>
                  <a:lnTo>
                    <a:pt x="31" y="103"/>
                  </a:lnTo>
                  <a:lnTo>
                    <a:pt x="18" y="103"/>
                  </a:lnTo>
                  <a:lnTo>
                    <a:pt x="8" y="96"/>
                  </a:lnTo>
                  <a:lnTo>
                    <a:pt x="3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5" y="39"/>
                  </a:lnTo>
                  <a:lnTo>
                    <a:pt x="15" y="21"/>
                  </a:lnTo>
                  <a:lnTo>
                    <a:pt x="29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Freeform 267"/>
            <p:cNvSpPr>
              <a:spLocks/>
            </p:cNvSpPr>
            <p:nvPr/>
          </p:nvSpPr>
          <p:spPr bwMode="auto">
            <a:xfrm>
              <a:off x="1101920" y="3514333"/>
              <a:ext cx="29555" cy="42286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50" y="2"/>
                </a:cxn>
                <a:cxn ang="0">
                  <a:pos x="60" y="9"/>
                </a:cxn>
                <a:cxn ang="0">
                  <a:pos x="65" y="22"/>
                </a:cxn>
                <a:cxn ang="0">
                  <a:pos x="65" y="40"/>
                </a:cxn>
                <a:cxn ang="0">
                  <a:pos x="60" y="57"/>
                </a:cxn>
                <a:cxn ang="0">
                  <a:pos x="52" y="75"/>
                </a:cxn>
                <a:cxn ang="0">
                  <a:pos x="40" y="87"/>
                </a:cxn>
                <a:cxn ang="0">
                  <a:pos x="27" y="93"/>
                </a:cxn>
                <a:cxn ang="0">
                  <a:pos x="14" y="93"/>
                </a:cxn>
                <a:cxn ang="0">
                  <a:pos x="4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4" y="20"/>
                </a:cxn>
                <a:cxn ang="0">
                  <a:pos x="26" y="7"/>
                </a:cxn>
                <a:cxn ang="0">
                  <a:pos x="37" y="0"/>
                </a:cxn>
              </a:cxnLst>
              <a:rect l="0" t="0" r="r" b="b"/>
              <a:pathLst>
                <a:path w="65" h="93">
                  <a:moveTo>
                    <a:pt x="37" y="0"/>
                  </a:moveTo>
                  <a:lnTo>
                    <a:pt x="50" y="2"/>
                  </a:lnTo>
                  <a:lnTo>
                    <a:pt x="60" y="9"/>
                  </a:lnTo>
                  <a:lnTo>
                    <a:pt x="65" y="22"/>
                  </a:lnTo>
                  <a:lnTo>
                    <a:pt x="65" y="40"/>
                  </a:lnTo>
                  <a:lnTo>
                    <a:pt x="60" y="57"/>
                  </a:lnTo>
                  <a:lnTo>
                    <a:pt x="52" y="75"/>
                  </a:lnTo>
                  <a:lnTo>
                    <a:pt x="40" y="87"/>
                  </a:lnTo>
                  <a:lnTo>
                    <a:pt x="27" y="93"/>
                  </a:lnTo>
                  <a:lnTo>
                    <a:pt x="14" y="93"/>
                  </a:lnTo>
                  <a:lnTo>
                    <a:pt x="4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4" y="36"/>
                  </a:lnTo>
                  <a:lnTo>
                    <a:pt x="14" y="20"/>
                  </a:lnTo>
                  <a:lnTo>
                    <a:pt x="26" y="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268"/>
            <p:cNvSpPr>
              <a:spLocks/>
            </p:cNvSpPr>
            <p:nvPr/>
          </p:nvSpPr>
          <p:spPr bwMode="auto">
            <a:xfrm>
              <a:off x="845928" y="3595268"/>
              <a:ext cx="64566" cy="9002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107" y="4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2" y="70"/>
                </a:cxn>
                <a:cxn ang="0">
                  <a:pos x="138" y="95"/>
                </a:cxn>
                <a:cxn ang="0">
                  <a:pos x="130" y="121"/>
                </a:cxn>
                <a:cxn ang="0">
                  <a:pos x="119" y="146"/>
                </a:cxn>
                <a:cxn ang="0">
                  <a:pos x="104" y="167"/>
                </a:cxn>
                <a:cxn ang="0">
                  <a:pos x="86" y="183"/>
                </a:cxn>
                <a:cxn ang="0">
                  <a:pos x="70" y="193"/>
                </a:cxn>
                <a:cxn ang="0">
                  <a:pos x="50" y="198"/>
                </a:cxn>
                <a:cxn ang="0">
                  <a:pos x="34" y="194"/>
                </a:cxn>
                <a:cxn ang="0">
                  <a:pos x="19" y="185"/>
                </a:cxn>
                <a:cxn ang="0">
                  <a:pos x="8" y="170"/>
                </a:cxn>
                <a:cxn ang="0">
                  <a:pos x="1" y="149"/>
                </a:cxn>
                <a:cxn ang="0">
                  <a:pos x="0" y="126"/>
                </a:cxn>
                <a:cxn ang="0">
                  <a:pos x="1" y="101"/>
                </a:cxn>
                <a:cxn ang="0">
                  <a:pos x="10" y="75"/>
                </a:cxn>
                <a:cxn ang="0">
                  <a:pos x="24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6" y="0"/>
                </a:cxn>
              </a:cxnLst>
              <a:rect l="0" t="0" r="r" b="b"/>
              <a:pathLst>
                <a:path w="142" h="198">
                  <a:moveTo>
                    <a:pt x="86" y="0"/>
                  </a:moveTo>
                  <a:lnTo>
                    <a:pt x="107" y="4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2" y="70"/>
                  </a:lnTo>
                  <a:lnTo>
                    <a:pt x="138" y="95"/>
                  </a:lnTo>
                  <a:lnTo>
                    <a:pt x="130" y="121"/>
                  </a:lnTo>
                  <a:lnTo>
                    <a:pt x="119" y="146"/>
                  </a:lnTo>
                  <a:lnTo>
                    <a:pt x="104" y="167"/>
                  </a:lnTo>
                  <a:lnTo>
                    <a:pt x="86" y="183"/>
                  </a:lnTo>
                  <a:lnTo>
                    <a:pt x="70" y="193"/>
                  </a:lnTo>
                  <a:lnTo>
                    <a:pt x="50" y="198"/>
                  </a:lnTo>
                  <a:lnTo>
                    <a:pt x="34" y="194"/>
                  </a:lnTo>
                  <a:lnTo>
                    <a:pt x="19" y="185"/>
                  </a:lnTo>
                  <a:lnTo>
                    <a:pt x="8" y="170"/>
                  </a:lnTo>
                  <a:lnTo>
                    <a:pt x="1" y="149"/>
                  </a:lnTo>
                  <a:lnTo>
                    <a:pt x="0" y="126"/>
                  </a:lnTo>
                  <a:lnTo>
                    <a:pt x="1" y="101"/>
                  </a:lnTo>
                  <a:lnTo>
                    <a:pt x="10" y="75"/>
                  </a:lnTo>
                  <a:lnTo>
                    <a:pt x="24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" name="Freeform 269"/>
            <p:cNvSpPr>
              <a:spLocks/>
            </p:cNvSpPr>
            <p:nvPr/>
          </p:nvSpPr>
          <p:spPr bwMode="auto">
            <a:xfrm>
              <a:off x="860478" y="3601179"/>
              <a:ext cx="59564" cy="93666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31" y="18"/>
                </a:cxn>
                <a:cxn ang="0">
                  <a:pos x="123" y="38"/>
                </a:cxn>
                <a:cxn ang="0">
                  <a:pos x="56" y="198"/>
                </a:cxn>
                <a:cxn ang="0">
                  <a:pos x="51" y="206"/>
                </a:cxn>
                <a:cxn ang="0">
                  <a:pos x="0" y="180"/>
                </a:cxn>
                <a:cxn ang="0">
                  <a:pos x="15" y="48"/>
                </a:cxn>
                <a:cxn ang="0">
                  <a:pos x="82" y="0"/>
                </a:cxn>
              </a:cxnLst>
              <a:rect l="0" t="0" r="r" b="b"/>
              <a:pathLst>
                <a:path w="131" h="206">
                  <a:moveTo>
                    <a:pt x="82" y="0"/>
                  </a:moveTo>
                  <a:lnTo>
                    <a:pt x="131" y="18"/>
                  </a:lnTo>
                  <a:lnTo>
                    <a:pt x="123" y="38"/>
                  </a:lnTo>
                  <a:lnTo>
                    <a:pt x="56" y="198"/>
                  </a:lnTo>
                  <a:lnTo>
                    <a:pt x="51" y="206"/>
                  </a:lnTo>
                  <a:lnTo>
                    <a:pt x="0" y="180"/>
                  </a:lnTo>
                  <a:lnTo>
                    <a:pt x="15" y="48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Freeform 270"/>
            <p:cNvSpPr>
              <a:spLocks/>
            </p:cNvSpPr>
            <p:nvPr/>
          </p:nvSpPr>
          <p:spPr bwMode="auto">
            <a:xfrm>
              <a:off x="870481" y="3607090"/>
              <a:ext cx="63657" cy="9002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06" y="4"/>
                </a:cxn>
                <a:cxn ang="0">
                  <a:pos x="120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0" y="71"/>
                </a:cxn>
                <a:cxn ang="0">
                  <a:pos x="138" y="97"/>
                </a:cxn>
                <a:cxn ang="0">
                  <a:pos x="130" y="123"/>
                </a:cxn>
                <a:cxn ang="0">
                  <a:pos x="115" y="152"/>
                </a:cxn>
                <a:cxn ang="0">
                  <a:pos x="96" y="175"/>
                </a:cxn>
                <a:cxn ang="0">
                  <a:pos x="75" y="190"/>
                </a:cxn>
                <a:cxn ang="0">
                  <a:pos x="53" y="198"/>
                </a:cxn>
                <a:cxn ang="0">
                  <a:pos x="32" y="195"/>
                </a:cxn>
                <a:cxn ang="0">
                  <a:pos x="18" y="185"/>
                </a:cxn>
                <a:cxn ang="0">
                  <a:pos x="8" y="170"/>
                </a:cxn>
                <a:cxn ang="0">
                  <a:pos x="1" y="151"/>
                </a:cxn>
                <a:cxn ang="0">
                  <a:pos x="0" y="128"/>
                </a:cxn>
                <a:cxn ang="0">
                  <a:pos x="1" y="102"/>
                </a:cxn>
                <a:cxn ang="0">
                  <a:pos x="9" y="75"/>
                </a:cxn>
                <a:cxn ang="0">
                  <a:pos x="21" y="51"/>
                </a:cxn>
                <a:cxn ang="0">
                  <a:pos x="36" y="31"/>
                </a:cxn>
                <a:cxn ang="0">
                  <a:pos x="52" y="15"/>
                </a:cxn>
                <a:cxn ang="0">
                  <a:pos x="70" y="5"/>
                </a:cxn>
                <a:cxn ang="0">
                  <a:pos x="89" y="0"/>
                </a:cxn>
              </a:cxnLst>
              <a:rect l="0" t="0" r="r" b="b"/>
              <a:pathLst>
                <a:path w="140" h="198">
                  <a:moveTo>
                    <a:pt x="89" y="0"/>
                  </a:moveTo>
                  <a:lnTo>
                    <a:pt x="106" y="4"/>
                  </a:lnTo>
                  <a:lnTo>
                    <a:pt x="120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0" y="71"/>
                  </a:lnTo>
                  <a:lnTo>
                    <a:pt x="138" y="97"/>
                  </a:lnTo>
                  <a:lnTo>
                    <a:pt x="130" y="123"/>
                  </a:lnTo>
                  <a:lnTo>
                    <a:pt x="115" y="152"/>
                  </a:lnTo>
                  <a:lnTo>
                    <a:pt x="96" y="175"/>
                  </a:lnTo>
                  <a:lnTo>
                    <a:pt x="75" y="190"/>
                  </a:lnTo>
                  <a:lnTo>
                    <a:pt x="53" y="198"/>
                  </a:lnTo>
                  <a:lnTo>
                    <a:pt x="32" y="195"/>
                  </a:lnTo>
                  <a:lnTo>
                    <a:pt x="18" y="185"/>
                  </a:lnTo>
                  <a:lnTo>
                    <a:pt x="8" y="170"/>
                  </a:lnTo>
                  <a:lnTo>
                    <a:pt x="1" y="151"/>
                  </a:lnTo>
                  <a:lnTo>
                    <a:pt x="0" y="128"/>
                  </a:lnTo>
                  <a:lnTo>
                    <a:pt x="1" y="102"/>
                  </a:lnTo>
                  <a:lnTo>
                    <a:pt x="9" y="75"/>
                  </a:lnTo>
                  <a:lnTo>
                    <a:pt x="21" y="51"/>
                  </a:lnTo>
                  <a:lnTo>
                    <a:pt x="36" y="31"/>
                  </a:lnTo>
                  <a:lnTo>
                    <a:pt x="52" y="15"/>
                  </a:lnTo>
                  <a:lnTo>
                    <a:pt x="70" y="5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" name="Freeform 271"/>
            <p:cNvSpPr>
              <a:spLocks/>
            </p:cNvSpPr>
            <p:nvPr/>
          </p:nvSpPr>
          <p:spPr bwMode="auto">
            <a:xfrm>
              <a:off x="886850" y="3629370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5" y="0"/>
                </a:cxn>
                <a:cxn ang="0">
                  <a:pos x="66" y="9"/>
                </a:cxn>
                <a:cxn ang="0">
                  <a:pos x="71" y="23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8" y="82"/>
                </a:cxn>
                <a:cxn ang="0">
                  <a:pos x="44" y="97"/>
                </a:cxn>
                <a:cxn ang="0">
                  <a:pos x="31" y="103"/>
                </a:cxn>
                <a:cxn ang="0">
                  <a:pos x="16" y="103"/>
                </a:cxn>
                <a:cxn ang="0">
                  <a:pos x="6" y="95"/>
                </a:cxn>
                <a:cxn ang="0">
                  <a:pos x="0" y="79"/>
                </a:cxn>
                <a:cxn ang="0">
                  <a:pos x="0" y="61"/>
                </a:cxn>
                <a:cxn ang="0">
                  <a:pos x="4" y="40"/>
                </a:cxn>
                <a:cxn ang="0">
                  <a:pos x="14" y="22"/>
                </a:cxn>
                <a:cxn ang="0">
                  <a:pos x="27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5" y="0"/>
                  </a:lnTo>
                  <a:lnTo>
                    <a:pt x="66" y="9"/>
                  </a:lnTo>
                  <a:lnTo>
                    <a:pt x="71" y="23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8" y="82"/>
                  </a:lnTo>
                  <a:lnTo>
                    <a:pt x="44" y="97"/>
                  </a:lnTo>
                  <a:lnTo>
                    <a:pt x="31" y="103"/>
                  </a:lnTo>
                  <a:lnTo>
                    <a:pt x="16" y="103"/>
                  </a:lnTo>
                  <a:lnTo>
                    <a:pt x="6" y="95"/>
                  </a:lnTo>
                  <a:lnTo>
                    <a:pt x="0" y="79"/>
                  </a:lnTo>
                  <a:lnTo>
                    <a:pt x="0" y="61"/>
                  </a:lnTo>
                  <a:lnTo>
                    <a:pt x="4" y="40"/>
                  </a:lnTo>
                  <a:lnTo>
                    <a:pt x="14" y="22"/>
                  </a:lnTo>
                  <a:lnTo>
                    <a:pt x="27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Freeform 272"/>
            <p:cNvSpPr>
              <a:spLocks/>
            </p:cNvSpPr>
            <p:nvPr/>
          </p:nvSpPr>
          <p:spPr bwMode="auto">
            <a:xfrm>
              <a:off x="886850" y="3631189"/>
              <a:ext cx="30010" cy="42286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0" y="0"/>
                </a:cxn>
                <a:cxn ang="0">
                  <a:pos x="60" y="8"/>
                </a:cxn>
                <a:cxn ang="0">
                  <a:pos x="65" y="21"/>
                </a:cxn>
                <a:cxn ang="0">
                  <a:pos x="66" y="37"/>
                </a:cxn>
                <a:cxn ang="0">
                  <a:pos x="62" y="57"/>
                </a:cxn>
                <a:cxn ang="0">
                  <a:pos x="52" y="73"/>
                </a:cxn>
                <a:cxn ang="0">
                  <a:pos x="40" y="86"/>
                </a:cxn>
                <a:cxn ang="0">
                  <a:pos x="27" y="93"/>
                </a:cxn>
                <a:cxn ang="0">
                  <a:pos x="16" y="91"/>
                </a:cxn>
                <a:cxn ang="0">
                  <a:pos x="6" y="84"/>
                </a:cxn>
                <a:cxn ang="0">
                  <a:pos x="0" y="70"/>
                </a:cxn>
                <a:cxn ang="0">
                  <a:pos x="0" y="53"/>
                </a:cxn>
                <a:cxn ang="0">
                  <a:pos x="4" y="36"/>
                </a:cxn>
                <a:cxn ang="0">
                  <a:pos x="14" y="18"/>
                </a:cxn>
                <a:cxn ang="0">
                  <a:pos x="26" y="6"/>
                </a:cxn>
                <a:cxn ang="0">
                  <a:pos x="39" y="0"/>
                </a:cxn>
              </a:cxnLst>
              <a:rect l="0" t="0" r="r" b="b"/>
              <a:pathLst>
                <a:path w="66" h="93">
                  <a:moveTo>
                    <a:pt x="39" y="0"/>
                  </a:moveTo>
                  <a:lnTo>
                    <a:pt x="50" y="0"/>
                  </a:lnTo>
                  <a:lnTo>
                    <a:pt x="60" y="8"/>
                  </a:lnTo>
                  <a:lnTo>
                    <a:pt x="65" y="21"/>
                  </a:lnTo>
                  <a:lnTo>
                    <a:pt x="66" y="37"/>
                  </a:lnTo>
                  <a:lnTo>
                    <a:pt x="62" y="57"/>
                  </a:lnTo>
                  <a:lnTo>
                    <a:pt x="52" y="73"/>
                  </a:lnTo>
                  <a:lnTo>
                    <a:pt x="40" y="86"/>
                  </a:lnTo>
                  <a:lnTo>
                    <a:pt x="27" y="93"/>
                  </a:lnTo>
                  <a:lnTo>
                    <a:pt x="16" y="91"/>
                  </a:lnTo>
                  <a:lnTo>
                    <a:pt x="6" y="84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4" y="18"/>
                  </a:lnTo>
                  <a:lnTo>
                    <a:pt x="26" y="6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" name="Freeform 273"/>
            <p:cNvSpPr>
              <a:spLocks/>
            </p:cNvSpPr>
            <p:nvPr/>
          </p:nvSpPr>
          <p:spPr bwMode="auto">
            <a:xfrm>
              <a:off x="607215" y="3362466"/>
              <a:ext cx="566546" cy="359661"/>
            </a:xfrm>
            <a:custGeom>
              <a:avLst/>
              <a:gdLst/>
              <a:ahLst/>
              <a:cxnLst>
                <a:cxn ang="0">
                  <a:pos x="969" y="1"/>
                </a:cxn>
                <a:cxn ang="0">
                  <a:pos x="985" y="5"/>
                </a:cxn>
                <a:cxn ang="0">
                  <a:pos x="1221" y="111"/>
                </a:cxn>
                <a:cxn ang="0">
                  <a:pos x="1241" y="145"/>
                </a:cxn>
                <a:cxn ang="0">
                  <a:pos x="1246" y="174"/>
                </a:cxn>
                <a:cxn ang="0">
                  <a:pos x="1244" y="248"/>
                </a:cxn>
                <a:cxn ang="0">
                  <a:pos x="1243" y="263"/>
                </a:cxn>
                <a:cxn ang="0">
                  <a:pos x="1233" y="302"/>
                </a:cxn>
                <a:cxn ang="0">
                  <a:pos x="1202" y="352"/>
                </a:cxn>
                <a:cxn ang="0">
                  <a:pos x="1190" y="307"/>
                </a:cxn>
                <a:cxn ang="0">
                  <a:pos x="1161" y="281"/>
                </a:cxn>
                <a:cxn ang="0">
                  <a:pos x="1120" y="281"/>
                </a:cxn>
                <a:cxn ang="0">
                  <a:pos x="1081" y="310"/>
                </a:cxn>
                <a:cxn ang="0">
                  <a:pos x="1050" y="359"/>
                </a:cxn>
                <a:cxn ang="0">
                  <a:pos x="1040" y="424"/>
                </a:cxn>
                <a:cxn ang="0">
                  <a:pos x="724" y="641"/>
                </a:cxn>
                <a:cxn ang="0">
                  <a:pos x="725" y="586"/>
                </a:cxn>
                <a:cxn ang="0">
                  <a:pos x="704" y="545"/>
                </a:cxn>
                <a:cxn ang="0">
                  <a:pos x="667" y="530"/>
                </a:cxn>
                <a:cxn ang="0">
                  <a:pos x="624" y="545"/>
                </a:cxn>
                <a:cxn ang="0">
                  <a:pos x="590" y="584"/>
                </a:cxn>
                <a:cxn ang="0">
                  <a:pos x="569" y="640"/>
                </a:cxn>
                <a:cxn ang="0">
                  <a:pos x="567" y="690"/>
                </a:cxn>
                <a:cxn ang="0">
                  <a:pos x="577" y="718"/>
                </a:cxn>
                <a:cxn ang="0">
                  <a:pos x="497" y="775"/>
                </a:cxn>
                <a:cxn ang="0">
                  <a:pos x="445" y="791"/>
                </a:cxn>
                <a:cxn ang="0">
                  <a:pos x="409" y="790"/>
                </a:cxn>
                <a:cxn ang="0">
                  <a:pos x="391" y="785"/>
                </a:cxn>
                <a:cxn ang="0">
                  <a:pos x="42" y="594"/>
                </a:cxn>
                <a:cxn ang="0">
                  <a:pos x="14" y="564"/>
                </a:cxn>
                <a:cxn ang="0">
                  <a:pos x="3" y="520"/>
                </a:cxn>
                <a:cxn ang="0">
                  <a:pos x="0" y="465"/>
                </a:cxn>
                <a:cxn ang="0">
                  <a:pos x="13" y="416"/>
                </a:cxn>
                <a:cxn ang="0">
                  <a:pos x="40" y="377"/>
                </a:cxn>
                <a:cxn ang="0">
                  <a:pos x="68" y="352"/>
                </a:cxn>
                <a:cxn ang="0">
                  <a:pos x="81" y="343"/>
                </a:cxn>
                <a:cxn ang="0">
                  <a:pos x="900" y="6"/>
                </a:cxn>
                <a:cxn ang="0">
                  <a:pos x="951" y="0"/>
                </a:cxn>
              </a:cxnLst>
              <a:rect l="0" t="0" r="r" b="b"/>
              <a:pathLst>
                <a:path w="1246" h="791">
                  <a:moveTo>
                    <a:pt x="951" y="0"/>
                  </a:moveTo>
                  <a:lnTo>
                    <a:pt x="969" y="1"/>
                  </a:lnTo>
                  <a:lnTo>
                    <a:pt x="980" y="3"/>
                  </a:lnTo>
                  <a:lnTo>
                    <a:pt x="985" y="5"/>
                  </a:lnTo>
                  <a:lnTo>
                    <a:pt x="1203" y="98"/>
                  </a:lnTo>
                  <a:lnTo>
                    <a:pt x="1221" y="111"/>
                  </a:lnTo>
                  <a:lnTo>
                    <a:pt x="1233" y="127"/>
                  </a:lnTo>
                  <a:lnTo>
                    <a:pt x="1241" y="145"/>
                  </a:lnTo>
                  <a:lnTo>
                    <a:pt x="1244" y="161"/>
                  </a:lnTo>
                  <a:lnTo>
                    <a:pt x="1246" y="174"/>
                  </a:lnTo>
                  <a:lnTo>
                    <a:pt x="1246" y="187"/>
                  </a:lnTo>
                  <a:lnTo>
                    <a:pt x="1244" y="248"/>
                  </a:lnTo>
                  <a:lnTo>
                    <a:pt x="1244" y="253"/>
                  </a:lnTo>
                  <a:lnTo>
                    <a:pt x="1243" y="263"/>
                  </a:lnTo>
                  <a:lnTo>
                    <a:pt x="1241" y="281"/>
                  </a:lnTo>
                  <a:lnTo>
                    <a:pt x="1233" y="302"/>
                  </a:lnTo>
                  <a:lnTo>
                    <a:pt x="1221" y="326"/>
                  </a:lnTo>
                  <a:lnTo>
                    <a:pt x="1202" y="352"/>
                  </a:lnTo>
                  <a:lnTo>
                    <a:pt x="1199" y="328"/>
                  </a:lnTo>
                  <a:lnTo>
                    <a:pt x="1190" y="307"/>
                  </a:lnTo>
                  <a:lnTo>
                    <a:pt x="1177" y="290"/>
                  </a:lnTo>
                  <a:lnTo>
                    <a:pt x="1161" y="281"/>
                  </a:lnTo>
                  <a:lnTo>
                    <a:pt x="1141" y="277"/>
                  </a:lnTo>
                  <a:lnTo>
                    <a:pt x="1120" y="281"/>
                  </a:lnTo>
                  <a:lnTo>
                    <a:pt x="1099" y="292"/>
                  </a:lnTo>
                  <a:lnTo>
                    <a:pt x="1081" y="310"/>
                  </a:lnTo>
                  <a:lnTo>
                    <a:pt x="1063" y="331"/>
                  </a:lnTo>
                  <a:lnTo>
                    <a:pt x="1050" y="359"/>
                  </a:lnTo>
                  <a:lnTo>
                    <a:pt x="1042" y="391"/>
                  </a:lnTo>
                  <a:lnTo>
                    <a:pt x="1040" y="424"/>
                  </a:lnTo>
                  <a:lnTo>
                    <a:pt x="1045" y="452"/>
                  </a:lnTo>
                  <a:lnTo>
                    <a:pt x="724" y="641"/>
                  </a:lnTo>
                  <a:lnTo>
                    <a:pt x="727" y="612"/>
                  </a:lnTo>
                  <a:lnTo>
                    <a:pt x="725" y="586"/>
                  </a:lnTo>
                  <a:lnTo>
                    <a:pt x="717" y="563"/>
                  </a:lnTo>
                  <a:lnTo>
                    <a:pt x="704" y="545"/>
                  </a:lnTo>
                  <a:lnTo>
                    <a:pt x="686" y="533"/>
                  </a:lnTo>
                  <a:lnTo>
                    <a:pt x="667" y="530"/>
                  </a:lnTo>
                  <a:lnTo>
                    <a:pt x="646" y="533"/>
                  </a:lnTo>
                  <a:lnTo>
                    <a:pt x="624" y="545"/>
                  </a:lnTo>
                  <a:lnTo>
                    <a:pt x="606" y="563"/>
                  </a:lnTo>
                  <a:lnTo>
                    <a:pt x="590" y="584"/>
                  </a:lnTo>
                  <a:lnTo>
                    <a:pt x="577" y="612"/>
                  </a:lnTo>
                  <a:lnTo>
                    <a:pt x="569" y="640"/>
                  </a:lnTo>
                  <a:lnTo>
                    <a:pt x="566" y="666"/>
                  </a:lnTo>
                  <a:lnTo>
                    <a:pt x="567" y="690"/>
                  </a:lnTo>
                  <a:lnTo>
                    <a:pt x="574" y="711"/>
                  </a:lnTo>
                  <a:lnTo>
                    <a:pt x="577" y="718"/>
                  </a:lnTo>
                  <a:lnTo>
                    <a:pt x="582" y="724"/>
                  </a:lnTo>
                  <a:lnTo>
                    <a:pt x="497" y="775"/>
                  </a:lnTo>
                  <a:lnTo>
                    <a:pt x="469" y="786"/>
                  </a:lnTo>
                  <a:lnTo>
                    <a:pt x="445" y="791"/>
                  </a:lnTo>
                  <a:lnTo>
                    <a:pt x="425" y="791"/>
                  </a:lnTo>
                  <a:lnTo>
                    <a:pt x="409" y="790"/>
                  </a:lnTo>
                  <a:lnTo>
                    <a:pt x="399" y="788"/>
                  </a:lnTo>
                  <a:lnTo>
                    <a:pt x="391" y="785"/>
                  </a:lnTo>
                  <a:lnTo>
                    <a:pt x="389" y="783"/>
                  </a:lnTo>
                  <a:lnTo>
                    <a:pt x="42" y="594"/>
                  </a:lnTo>
                  <a:lnTo>
                    <a:pt x="26" y="582"/>
                  </a:lnTo>
                  <a:lnTo>
                    <a:pt x="14" y="564"/>
                  </a:lnTo>
                  <a:lnTo>
                    <a:pt x="8" y="543"/>
                  </a:lnTo>
                  <a:lnTo>
                    <a:pt x="3" y="520"/>
                  </a:lnTo>
                  <a:lnTo>
                    <a:pt x="0" y="499"/>
                  </a:lnTo>
                  <a:lnTo>
                    <a:pt x="0" y="465"/>
                  </a:lnTo>
                  <a:lnTo>
                    <a:pt x="3" y="439"/>
                  </a:lnTo>
                  <a:lnTo>
                    <a:pt x="13" y="416"/>
                  </a:lnTo>
                  <a:lnTo>
                    <a:pt x="26" y="395"/>
                  </a:lnTo>
                  <a:lnTo>
                    <a:pt x="40" y="377"/>
                  </a:lnTo>
                  <a:lnTo>
                    <a:pt x="55" y="362"/>
                  </a:lnTo>
                  <a:lnTo>
                    <a:pt x="68" y="352"/>
                  </a:lnTo>
                  <a:lnTo>
                    <a:pt x="78" y="344"/>
                  </a:lnTo>
                  <a:lnTo>
                    <a:pt x="81" y="343"/>
                  </a:lnTo>
                  <a:lnTo>
                    <a:pt x="783" y="24"/>
                  </a:lnTo>
                  <a:lnTo>
                    <a:pt x="900" y="6"/>
                  </a:lnTo>
                  <a:lnTo>
                    <a:pt x="928" y="1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Freeform 274"/>
            <p:cNvSpPr>
              <a:spLocks/>
            </p:cNvSpPr>
            <p:nvPr/>
          </p:nvSpPr>
          <p:spPr bwMode="auto">
            <a:xfrm>
              <a:off x="615854" y="3530702"/>
              <a:ext cx="33647" cy="5501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4" y="4"/>
                </a:cxn>
                <a:cxn ang="0">
                  <a:pos x="59" y="15"/>
                </a:cxn>
                <a:cxn ang="0">
                  <a:pos x="69" y="35"/>
                </a:cxn>
                <a:cxn ang="0">
                  <a:pos x="74" y="57"/>
                </a:cxn>
                <a:cxn ang="0">
                  <a:pos x="74" y="80"/>
                </a:cxn>
                <a:cxn ang="0">
                  <a:pos x="67" y="100"/>
                </a:cxn>
                <a:cxn ang="0">
                  <a:pos x="56" y="115"/>
                </a:cxn>
                <a:cxn ang="0">
                  <a:pos x="43" y="121"/>
                </a:cxn>
                <a:cxn ang="0">
                  <a:pos x="28" y="118"/>
                </a:cxn>
                <a:cxn ang="0">
                  <a:pos x="15" y="106"/>
                </a:cxn>
                <a:cxn ang="0">
                  <a:pos x="5" y="87"/>
                </a:cxn>
                <a:cxn ang="0">
                  <a:pos x="0" y="64"/>
                </a:cxn>
                <a:cxn ang="0">
                  <a:pos x="0" y="41"/>
                </a:cxn>
                <a:cxn ang="0">
                  <a:pos x="7" y="20"/>
                </a:cxn>
                <a:cxn ang="0">
                  <a:pos x="16" y="7"/>
                </a:cxn>
                <a:cxn ang="0">
                  <a:pos x="29" y="0"/>
                </a:cxn>
              </a:cxnLst>
              <a:rect l="0" t="0" r="r" b="b"/>
              <a:pathLst>
                <a:path w="74" h="121">
                  <a:moveTo>
                    <a:pt x="29" y="0"/>
                  </a:moveTo>
                  <a:lnTo>
                    <a:pt x="44" y="4"/>
                  </a:lnTo>
                  <a:lnTo>
                    <a:pt x="59" y="15"/>
                  </a:lnTo>
                  <a:lnTo>
                    <a:pt x="69" y="35"/>
                  </a:lnTo>
                  <a:lnTo>
                    <a:pt x="74" y="57"/>
                  </a:lnTo>
                  <a:lnTo>
                    <a:pt x="74" y="80"/>
                  </a:lnTo>
                  <a:lnTo>
                    <a:pt x="67" y="100"/>
                  </a:lnTo>
                  <a:lnTo>
                    <a:pt x="56" y="115"/>
                  </a:lnTo>
                  <a:lnTo>
                    <a:pt x="43" y="121"/>
                  </a:lnTo>
                  <a:lnTo>
                    <a:pt x="28" y="118"/>
                  </a:lnTo>
                  <a:lnTo>
                    <a:pt x="15" y="106"/>
                  </a:lnTo>
                  <a:lnTo>
                    <a:pt x="5" y="87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7" y="20"/>
                  </a:lnTo>
                  <a:lnTo>
                    <a:pt x="16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Freeform 275"/>
            <p:cNvSpPr>
              <a:spLocks/>
            </p:cNvSpPr>
            <p:nvPr/>
          </p:nvSpPr>
          <p:spPr bwMode="auto">
            <a:xfrm>
              <a:off x="769995" y="3618912"/>
              <a:ext cx="46833" cy="4910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74" y="0"/>
                </a:cxn>
                <a:cxn ang="0">
                  <a:pos x="89" y="5"/>
                </a:cxn>
                <a:cxn ang="0">
                  <a:pos x="98" y="15"/>
                </a:cxn>
                <a:cxn ang="0">
                  <a:pos x="103" y="28"/>
                </a:cxn>
                <a:cxn ang="0">
                  <a:pos x="103" y="45"/>
                </a:cxn>
                <a:cxn ang="0">
                  <a:pos x="98" y="61"/>
                </a:cxn>
                <a:cxn ang="0">
                  <a:pos x="89" y="77"/>
                </a:cxn>
                <a:cxn ang="0">
                  <a:pos x="71" y="95"/>
                </a:cxn>
                <a:cxn ang="0">
                  <a:pos x="51" y="105"/>
                </a:cxn>
                <a:cxn ang="0">
                  <a:pos x="33" y="108"/>
                </a:cxn>
                <a:cxn ang="0">
                  <a:pos x="15" y="103"/>
                </a:cxn>
                <a:cxn ang="0">
                  <a:pos x="5" y="94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5" y="48"/>
                </a:cxn>
                <a:cxn ang="0">
                  <a:pos x="15" y="32"/>
                </a:cxn>
                <a:cxn ang="0">
                  <a:pos x="28" y="17"/>
                </a:cxn>
                <a:cxn ang="0">
                  <a:pos x="43" y="7"/>
                </a:cxn>
                <a:cxn ang="0">
                  <a:pos x="59" y="0"/>
                </a:cxn>
              </a:cxnLst>
              <a:rect l="0" t="0" r="r" b="b"/>
              <a:pathLst>
                <a:path w="103" h="108">
                  <a:moveTo>
                    <a:pt x="59" y="0"/>
                  </a:moveTo>
                  <a:lnTo>
                    <a:pt x="74" y="0"/>
                  </a:lnTo>
                  <a:lnTo>
                    <a:pt x="89" y="5"/>
                  </a:lnTo>
                  <a:lnTo>
                    <a:pt x="98" y="15"/>
                  </a:lnTo>
                  <a:lnTo>
                    <a:pt x="103" y="28"/>
                  </a:lnTo>
                  <a:lnTo>
                    <a:pt x="103" y="45"/>
                  </a:lnTo>
                  <a:lnTo>
                    <a:pt x="98" y="61"/>
                  </a:lnTo>
                  <a:lnTo>
                    <a:pt x="89" y="77"/>
                  </a:lnTo>
                  <a:lnTo>
                    <a:pt x="71" y="95"/>
                  </a:lnTo>
                  <a:lnTo>
                    <a:pt x="51" y="105"/>
                  </a:lnTo>
                  <a:lnTo>
                    <a:pt x="33" y="108"/>
                  </a:lnTo>
                  <a:lnTo>
                    <a:pt x="15" y="103"/>
                  </a:lnTo>
                  <a:lnTo>
                    <a:pt x="5" y="94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5" y="48"/>
                  </a:lnTo>
                  <a:lnTo>
                    <a:pt x="15" y="32"/>
                  </a:lnTo>
                  <a:lnTo>
                    <a:pt x="28" y="17"/>
                  </a:lnTo>
                  <a:lnTo>
                    <a:pt x="43" y="7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Freeform 276"/>
            <p:cNvSpPr>
              <a:spLocks/>
            </p:cNvSpPr>
            <p:nvPr/>
          </p:nvSpPr>
          <p:spPr bwMode="auto">
            <a:xfrm>
              <a:off x="739076" y="3362466"/>
              <a:ext cx="376030" cy="190061"/>
            </a:xfrm>
            <a:custGeom>
              <a:avLst/>
              <a:gdLst/>
              <a:ahLst/>
              <a:cxnLst>
                <a:cxn ang="0">
                  <a:pos x="457" y="0"/>
                </a:cxn>
                <a:cxn ang="0">
                  <a:pos x="571" y="18"/>
                </a:cxn>
                <a:cxn ang="0">
                  <a:pos x="603" y="24"/>
                </a:cxn>
                <a:cxn ang="0">
                  <a:pos x="636" y="34"/>
                </a:cxn>
                <a:cxn ang="0">
                  <a:pos x="667" y="45"/>
                </a:cxn>
                <a:cxn ang="0">
                  <a:pos x="696" y="60"/>
                </a:cxn>
                <a:cxn ang="0">
                  <a:pos x="724" y="75"/>
                </a:cxn>
                <a:cxn ang="0">
                  <a:pos x="750" y="90"/>
                </a:cxn>
                <a:cxn ang="0">
                  <a:pos x="771" y="104"/>
                </a:cxn>
                <a:cxn ang="0">
                  <a:pos x="789" y="116"/>
                </a:cxn>
                <a:cxn ang="0">
                  <a:pos x="804" y="127"/>
                </a:cxn>
                <a:cxn ang="0">
                  <a:pos x="812" y="134"/>
                </a:cxn>
                <a:cxn ang="0">
                  <a:pos x="816" y="135"/>
                </a:cxn>
                <a:cxn ang="0">
                  <a:pos x="825" y="153"/>
                </a:cxn>
                <a:cxn ang="0">
                  <a:pos x="827" y="170"/>
                </a:cxn>
                <a:cxn ang="0">
                  <a:pos x="822" y="184"/>
                </a:cxn>
                <a:cxn ang="0">
                  <a:pos x="814" y="197"/>
                </a:cxn>
                <a:cxn ang="0">
                  <a:pos x="802" y="209"/>
                </a:cxn>
                <a:cxn ang="0">
                  <a:pos x="793" y="217"/>
                </a:cxn>
                <a:cxn ang="0">
                  <a:pos x="786" y="222"/>
                </a:cxn>
                <a:cxn ang="0">
                  <a:pos x="783" y="223"/>
                </a:cxn>
                <a:cxn ang="0">
                  <a:pos x="476" y="385"/>
                </a:cxn>
                <a:cxn ang="0">
                  <a:pos x="447" y="401"/>
                </a:cxn>
                <a:cxn ang="0">
                  <a:pos x="416" y="411"/>
                </a:cxn>
                <a:cxn ang="0">
                  <a:pos x="387" y="416"/>
                </a:cxn>
                <a:cxn ang="0">
                  <a:pos x="360" y="418"/>
                </a:cxn>
                <a:cxn ang="0">
                  <a:pos x="339" y="418"/>
                </a:cxn>
                <a:cxn ang="0">
                  <a:pos x="326" y="416"/>
                </a:cxn>
                <a:cxn ang="0">
                  <a:pos x="321" y="416"/>
                </a:cxn>
                <a:cxn ang="0">
                  <a:pos x="276" y="409"/>
                </a:cxn>
                <a:cxn ang="0">
                  <a:pos x="233" y="398"/>
                </a:cxn>
                <a:cxn ang="0">
                  <a:pos x="194" y="383"/>
                </a:cxn>
                <a:cxn ang="0">
                  <a:pos x="157" y="365"/>
                </a:cxn>
                <a:cxn ang="0">
                  <a:pos x="122" y="346"/>
                </a:cxn>
                <a:cxn ang="0">
                  <a:pos x="91" y="326"/>
                </a:cxn>
                <a:cxn ang="0">
                  <a:pos x="65" y="307"/>
                </a:cxn>
                <a:cxn ang="0">
                  <a:pos x="42" y="287"/>
                </a:cxn>
                <a:cxn ang="0">
                  <a:pos x="24" y="272"/>
                </a:cxn>
                <a:cxn ang="0">
                  <a:pos x="0" y="248"/>
                </a:cxn>
                <a:cxn ang="0">
                  <a:pos x="129" y="112"/>
                </a:cxn>
                <a:cxn ang="0">
                  <a:pos x="155" y="116"/>
                </a:cxn>
                <a:cxn ang="0">
                  <a:pos x="457" y="0"/>
                </a:cxn>
              </a:cxnLst>
              <a:rect l="0" t="0" r="r" b="b"/>
              <a:pathLst>
                <a:path w="827" h="418">
                  <a:moveTo>
                    <a:pt x="457" y="0"/>
                  </a:moveTo>
                  <a:lnTo>
                    <a:pt x="571" y="18"/>
                  </a:lnTo>
                  <a:lnTo>
                    <a:pt x="603" y="24"/>
                  </a:lnTo>
                  <a:lnTo>
                    <a:pt x="636" y="34"/>
                  </a:lnTo>
                  <a:lnTo>
                    <a:pt x="667" y="45"/>
                  </a:lnTo>
                  <a:lnTo>
                    <a:pt x="696" y="60"/>
                  </a:lnTo>
                  <a:lnTo>
                    <a:pt x="724" y="75"/>
                  </a:lnTo>
                  <a:lnTo>
                    <a:pt x="750" y="90"/>
                  </a:lnTo>
                  <a:lnTo>
                    <a:pt x="771" y="104"/>
                  </a:lnTo>
                  <a:lnTo>
                    <a:pt x="789" y="116"/>
                  </a:lnTo>
                  <a:lnTo>
                    <a:pt x="804" y="127"/>
                  </a:lnTo>
                  <a:lnTo>
                    <a:pt x="812" y="134"/>
                  </a:lnTo>
                  <a:lnTo>
                    <a:pt x="816" y="135"/>
                  </a:lnTo>
                  <a:lnTo>
                    <a:pt x="825" y="153"/>
                  </a:lnTo>
                  <a:lnTo>
                    <a:pt x="827" y="170"/>
                  </a:lnTo>
                  <a:lnTo>
                    <a:pt x="822" y="184"/>
                  </a:lnTo>
                  <a:lnTo>
                    <a:pt x="814" y="197"/>
                  </a:lnTo>
                  <a:lnTo>
                    <a:pt x="802" y="209"/>
                  </a:lnTo>
                  <a:lnTo>
                    <a:pt x="793" y="217"/>
                  </a:lnTo>
                  <a:lnTo>
                    <a:pt x="786" y="222"/>
                  </a:lnTo>
                  <a:lnTo>
                    <a:pt x="783" y="223"/>
                  </a:lnTo>
                  <a:lnTo>
                    <a:pt x="476" y="385"/>
                  </a:lnTo>
                  <a:lnTo>
                    <a:pt x="447" y="401"/>
                  </a:lnTo>
                  <a:lnTo>
                    <a:pt x="416" y="411"/>
                  </a:lnTo>
                  <a:lnTo>
                    <a:pt x="387" y="416"/>
                  </a:lnTo>
                  <a:lnTo>
                    <a:pt x="360" y="418"/>
                  </a:lnTo>
                  <a:lnTo>
                    <a:pt x="339" y="418"/>
                  </a:lnTo>
                  <a:lnTo>
                    <a:pt x="326" y="416"/>
                  </a:lnTo>
                  <a:lnTo>
                    <a:pt x="321" y="416"/>
                  </a:lnTo>
                  <a:lnTo>
                    <a:pt x="276" y="409"/>
                  </a:lnTo>
                  <a:lnTo>
                    <a:pt x="233" y="398"/>
                  </a:lnTo>
                  <a:lnTo>
                    <a:pt x="194" y="383"/>
                  </a:lnTo>
                  <a:lnTo>
                    <a:pt x="157" y="365"/>
                  </a:lnTo>
                  <a:lnTo>
                    <a:pt x="122" y="346"/>
                  </a:lnTo>
                  <a:lnTo>
                    <a:pt x="91" y="326"/>
                  </a:lnTo>
                  <a:lnTo>
                    <a:pt x="65" y="307"/>
                  </a:lnTo>
                  <a:lnTo>
                    <a:pt x="42" y="287"/>
                  </a:lnTo>
                  <a:lnTo>
                    <a:pt x="24" y="272"/>
                  </a:lnTo>
                  <a:lnTo>
                    <a:pt x="0" y="248"/>
                  </a:lnTo>
                  <a:lnTo>
                    <a:pt x="129" y="112"/>
                  </a:lnTo>
                  <a:lnTo>
                    <a:pt x="155" y="116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278"/>
            <p:cNvSpPr>
              <a:spLocks/>
            </p:cNvSpPr>
            <p:nvPr/>
          </p:nvSpPr>
          <p:spPr bwMode="auto">
            <a:xfrm>
              <a:off x="1038717" y="3411573"/>
              <a:ext cx="90483" cy="6502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99" y="45"/>
                </a:cxn>
                <a:cxn ang="0">
                  <a:pos x="111" y="143"/>
                </a:cxn>
                <a:cxn ang="0">
                  <a:pos x="124" y="125"/>
                </a:cxn>
                <a:cxn ang="0">
                  <a:pos x="130" y="110"/>
                </a:cxn>
                <a:cxn ang="0">
                  <a:pos x="132" y="99"/>
                </a:cxn>
                <a:cxn ang="0">
                  <a:pos x="130" y="91"/>
                </a:cxn>
                <a:cxn ang="0">
                  <a:pos x="126" y="84"/>
                </a:cxn>
                <a:cxn ang="0">
                  <a:pos x="121" y="81"/>
                </a:cxn>
                <a:cxn ang="0">
                  <a:pos x="117" y="78"/>
                </a:cxn>
                <a:cxn ang="0">
                  <a:pos x="116" y="78"/>
                </a:cxn>
                <a:cxn ang="0">
                  <a:pos x="0" y="24"/>
                </a:cxn>
                <a:cxn ang="0">
                  <a:pos x="28" y="0"/>
                </a:cxn>
              </a:cxnLst>
              <a:rect l="0" t="0" r="r" b="b"/>
              <a:pathLst>
                <a:path w="199" h="143">
                  <a:moveTo>
                    <a:pt x="28" y="0"/>
                  </a:moveTo>
                  <a:lnTo>
                    <a:pt x="199" y="45"/>
                  </a:lnTo>
                  <a:lnTo>
                    <a:pt x="111" y="143"/>
                  </a:lnTo>
                  <a:lnTo>
                    <a:pt x="124" y="125"/>
                  </a:lnTo>
                  <a:lnTo>
                    <a:pt x="130" y="110"/>
                  </a:lnTo>
                  <a:lnTo>
                    <a:pt x="132" y="99"/>
                  </a:lnTo>
                  <a:lnTo>
                    <a:pt x="130" y="91"/>
                  </a:lnTo>
                  <a:lnTo>
                    <a:pt x="126" y="84"/>
                  </a:lnTo>
                  <a:lnTo>
                    <a:pt x="121" y="81"/>
                  </a:lnTo>
                  <a:lnTo>
                    <a:pt x="117" y="78"/>
                  </a:lnTo>
                  <a:lnTo>
                    <a:pt x="116" y="78"/>
                  </a:lnTo>
                  <a:lnTo>
                    <a:pt x="0" y="2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279"/>
            <p:cNvSpPr>
              <a:spLocks/>
            </p:cNvSpPr>
            <p:nvPr/>
          </p:nvSpPr>
          <p:spPr bwMode="auto">
            <a:xfrm>
              <a:off x="1051903" y="3408390"/>
              <a:ext cx="66840" cy="259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7" y="33"/>
                </a:cxn>
                <a:cxn ang="0">
                  <a:pos x="147" y="57"/>
                </a:cxn>
                <a:cxn ang="0">
                  <a:pos x="38" y="38"/>
                </a:cxn>
                <a:cxn ang="0">
                  <a:pos x="0" y="0"/>
                </a:cxn>
              </a:cxnLst>
              <a:rect l="0" t="0" r="r" b="b"/>
              <a:pathLst>
                <a:path w="147" h="57">
                  <a:moveTo>
                    <a:pt x="0" y="0"/>
                  </a:moveTo>
                  <a:lnTo>
                    <a:pt x="147" y="33"/>
                  </a:lnTo>
                  <a:lnTo>
                    <a:pt x="147" y="57"/>
                  </a:lnTo>
                  <a:lnTo>
                    <a:pt x="38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>
                <a:lumMod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280"/>
            <p:cNvSpPr>
              <a:spLocks/>
            </p:cNvSpPr>
            <p:nvPr/>
          </p:nvSpPr>
          <p:spPr bwMode="auto">
            <a:xfrm>
              <a:off x="868663" y="3469773"/>
              <a:ext cx="78662" cy="92302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73" y="7"/>
                </a:cxn>
                <a:cxn ang="0">
                  <a:pos x="152" y="15"/>
                </a:cxn>
                <a:cxn ang="0">
                  <a:pos x="137" y="25"/>
                </a:cxn>
                <a:cxn ang="0">
                  <a:pos x="128" y="33"/>
                </a:cxn>
                <a:cxn ang="0">
                  <a:pos x="123" y="41"/>
                </a:cxn>
                <a:cxn ang="0">
                  <a:pos x="119" y="48"/>
                </a:cxn>
                <a:cxn ang="0">
                  <a:pos x="119" y="49"/>
                </a:cxn>
                <a:cxn ang="0">
                  <a:pos x="102" y="141"/>
                </a:cxn>
                <a:cxn ang="0">
                  <a:pos x="102" y="154"/>
                </a:cxn>
                <a:cxn ang="0">
                  <a:pos x="108" y="162"/>
                </a:cxn>
                <a:cxn ang="0">
                  <a:pos x="116" y="169"/>
                </a:cxn>
                <a:cxn ang="0">
                  <a:pos x="128" y="170"/>
                </a:cxn>
                <a:cxn ang="0">
                  <a:pos x="137" y="172"/>
                </a:cxn>
                <a:cxn ang="0">
                  <a:pos x="147" y="172"/>
                </a:cxn>
                <a:cxn ang="0">
                  <a:pos x="136" y="185"/>
                </a:cxn>
                <a:cxn ang="0">
                  <a:pos x="88" y="203"/>
                </a:cxn>
                <a:cxn ang="0">
                  <a:pos x="30" y="201"/>
                </a:cxn>
                <a:cxn ang="0">
                  <a:pos x="0" y="175"/>
                </a:cxn>
                <a:cxn ang="0">
                  <a:pos x="22" y="173"/>
                </a:cxn>
                <a:cxn ang="0">
                  <a:pos x="38" y="169"/>
                </a:cxn>
                <a:cxn ang="0">
                  <a:pos x="51" y="162"/>
                </a:cxn>
                <a:cxn ang="0">
                  <a:pos x="61" y="155"/>
                </a:cxn>
                <a:cxn ang="0">
                  <a:pos x="66" y="147"/>
                </a:cxn>
                <a:cxn ang="0">
                  <a:pos x="69" y="142"/>
                </a:cxn>
                <a:cxn ang="0">
                  <a:pos x="71" y="141"/>
                </a:cxn>
                <a:cxn ang="0">
                  <a:pos x="98" y="53"/>
                </a:cxn>
                <a:cxn ang="0">
                  <a:pos x="98" y="38"/>
                </a:cxn>
                <a:cxn ang="0">
                  <a:pos x="93" y="28"/>
                </a:cxn>
                <a:cxn ang="0">
                  <a:pos x="85" y="18"/>
                </a:cxn>
                <a:cxn ang="0">
                  <a:pos x="66" y="9"/>
                </a:cxn>
                <a:cxn ang="0">
                  <a:pos x="95" y="0"/>
                </a:cxn>
              </a:cxnLst>
              <a:rect l="0" t="0" r="r" b="b"/>
              <a:pathLst>
                <a:path w="173" h="203">
                  <a:moveTo>
                    <a:pt x="95" y="0"/>
                  </a:moveTo>
                  <a:lnTo>
                    <a:pt x="173" y="7"/>
                  </a:lnTo>
                  <a:lnTo>
                    <a:pt x="152" y="15"/>
                  </a:lnTo>
                  <a:lnTo>
                    <a:pt x="137" y="25"/>
                  </a:lnTo>
                  <a:lnTo>
                    <a:pt x="128" y="33"/>
                  </a:lnTo>
                  <a:lnTo>
                    <a:pt x="123" y="41"/>
                  </a:lnTo>
                  <a:lnTo>
                    <a:pt x="119" y="48"/>
                  </a:lnTo>
                  <a:lnTo>
                    <a:pt x="119" y="49"/>
                  </a:lnTo>
                  <a:lnTo>
                    <a:pt x="102" y="141"/>
                  </a:lnTo>
                  <a:lnTo>
                    <a:pt x="102" y="154"/>
                  </a:lnTo>
                  <a:lnTo>
                    <a:pt x="108" y="162"/>
                  </a:lnTo>
                  <a:lnTo>
                    <a:pt x="116" y="169"/>
                  </a:lnTo>
                  <a:lnTo>
                    <a:pt x="128" y="170"/>
                  </a:lnTo>
                  <a:lnTo>
                    <a:pt x="137" y="172"/>
                  </a:lnTo>
                  <a:lnTo>
                    <a:pt x="147" y="172"/>
                  </a:lnTo>
                  <a:lnTo>
                    <a:pt x="136" y="185"/>
                  </a:lnTo>
                  <a:lnTo>
                    <a:pt x="88" y="203"/>
                  </a:lnTo>
                  <a:lnTo>
                    <a:pt x="30" y="201"/>
                  </a:lnTo>
                  <a:lnTo>
                    <a:pt x="0" y="175"/>
                  </a:lnTo>
                  <a:lnTo>
                    <a:pt x="22" y="173"/>
                  </a:lnTo>
                  <a:lnTo>
                    <a:pt x="38" y="169"/>
                  </a:lnTo>
                  <a:lnTo>
                    <a:pt x="51" y="162"/>
                  </a:lnTo>
                  <a:lnTo>
                    <a:pt x="61" y="155"/>
                  </a:lnTo>
                  <a:lnTo>
                    <a:pt x="66" y="147"/>
                  </a:lnTo>
                  <a:lnTo>
                    <a:pt x="69" y="142"/>
                  </a:lnTo>
                  <a:lnTo>
                    <a:pt x="71" y="141"/>
                  </a:lnTo>
                  <a:lnTo>
                    <a:pt x="98" y="53"/>
                  </a:lnTo>
                  <a:lnTo>
                    <a:pt x="98" y="38"/>
                  </a:lnTo>
                  <a:lnTo>
                    <a:pt x="93" y="28"/>
                  </a:lnTo>
                  <a:lnTo>
                    <a:pt x="85" y="18"/>
                  </a:lnTo>
                  <a:lnTo>
                    <a:pt x="66" y="9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6" name="Freeform 277"/>
            <p:cNvSpPr>
              <a:spLocks/>
            </p:cNvSpPr>
            <p:nvPr/>
          </p:nvSpPr>
          <p:spPr bwMode="auto">
            <a:xfrm>
              <a:off x="795457" y="3362466"/>
              <a:ext cx="265540" cy="115037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342" y="0"/>
                </a:cxn>
                <a:cxn ang="0">
                  <a:pos x="357" y="3"/>
                </a:cxn>
                <a:cxn ang="0">
                  <a:pos x="373" y="10"/>
                </a:cxn>
                <a:cxn ang="0">
                  <a:pos x="563" y="94"/>
                </a:cxn>
                <a:cxn ang="0">
                  <a:pos x="577" y="103"/>
                </a:cxn>
                <a:cxn ang="0">
                  <a:pos x="582" y="112"/>
                </a:cxn>
                <a:cxn ang="0">
                  <a:pos x="584" y="121"/>
                </a:cxn>
                <a:cxn ang="0">
                  <a:pos x="574" y="134"/>
                </a:cxn>
                <a:cxn ang="0">
                  <a:pos x="569" y="137"/>
                </a:cxn>
                <a:cxn ang="0">
                  <a:pos x="568" y="139"/>
                </a:cxn>
                <a:cxn ang="0">
                  <a:pos x="339" y="241"/>
                </a:cxn>
                <a:cxn ang="0">
                  <a:pos x="307" y="251"/>
                </a:cxn>
                <a:cxn ang="0">
                  <a:pos x="279" y="253"/>
                </a:cxn>
                <a:cxn ang="0">
                  <a:pos x="256" y="251"/>
                </a:cxn>
                <a:cxn ang="0">
                  <a:pos x="240" y="248"/>
                </a:cxn>
                <a:cxn ang="0">
                  <a:pos x="228" y="245"/>
                </a:cxn>
                <a:cxn ang="0">
                  <a:pos x="225" y="243"/>
                </a:cxn>
                <a:cxn ang="0">
                  <a:pos x="8" y="134"/>
                </a:cxn>
                <a:cxn ang="0">
                  <a:pos x="6" y="132"/>
                </a:cxn>
                <a:cxn ang="0">
                  <a:pos x="3" y="130"/>
                </a:cxn>
                <a:cxn ang="0">
                  <a:pos x="0" y="121"/>
                </a:cxn>
                <a:cxn ang="0">
                  <a:pos x="3" y="114"/>
                </a:cxn>
                <a:cxn ang="0">
                  <a:pos x="11" y="106"/>
                </a:cxn>
                <a:cxn ang="0">
                  <a:pos x="28" y="98"/>
                </a:cxn>
                <a:cxn ang="0">
                  <a:pos x="315" y="1"/>
                </a:cxn>
                <a:cxn ang="0">
                  <a:pos x="318" y="1"/>
                </a:cxn>
                <a:cxn ang="0">
                  <a:pos x="328" y="0"/>
                </a:cxn>
              </a:cxnLst>
              <a:rect l="0" t="0" r="r" b="b"/>
              <a:pathLst>
                <a:path w="584" h="253">
                  <a:moveTo>
                    <a:pt x="328" y="0"/>
                  </a:moveTo>
                  <a:lnTo>
                    <a:pt x="342" y="0"/>
                  </a:lnTo>
                  <a:lnTo>
                    <a:pt x="357" y="3"/>
                  </a:lnTo>
                  <a:lnTo>
                    <a:pt x="373" y="10"/>
                  </a:lnTo>
                  <a:lnTo>
                    <a:pt x="563" y="94"/>
                  </a:lnTo>
                  <a:lnTo>
                    <a:pt x="577" y="103"/>
                  </a:lnTo>
                  <a:lnTo>
                    <a:pt x="582" y="112"/>
                  </a:lnTo>
                  <a:lnTo>
                    <a:pt x="584" y="121"/>
                  </a:lnTo>
                  <a:lnTo>
                    <a:pt x="574" y="134"/>
                  </a:lnTo>
                  <a:lnTo>
                    <a:pt x="569" y="137"/>
                  </a:lnTo>
                  <a:lnTo>
                    <a:pt x="568" y="139"/>
                  </a:lnTo>
                  <a:lnTo>
                    <a:pt x="339" y="241"/>
                  </a:lnTo>
                  <a:lnTo>
                    <a:pt x="307" y="251"/>
                  </a:lnTo>
                  <a:lnTo>
                    <a:pt x="279" y="253"/>
                  </a:lnTo>
                  <a:lnTo>
                    <a:pt x="256" y="251"/>
                  </a:lnTo>
                  <a:lnTo>
                    <a:pt x="240" y="248"/>
                  </a:lnTo>
                  <a:lnTo>
                    <a:pt x="228" y="245"/>
                  </a:lnTo>
                  <a:lnTo>
                    <a:pt x="225" y="243"/>
                  </a:lnTo>
                  <a:lnTo>
                    <a:pt x="8" y="134"/>
                  </a:lnTo>
                  <a:lnTo>
                    <a:pt x="6" y="132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3" y="114"/>
                  </a:lnTo>
                  <a:lnTo>
                    <a:pt x="11" y="106"/>
                  </a:lnTo>
                  <a:lnTo>
                    <a:pt x="28" y="98"/>
                  </a:lnTo>
                  <a:lnTo>
                    <a:pt x="315" y="1"/>
                  </a:lnTo>
                  <a:lnTo>
                    <a:pt x="318" y="1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rgbClr val="2387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7" name="Freihandform 46"/>
          <p:cNvSpPr/>
          <p:nvPr/>
        </p:nvSpPr>
        <p:spPr bwMode="auto">
          <a:xfrm>
            <a:off x="8822406" y="3963733"/>
            <a:ext cx="216694" cy="121443"/>
          </a:xfrm>
          <a:custGeom>
            <a:avLst/>
            <a:gdLst>
              <a:gd name="connsiteX0" fmla="*/ 69850 w 200025"/>
              <a:gd name="connsiteY0" fmla="*/ 111125 h 111125"/>
              <a:gd name="connsiteX1" fmla="*/ 200025 w 200025"/>
              <a:gd name="connsiteY1" fmla="*/ 53975 h 111125"/>
              <a:gd name="connsiteX2" fmla="*/ 95250 w 200025"/>
              <a:gd name="connsiteY2" fmla="*/ 0 h 111125"/>
              <a:gd name="connsiteX3" fmla="*/ 0 w 200025"/>
              <a:gd name="connsiteY3" fmla="*/ 44450 h 111125"/>
              <a:gd name="connsiteX4" fmla="*/ 69850 w 200025"/>
              <a:gd name="connsiteY4" fmla="*/ 111125 h 111125"/>
              <a:gd name="connsiteX0" fmla="*/ 88900 w 219075"/>
              <a:gd name="connsiteY0" fmla="*/ 111125 h 111125"/>
              <a:gd name="connsiteX1" fmla="*/ 219075 w 219075"/>
              <a:gd name="connsiteY1" fmla="*/ 53975 h 111125"/>
              <a:gd name="connsiteX2" fmla="*/ 114300 w 219075"/>
              <a:gd name="connsiteY2" fmla="*/ 0 h 111125"/>
              <a:gd name="connsiteX3" fmla="*/ 0 w 219075"/>
              <a:gd name="connsiteY3" fmla="*/ 63500 h 111125"/>
              <a:gd name="connsiteX4" fmla="*/ 88900 w 219075"/>
              <a:gd name="connsiteY4" fmla="*/ 111125 h 111125"/>
              <a:gd name="connsiteX0" fmla="*/ 95250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95250 w 219075"/>
              <a:gd name="connsiteY4" fmla="*/ 123825 h 123825"/>
              <a:gd name="connsiteX0" fmla="*/ 104775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104775 w 219075"/>
              <a:gd name="connsiteY4" fmla="*/ 123825 h 123825"/>
              <a:gd name="connsiteX0" fmla="*/ 104775 w 226219"/>
              <a:gd name="connsiteY0" fmla="*/ 123825 h 123825"/>
              <a:gd name="connsiteX1" fmla="*/ 226219 w 226219"/>
              <a:gd name="connsiteY1" fmla="*/ 63500 h 123825"/>
              <a:gd name="connsiteX2" fmla="*/ 114300 w 226219"/>
              <a:gd name="connsiteY2" fmla="*/ 0 h 123825"/>
              <a:gd name="connsiteX3" fmla="*/ 0 w 226219"/>
              <a:gd name="connsiteY3" fmla="*/ 63500 h 123825"/>
              <a:gd name="connsiteX4" fmla="*/ 104775 w 226219"/>
              <a:gd name="connsiteY4" fmla="*/ 123825 h 123825"/>
              <a:gd name="connsiteX0" fmla="*/ 104775 w 226219"/>
              <a:gd name="connsiteY0" fmla="*/ 119062 h 119062"/>
              <a:gd name="connsiteX1" fmla="*/ 226219 w 226219"/>
              <a:gd name="connsiteY1" fmla="*/ 58737 h 119062"/>
              <a:gd name="connsiteX2" fmla="*/ 126206 w 226219"/>
              <a:gd name="connsiteY2" fmla="*/ 0 h 119062"/>
              <a:gd name="connsiteX3" fmla="*/ 0 w 226219"/>
              <a:gd name="connsiteY3" fmla="*/ 58737 h 119062"/>
              <a:gd name="connsiteX4" fmla="*/ 104775 w 226219"/>
              <a:gd name="connsiteY4" fmla="*/ 119062 h 119062"/>
              <a:gd name="connsiteX0" fmla="*/ 111919 w 226219"/>
              <a:gd name="connsiteY0" fmla="*/ 121443 h 121443"/>
              <a:gd name="connsiteX1" fmla="*/ 226219 w 226219"/>
              <a:gd name="connsiteY1" fmla="*/ 58737 h 121443"/>
              <a:gd name="connsiteX2" fmla="*/ 126206 w 226219"/>
              <a:gd name="connsiteY2" fmla="*/ 0 h 121443"/>
              <a:gd name="connsiteX3" fmla="*/ 0 w 226219"/>
              <a:gd name="connsiteY3" fmla="*/ 58737 h 121443"/>
              <a:gd name="connsiteX4" fmla="*/ 111919 w 226219"/>
              <a:gd name="connsiteY4" fmla="*/ 121443 h 121443"/>
              <a:gd name="connsiteX0" fmla="*/ 102394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02394 w 216694"/>
              <a:gd name="connsiteY4" fmla="*/ 121443 h 12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4" h="121443">
                <a:moveTo>
                  <a:pt x="102394" y="121443"/>
                </a:moveTo>
                <a:lnTo>
                  <a:pt x="216694" y="58737"/>
                </a:lnTo>
                <a:lnTo>
                  <a:pt x="116681" y="0"/>
                </a:lnTo>
                <a:lnTo>
                  <a:pt x="0" y="65881"/>
                </a:lnTo>
                <a:lnTo>
                  <a:pt x="102394" y="12144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3" name="Freeform 425"/>
          <p:cNvSpPr>
            <a:spLocks/>
          </p:cNvSpPr>
          <p:nvPr/>
        </p:nvSpPr>
        <p:spPr bwMode="auto">
          <a:xfrm>
            <a:off x="7768335" y="4113439"/>
            <a:ext cx="4834713" cy="2733167"/>
          </a:xfrm>
          <a:custGeom>
            <a:avLst/>
            <a:gdLst>
              <a:gd name="connsiteX0" fmla="*/ 4680924 w 4834713"/>
              <a:gd name="connsiteY0" fmla="*/ 0 h 2733166"/>
              <a:gd name="connsiteX1" fmla="*/ 4834713 w 4834713"/>
              <a:gd name="connsiteY1" fmla="*/ 538480 h 2733166"/>
              <a:gd name="connsiteX2" fmla="*/ 475905 w 4834713"/>
              <a:gd name="connsiteY2" fmla="*/ 2733166 h 2733166"/>
              <a:gd name="connsiteX3" fmla="*/ 0 w 4834713"/>
              <a:gd name="connsiteY3" fmla="*/ 2730648 h 2733166"/>
              <a:gd name="connsiteX4" fmla="*/ 0 w 4834713"/>
              <a:gd name="connsiteY4" fmla="*/ 2339366 h 2733166"/>
              <a:gd name="connsiteX5" fmla="*/ 4680924 w 4834713"/>
              <a:gd name="connsiteY5" fmla="*/ 0 h 273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4713" h="2733166">
                <a:moveTo>
                  <a:pt x="4680924" y="0"/>
                </a:moveTo>
                <a:lnTo>
                  <a:pt x="4834713" y="538480"/>
                </a:lnTo>
                <a:lnTo>
                  <a:pt x="475905" y="2733166"/>
                </a:lnTo>
                <a:lnTo>
                  <a:pt x="0" y="2730648"/>
                </a:lnTo>
                <a:lnTo>
                  <a:pt x="0" y="2339366"/>
                </a:lnTo>
                <a:lnTo>
                  <a:pt x="4680924" y="0"/>
                </a:lnTo>
                <a:close/>
              </a:path>
            </a:pathLst>
          </a:custGeom>
          <a:solidFill>
            <a:srgbClr val="DFE6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Freeform 411"/>
          <p:cNvSpPr>
            <a:spLocks/>
          </p:cNvSpPr>
          <p:nvPr/>
        </p:nvSpPr>
        <p:spPr bwMode="auto">
          <a:xfrm>
            <a:off x="9787495" y="4747814"/>
            <a:ext cx="372268" cy="197020"/>
          </a:xfrm>
          <a:custGeom>
            <a:avLst/>
            <a:gdLst/>
            <a:ahLst/>
            <a:cxnLst>
              <a:cxn ang="0">
                <a:pos x="203" y="0"/>
              </a:cxn>
              <a:cxn ang="0">
                <a:pos x="701" y="256"/>
              </a:cxn>
              <a:cxn ang="0">
                <a:pos x="683" y="279"/>
              </a:cxn>
              <a:cxn ang="0">
                <a:pos x="525" y="371"/>
              </a:cxn>
              <a:cxn ang="0">
                <a:pos x="28" y="86"/>
              </a:cxn>
              <a:cxn ang="0">
                <a:pos x="0" y="57"/>
              </a:cxn>
              <a:cxn ang="0">
                <a:pos x="203" y="0"/>
              </a:cxn>
            </a:cxnLst>
            <a:rect l="0" t="0" r="r" b="b"/>
            <a:pathLst>
              <a:path w="701" h="371">
                <a:moveTo>
                  <a:pt x="203" y="0"/>
                </a:moveTo>
                <a:lnTo>
                  <a:pt x="701" y="256"/>
                </a:lnTo>
                <a:lnTo>
                  <a:pt x="683" y="279"/>
                </a:lnTo>
                <a:lnTo>
                  <a:pt x="525" y="371"/>
                </a:lnTo>
                <a:lnTo>
                  <a:pt x="28" y="86"/>
                </a:lnTo>
                <a:lnTo>
                  <a:pt x="0" y="57"/>
                </a:lnTo>
                <a:lnTo>
                  <a:pt x="203" y="0"/>
                </a:lnTo>
                <a:close/>
              </a:path>
            </a:pathLst>
          </a:custGeom>
          <a:solidFill>
            <a:srgbClr val="96ABA9"/>
          </a:solidFill>
          <a:ln w="0">
            <a:solidFill>
              <a:srgbClr val="96ABA9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5" name="Freeform 412"/>
          <p:cNvSpPr>
            <a:spLocks/>
          </p:cNvSpPr>
          <p:nvPr/>
        </p:nvSpPr>
        <p:spPr bwMode="auto">
          <a:xfrm>
            <a:off x="10056738" y="4883761"/>
            <a:ext cx="103024" cy="193835"/>
          </a:xfrm>
          <a:custGeom>
            <a:avLst/>
            <a:gdLst/>
            <a:ahLst/>
            <a:cxnLst>
              <a:cxn ang="0">
                <a:pos x="194" y="0"/>
              </a:cxn>
              <a:cxn ang="0">
                <a:pos x="194" y="270"/>
              </a:cxn>
              <a:cxn ang="0">
                <a:pos x="20" y="365"/>
              </a:cxn>
              <a:cxn ang="0">
                <a:pos x="0" y="332"/>
              </a:cxn>
              <a:cxn ang="0">
                <a:pos x="9" y="82"/>
              </a:cxn>
              <a:cxn ang="0">
                <a:pos x="194" y="0"/>
              </a:cxn>
            </a:cxnLst>
            <a:rect l="0" t="0" r="r" b="b"/>
            <a:pathLst>
              <a:path w="194" h="365">
                <a:moveTo>
                  <a:pt x="194" y="0"/>
                </a:moveTo>
                <a:lnTo>
                  <a:pt x="194" y="270"/>
                </a:lnTo>
                <a:lnTo>
                  <a:pt x="20" y="365"/>
                </a:lnTo>
                <a:lnTo>
                  <a:pt x="0" y="332"/>
                </a:lnTo>
                <a:lnTo>
                  <a:pt x="9" y="82"/>
                </a:lnTo>
                <a:lnTo>
                  <a:pt x="194" y="0"/>
                </a:lnTo>
                <a:close/>
              </a:path>
            </a:pathLst>
          </a:custGeom>
          <a:solidFill>
            <a:srgbClr val="687C7C"/>
          </a:solidFill>
          <a:ln w="0">
            <a:solidFill>
              <a:srgbClr val="687C7C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6" name="Freeform 413"/>
          <p:cNvSpPr>
            <a:spLocks/>
          </p:cNvSpPr>
          <p:nvPr/>
        </p:nvSpPr>
        <p:spPr bwMode="auto">
          <a:xfrm>
            <a:off x="9787508" y="4778089"/>
            <a:ext cx="279864" cy="2995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27" y="277"/>
              </a:cxn>
              <a:cxn ang="0">
                <a:pos x="527" y="564"/>
              </a:cxn>
              <a:cxn ang="0">
                <a:pos x="8" y="265"/>
              </a:cxn>
              <a:cxn ang="0">
                <a:pos x="0" y="0"/>
              </a:cxn>
            </a:cxnLst>
            <a:rect l="0" t="0" r="r" b="b"/>
            <a:pathLst>
              <a:path w="527" h="564">
                <a:moveTo>
                  <a:pt x="0" y="0"/>
                </a:moveTo>
                <a:lnTo>
                  <a:pt x="527" y="277"/>
                </a:lnTo>
                <a:lnTo>
                  <a:pt x="527" y="564"/>
                </a:lnTo>
                <a:lnTo>
                  <a:pt x="8" y="265"/>
                </a:lnTo>
                <a:lnTo>
                  <a:pt x="0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7" name="Freeform 414"/>
          <p:cNvSpPr>
            <a:spLocks/>
          </p:cNvSpPr>
          <p:nvPr/>
        </p:nvSpPr>
        <p:spPr bwMode="auto">
          <a:xfrm>
            <a:off x="9979747" y="4921998"/>
            <a:ext cx="78065" cy="10674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69" y="3"/>
              </a:cxn>
              <a:cxn ang="0">
                <a:pos x="85" y="10"/>
              </a:cxn>
              <a:cxn ang="0">
                <a:pos x="101" y="21"/>
              </a:cxn>
              <a:cxn ang="0">
                <a:pos x="114" y="36"/>
              </a:cxn>
              <a:cxn ang="0">
                <a:pos x="127" y="54"/>
              </a:cxn>
              <a:cxn ang="0">
                <a:pos x="137" y="76"/>
              </a:cxn>
              <a:cxn ang="0">
                <a:pos x="144" y="99"/>
              </a:cxn>
              <a:cxn ang="0">
                <a:pos x="147" y="122"/>
              </a:cxn>
              <a:cxn ang="0">
                <a:pos x="146" y="142"/>
              </a:cxn>
              <a:cxn ang="0">
                <a:pos x="143" y="162"/>
              </a:cxn>
              <a:cxn ang="0">
                <a:pos x="135" y="178"/>
              </a:cxn>
              <a:cxn ang="0">
                <a:pos x="125" y="190"/>
              </a:cxn>
              <a:cxn ang="0">
                <a:pos x="111" y="198"/>
              </a:cxn>
              <a:cxn ang="0">
                <a:pos x="93" y="201"/>
              </a:cxn>
              <a:cxn ang="0">
                <a:pos x="73" y="197"/>
              </a:cxn>
              <a:cxn ang="0">
                <a:pos x="55" y="187"/>
              </a:cxn>
              <a:cxn ang="0">
                <a:pos x="38" y="171"/>
              </a:cxn>
              <a:cxn ang="0">
                <a:pos x="23" y="150"/>
              </a:cxn>
              <a:cxn ang="0">
                <a:pos x="10" y="125"/>
              </a:cxn>
              <a:cxn ang="0">
                <a:pos x="3" y="102"/>
              </a:cxn>
              <a:cxn ang="0">
                <a:pos x="0" y="81"/>
              </a:cxn>
              <a:cxn ang="0">
                <a:pos x="1" y="59"/>
              </a:cxn>
              <a:cxn ang="0">
                <a:pos x="5" y="40"/>
              </a:cxn>
              <a:cxn ang="0">
                <a:pos x="13" y="24"/>
              </a:cxn>
              <a:cxn ang="0">
                <a:pos x="23" y="12"/>
              </a:cxn>
              <a:cxn ang="0">
                <a:pos x="37" y="4"/>
              </a:cxn>
              <a:cxn ang="0">
                <a:pos x="53" y="0"/>
              </a:cxn>
            </a:cxnLst>
            <a:rect l="0" t="0" r="r" b="b"/>
            <a:pathLst>
              <a:path w="147" h="201">
                <a:moveTo>
                  <a:pt x="53" y="0"/>
                </a:moveTo>
                <a:lnTo>
                  <a:pt x="69" y="3"/>
                </a:lnTo>
                <a:lnTo>
                  <a:pt x="85" y="10"/>
                </a:lnTo>
                <a:lnTo>
                  <a:pt x="101" y="21"/>
                </a:lnTo>
                <a:lnTo>
                  <a:pt x="114" y="36"/>
                </a:lnTo>
                <a:lnTo>
                  <a:pt x="127" y="54"/>
                </a:lnTo>
                <a:lnTo>
                  <a:pt x="137" y="76"/>
                </a:lnTo>
                <a:lnTo>
                  <a:pt x="144" y="99"/>
                </a:lnTo>
                <a:lnTo>
                  <a:pt x="147" y="122"/>
                </a:lnTo>
                <a:lnTo>
                  <a:pt x="146" y="142"/>
                </a:lnTo>
                <a:lnTo>
                  <a:pt x="143" y="162"/>
                </a:lnTo>
                <a:lnTo>
                  <a:pt x="135" y="178"/>
                </a:lnTo>
                <a:lnTo>
                  <a:pt x="125" y="190"/>
                </a:lnTo>
                <a:lnTo>
                  <a:pt x="111" y="198"/>
                </a:lnTo>
                <a:lnTo>
                  <a:pt x="93" y="201"/>
                </a:lnTo>
                <a:lnTo>
                  <a:pt x="73" y="197"/>
                </a:lnTo>
                <a:lnTo>
                  <a:pt x="55" y="187"/>
                </a:lnTo>
                <a:lnTo>
                  <a:pt x="38" y="171"/>
                </a:lnTo>
                <a:lnTo>
                  <a:pt x="23" y="150"/>
                </a:lnTo>
                <a:lnTo>
                  <a:pt x="10" y="125"/>
                </a:lnTo>
                <a:lnTo>
                  <a:pt x="3" y="102"/>
                </a:lnTo>
                <a:lnTo>
                  <a:pt x="0" y="81"/>
                </a:lnTo>
                <a:lnTo>
                  <a:pt x="1" y="59"/>
                </a:lnTo>
                <a:lnTo>
                  <a:pt x="5" y="40"/>
                </a:lnTo>
                <a:lnTo>
                  <a:pt x="13" y="24"/>
                </a:lnTo>
                <a:lnTo>
                  <a:pt x="23" y="12"/>
                </a:lnTo>
                <a:lnTo>
                  <a:pt x="37" y="4"/>
                </a:lnTo>
                <a:lnTo>
                  <a:pt x="53" y="0"/>
                </a:lnTo>
                <a:close/>
              </a:path>
            </a:pathLst>
          </a:custGeom>
          <a:solidFill>
            <a:srgbClr val="647D2D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  <a:effectLst>
            <a:glow rad="38100">
              <a:srgbClr val="647D2D"/>
            </a:glow>
          </a:effectLst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Freeform 415"/>
          <p:cNvSpPr>
            <a:spLocks/>
          </p:cNvSpPr>
          <p:nvPr/>
        </p:nvSpPr>
        <p:spPr bwMode="auto">
          <a:xfrm>
            <a:off x="9893186" y="4874733"/>
            <a:ext cx="78065" cy="106211"/>
          </a:xfrm>
          <a:custGeom>
            <a:avLst/>
            <a:gdLst/>
            <a:ahLst/>
            <a:cxnLst>
              <a:cxn ang="0">
                <a:pos x="51" y="0"/>
              </a:cxn>
              <a:cxn ang="0">
                <a:pos x="67" y="2"/>
              </a:cxn>
              <a:cxn ang="0">
                <a:pos x="84" y="9"/>
              </a:cxn>
              <a:cxn ang="0">
                <a:pos x="99" y="21"/>
              </a:cxn>
              <a:cxn ang="0">
                <a:pos x="114" y="36"/>
              </a:cxn>
              <a:cxn ang="0">
                <a:pos x="126" y="54"/>
              </a:cxn>
              <a:cxn ang="0">
                <a:pos x="137" y="76"/>
              </a:cxn>
              <a:cxn ang="0">
                <a:pos x="144" y="99"/>
              </a:cxn>
              <a:cxn ang="0">
                <a:pos x="147" y="120"/>
              </a:cxn>
              <a:cxn ang="0">
                <a:pos x="146" y="141"/>
              </a:cxn>
              <a:cxn ang="0">
                <a:pos x="142" y="160"/>
              </a:cxn>
              <a:cxn ang="0">
                <a:pos x="134" y="176"/>
              </a:cxn>
              <a:cxn ang="0">
                <a:pos x="124" y="189"/>
              </a:cxn>
              <a:cxn ang="0">
                <a:pos x="110" y="197"/>
              </a:cxn>
              <a:cxn ang="0">
                <a:pos x="94" y="200"/>
              </a:cxn>
              <a:cxn ang="0">
                <a:pos x="78" y="198"/>
              </a:cxn>
              <a:cxn ang="0">
                <a:pos x="62" y="191"/>
              </a:cxn>
              <a:cxn ang="0">
                <a:pos x="46" y="180"/>
              </a:cxn>
              <a:cxn ang="0">
                <a:pos x="33" y="165"/>
              </a:cxn>
              <a:cxn ang="0">
                <a:pos x="20" y="147"/>
              </a:cxn>
              <a:cxn ang="0">
                <a:pos x="10" y="125"/>
              </a:cxn>
              <a:cxn ang="0">
                <a:pos x="3" y="102"/>
              </a:cxn>
              <a:cxn ang="0">
                <a:pos x="0" y="79"/>
              </a:cxn>
              <a:cxn ang="0">
                <a:pos x="1" y="59"/>
              </a:cxn>
              <a:cxn ang="0">
                <a:pos x="4" y="40"/>
              </a:cxn>
              <a:cxn ang="0">
                <a:pos x="12" y="24"/>
              </a:cxn>
              <a:cxn ang="0">
                <a:pos x="22" y="12"/>
              </a:cxn>
              <a:cxn ang="0">
                <a:pos x="36" y="4"/>
              </a:cxn>
              <a:cxn ang="0">
                <a:pos x="51" y="0"/>
              </a:cxn>
            </a:cxnLst>
            <a:rect l="0" t="0" r="r" b="b"/>
            <a:pathLst>
              <a:path w="147" h="200">
                <a:moveTo>
                  <a:pt x="51" y="0"/>
                </a:moveTo>
                <a:lnTo>
                  <a:pt x="67" y="2"/>
                </a:lnTo>
                <a:lnTo>
                  <a:pt x="84" y="9"/>
                </a:lnTo>
                <a:lnTo>
                  <a:pt x="99" y="21"/>
                </a:lnTo>
                <a:lnTo>
                  <a:pt x="114" y="36"/>
                </a:lnTo>
                <a:lnTo>
                  <a:pt x="126" y="54"/>
                </a:lnTo>
                <a:lnTo>
                  <a:pt x="137" y="76"/>
                </a:lnTo>
                <a:lnTo>
                  <a:pt x="144" y="99"/>
                </a:lnTo>
                <a:lnTo>
                  <a:pt x="147" y="120"/>
                </a:lnTo>
                <a:lnTo>
                  <a:pt x="146" y="141"/>
                </a:lnTo>
                <a:lnTo>
                  <a:pt x="142" y="160"/>
                </a:lnTo>
                <a:lnTo>
                  <a:pt x="134" y="176"/>
                </a:lnTo>
                <a:lnTo>
                  <a:pt x="124" y="189"/>
                </a:lnTo>
                <a:lnTo>
                  <a:pt x="110" y="197"/>
                </a:lnTo>
                <a:lnTo>
                  <a:pt x="94" y="200"/>
                </a:lnTo>
                <a:lnTo>
                  <a:pt x="78" y="198"/>
                </a:lnTo>
                <a:lnTo>
                  <a:pt x="62" y="191"/>
                </a:lnTo>
                <a:lnTo>
                  <a:pt x="46" y="180"/>
                </a:lnTo>
                <a:lnTo>
                  <a:pt x="33" y="165"/>
                </a:lnTo>
                <a:lnTo>
                  <a:pt x="20" y="147"/>
                </a:lnTo>
                <a:lnTo>
                  <a:pt x="10" y="125"/>
                </a:lnTo>
                <a:lnTo>
                  <a:pt x="3" y="102"/>
                </a:lnTo>
                <a:lnTo>
                  <a:pt x="0" y="79"/>
                </a:lnTo>
                <a:lnTo>
                  <a:pt x="1" y="59"/>
                </a:lnTo>
                <a:lnTo>
                  <a:pt x="4" y="40"/>
                </a:lnTo>
                <a:lnTo>
                  <a:pt x="12" y="24"/>
                </a:lnTo>
                <a:lnTo>
                  <a:pt x="22" y="12"/>
                </a:lnTo>
                <a:lnTo>
                  <a:pt x="36" y="4"/>
                </a:lnTo>
                <a:lnTo>
                  <a:pt x="51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Freeform 416"/>
          <p:cNvSpPr>
            <a:spLocks/>
          </p:cNvSpPr>
          <p:nvPr/>
        </p:nvSpPr>
        <p:spPr bwMode="auto">
          <a:xfrm>
            <a:off x="9800775" y="4828001"/>
            <a:ext cx="78065" cy="106211"/>
          </a:xfrm>
          <a:custGeom>
            <a:avLst/>
            <a:gdLst/>
            <a:ahLst/>
            <a:cxnLst>
              <a:cxn ang="0">
                <a:pos x="51" y="0"/>
              </a:cxn>
              <a:cxn ang="0">
                <a:pos x="67" y="2"/>
              </a:cxn>
              <a:cxn ang="0">
                <a:pos x="84" y="9"/>
              </a:cxn>
              <a:cxn ang="0">
                <a:pos x="99" y="21"/>
              </a:cxn>
              <a:cxn ang="0">
                <a:pos x="114" y="36"/>
              </a:cxn>
              <a:cxn ang="0">
                <a:pos x="127" y="54"/>
              </a:cxn>
              <a:cxn ang="0">
                <a:pos x="137" y="76"/>
              </a:cxn>
              <a:cxn ang="0">
                <a:pos x="144" y="98"/>
              </a:cxn>
              <a:cxn ang="0">
                <a:pos x="147" y="120"/>
              </a:cxn>
              <a:cxn ang="0">
                <a:pos x="146" y="142"/>
              </a:cxn>
              <a:cxn ang="0">
                <a:pos x="143" y="160"/>
              </a:cxn>
              <a:cxn ang="0">
                <a:pos x="135" y="176"/>
              </a:cxn>
              <a:cxn ang="0">
                <a:pos x="124" y="189"/>
              </a:cxn>
              <a:cxn ang="0">
                <a:pos x="111" y="197"/>
              </a:cxn>
              <a:cxn ang="0">
                <a:pos x="95" y="200"/>
              </a:cxn>
              <a:cxn ang="0">
                <a:pos x="79" y="198"/>
              </a:cxn>
              <a:cxn ang="0">
                <a:pos x="63" y="191"/>
              </a:cxn>
              <a:cxn ang="0">
                <a:pos x="47" y="180"/>
              </a:cxn>
              <a:cxn ang="0">
                <a:pos x="33" y="165"/>
              </a:cxn>
              <a:cxn ang="0">
                <a:pos x="20" y="147"/>
              </a:cxn>
              <a:cxn ang="0">
                <a:pos x="10" y="125"/>
              </a:cxn>
              <a:cxn ang="0">
                <a:pos x="3" y="102"/>
              </a:cxn>
              <a:cxn ang="0">
                <a:pos x="0" y="80"/>
              </a:cxn>
              <a:cxn ang="0">
                <a:pos x="1" y="58"/>
              </a:cxn>
              <a:cxn ang="0">
                <a:pos x="4" y="40"/>
              </a:cxn>
              <a:cxn ang="0">
                <a:pos x="12" y="24"/>
              </a:cxn>
              <a:cxn ang="0">
                <a:pos x="23" y="12"/>
              </a:cxn>
              <a:cxn ang="0">
                <a:pos x="36" y="3"/>
              </a:cxn>
              <a:cxn ang="0">
                <a:pos x="51" y="0"/>
              </a:cxn>
            </a:cxnLst>
            <a:rect l="0" t="0" r="r" b="b"/>
            <a:pathLst>
              <a:path w="147" h="200">
                <a:moveTo>
                  <a:pt x="51" y="0"/>
                </a:moveTo>
                <a:lnTo>
                  <a:pt x="67" y="2"/>
                </a:lnTo>
                <a:lnTo>
                  <a:pt x="84" y="9"/>
                </a:lnTo>
                <a:lnTo>
                  <a:pt x="99" y="21"/>
                </a:lnTo>
                <a:lnTo>
                  <a:pt x="114" y="36"/>
                </a:lnTo>
                <a:lnTo>
                  <a:pt x="127" y="54"/>
                </a:lnTo>
                <a:lnTo>
                  <a:pt x="137" y="76"/>
                </a:lnTo>
                <a:lnTo>
                  <a:pt x="144" y="98"/>
                </a:lnTo>
                <a:lnTo>
                  <a:pt x="147" y="120"/>
                </a:lnTo>
                <a:lnTo>
                  <a:pt x="146" y="142"/>
                </a:lnTo>
                <a:lnTo>
                  <a:pt x="143" y="160"/>
                </a:lnTo>
                <a:lnTo>
                  <a:pt x="135" y="176"/>
                </a:lnTo>
                <a:lnTo>
                  <a:pt x="124" y="189"/>
                </a:lnTo>
                <a:lnTo>
                  <a:pt x="111" y="197"/>
                </a:lnTo>
                <a:lnTo>
                  <a:pt x="95" y="200"/>
                </a:lnTo>
                <a:lnTo>
                  <a:pt x="79" y="198"/>
                </a:lnTo>
                <a:lnTo>
                  <a:pt x="63" y="191"/>
                </a:lnTo>
                <a:lnTo>
                  <a:pt x="47" y="180"/>
                </a:lnTo>
                <a:lnTo>
                  <a:pt x="33" y="165"/>
                </a:lnTo>
                <a:lnTo>
                  <a:pt x="20" y="147"/>
                </a:lnTo>
                <a:lnTo>
                  <a:pt x="10" y="125"/>
                </a:lnTo>
                <a:lnTo>
                  <a:pt x="3" y="102"/>
                </a:lnTo>
                <a:lnTo>
                  <a:pt x="0" y="80"/>
                </a:lnTo>
                <a:lnTo>
                  <a:pt x="1" y="58"/>
                </a:lnTo>
                <a:lnTo>
                  <a:pt x="4" y="40"/>
                </a:lnTo>
                <a:lnTo>
                  <a:pt x="12" y="24"/>
                </a:lnTo>
                <a:lnTo>
                  <a:pt x="23" y="12"/>
                </a:lnTo>
                <a:lnTo>
                  <a:pt x="36" y="3"/>
                </a:lnTo>
                <a:lnTo>
                  <a:pt x="51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0" name="Freeform 417"/>
          <p:cNvSpPr>
            <a:spLocks/>
          </p:cNvSpPr>
          <p:nvPr/>
        </p:nvSpPr>
        <p:spPr bwMode="auto">
          <a:xfrm>
            <a:off x="9338226" y="4504067"/>
            <a:ext cx="823662" cy="1071663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72" y="0"/>
              </a:cxn>
              <a:cxn ang="0">
                <a:pos x="1549" y="755"/>
              </a:cxn>
              <a:cxn ang="0">
                <a:pos x="1550" y="758"/>
              </a:cxn>
              <a:cxn ang="0">
                <a:pos x="1551" y="762"/>
              </a:cxn>
              <a:cxn ang="0">
                <a:pos x="1551" y="768"/>
              </a:cxn>
              <a:cxn ang="0">
                <a:pos x="1550" y="776"/>
              </a:cxn>
              <a:cxn ang="0">
                <a:pos x="1546" y="784"/>
              </a:cxn>
              <a:cxn ang="0">
                <a:pos x="1540" y="790"/>
              </a:cxn>
              <a:cxn ang="0">
                <a:pos x="1527" y="794"/>
              </a:cxn>
              <a:cxn ang="0">
                <a:pos x="94" y="57"/>
              </a:cxn>
              <a:cxn ang="0">
                <a:pos x="93" y="57"/>
              </a:cxn>
              <a:cxn ang="0">
                <a:pos x="89" y="56"/>
              </a:cxn>
              <a:cxn ang="0">
                <a:pos x="85" y="55"/>
              </a:cxn>
              <a:cxn ang="0">
                <a:pos x="79" y="55"/>
              </a:cxn>
              <a:cxn ang="0">
                <a:pos x="73" y="57"/>
              </a:cxn>
              <a:cxn ang="0">
                <a:pos x="69" y="63"/>
              </a:cxn>
              <a:cxn ang="0">
                <a:pos x="65" y="72"/>
              </a:cxn>
              <a:cxn ang="0">
                <a:pos x="64" y="86"/>
              </a:cxn>
              <a:cxn ang="0">
                <a:pos x="64" y="1195"/>
              </a:cxn>
              <a:cxn ang="0">
                <a:pos x="73" y="1203"/>
              </a:cxn>
              <a:cxn ang="0">
                <a:pos x="80" y="1213"/>
              </a:cxn>
              <a:cxn ang="0">
                <a:pos x="85" y="1225"/>
              </a:cxn>
              <a:cxn ang="0">
                <a:pos x="86" y="1238"/>
              </a:cxn>
              <a:cxn ang="0">
                <a:pos x="86" y="1966"/>
              </a:cxn>
              <a:cxn ang="0">
                <a:pos x="84" y="1982"/>
              </a:cxn>
              <a:cxn ang="0">
                <a:pos x="78" y="1997"/>
              </a:cxn>
              <a:cxn ang="0">
                <a:pos x="69" y="2007"/>
              </a:cxn>
              <a:cxn ang="0">
                <a:pos x="57" y="2015"/>
              </a:cxn>
              <a:cxn ang="0">
                <a:pos x="44" y="2018"/>
              </a:cxn>
              <a:cxn ang="0">
                <a:pos x="30" y="2015"/>
              </a:cxn>
              <a:cxn ang="0">
                <a:pos x="19" y="2007"/>
              </a:cxn>
              <a:cxn ang="0">
                <a:pos x="8" y="1997"/>
              </a:cxn>
              <a:cxn ang="0">
                <a:pos x="3" y="1982"/>
              </a:cxn>
              <a:cxn ang="0">
                <a:pos x="0" y="1966"/>
              </a:cxn>
              <a:cxn ang="0">
                <a:pos x="0" y="1238"/>
              </a:cxn>
              <a:cxn ang="0">
                <a:pos x="3" y="1221"/>
              </a:cxn>
              <a:cxn ang="0">
                <a:pos x="9" y="1206"/>
              </a:cxn>
              <a:cxn ang="0">
                <a:pos x="21" y="1196"/>
              </a:cxn>
              <a:cxn ang="0">
                <a:pos x="21" y="53"/>
              </a:cxn>
              <a:cxn ang="0">
                <a:pos x="22" y="42"/>
              </a:cxn>
              <a:cxn ang="0">
                <a:pos x="24" y="31"/>
              </a:cxn>
              <a:cxn ang="0">
                <a:pos x="29" y="21"/>
              </a:cxn>
              <a:cxn ang="0">
                <a:pos x="36" y="12"/>
              </a:cxn>
              <a:cxn ang="0">
                <a:pos x="45" y="5"/>
              </a:cxn>
              <a:cxn ang="0">
                <a:pos x="56" y="0"/>
              </a:cxn>
            </a:cxnLst>
            <a:rect l="0" t="0" r="r" b="b"/>
            <a:pathLst>
              <a:path w="1551" h="2018">
                <a:moveTo>
                  <a:pt x="56" y="0"/>
                </a:moveTo>
                <a:lnTo>
                  <a:pt x="72" y="0"/>
                </a:lnTo>
                <a:lnTo>
                  <a:pt x="1549" y="755"/>
                </a:lnTo>
                <a:lnTo>
                  <a:pt x="1550" y="758"/>
                </a:lnTo>
                <a:lnTo>
                  <a:pt x="1551" y="762"/>
                </a:lnTo>
                <a:lnTo>
                  <a:pt x="1551" y="768"/>
                </a:lnTo>
                <a:lnTo>
                  <a:pt x="1550" y="776"/>
                </a:lnTo>
                <a:lnTo>
                  <a:pt x="1546" y="784"/>
                </a:lnTo>
                <a:lnTo>
                  <a:pt x="1540" y="790"/>
                </a:lnTo>
                <a:lnTo>
                  <a:pt x="1527" y="794"/>
                </a:lnTo>
                <a:lnTo>
                  <a:pt x="94" y="57"/>
                </a:lnTo>
                <a:lnTo>
                  <a:pt x="93" y="57"/>
                </a:lnTo>
                <a:lnTo>
                  <a:pt x="89" y="56"/>
                </a:lnTo>
                <a:lnTo>
                  <a:pt x="85" y="55"/>
                </a:lnTo>
                <a:lnTo>
                  <a:pt x="79" y="55"/>
                </a:lnTo>
                <a:lnTo>
                  <a:pt x="73" y="57"/>
                </a:lnTo>
                <a:lnTo>
                  <a:pt x="69" y="63"/>
                </a:lnTo>
                <a:lnTo>
                  <a:pt x="65" y="72"/>
                </a:lnTo>
                <a:lnTo>
                  <a:pt x="64" y="86"/>
                </a:lnTo>
                <a:lnTo>
                  <a:pt x="64" y="1195"/>
                </a:lnTo>
                <a:lnTo>
                  <a:pt x="73" y="1203"/>
                </a:lnTo>
                <a:lnTo>
                  <a:pt x="80" y="1213"/>
                </a:lnTo>
                <a:lnTo>
                  <a:pt x="85" y="1225"/>
                </a:lnTo>
                <a:lnTo>
                  <a:pt x="86" y="1238"/>
                </a:lnTo>
                <a:lnTo>
                  <a:pt x="86" y="1966"/>
                </a:lnTo>
                <a:lnTo>
                  <a:pt x="84" y="1982"/>
                </a:lnTo>
                <a:lnTo>
                  <a:pt x="78" y="1997"/>
                </a:lnTo>
                <a:lnTo>
                  <a:pt x="69" y="2007"/>
                </a:lnTo>
                <a:lnTo>
                  <a:pt x="57" y="2015"/>
                </a:lnTo>
                <a:lnTo>
                  <a:pt x="44" y="2018"/>
                </a:lnTo>
                <a:lnTo>
                  <a:pt x="30" y="2015"/>
                </a:lnTo>
                <a:lnTo>
                  <a:pt x="19" y="2007"/>
                </a:lnTo>
                <a:lnTo>
                  <a:pt x="8" y="1997"/>
                </a:lnTo>
                <a:lnTo>
                  <a:pt x="3" y="1982"/>
                </a:lnTo>
                <a:lnTo>
                  <a:pt x="0" y="1966"/>
                </a:lnTo>
                <a:lnTo>
                  <a:pt x="0" y="1238"/>
                </a:lnTo>
                <a:lnTo>
                  <a:pt x="3" y="1221"/>
                </a:lnTo>
                <a:lnTo>
                  <a:pt x="9" y="1206"/>
                </a:lnTo>
                <a:lnTo>
                  <a:pt x="21" y="1196"/>
                </a:lnTo>
                <a:lnTo>
                  <a:pt x="21" y="53"/>
                </a:lnTo>
                <a:lnTo>
                  <a:pt x="22" y="42"/>
                </a:lnTo>
                <a:lnTo>
                  <a:pt x="24" y="31"/>
                </a:lnTo>
                <a:lnTo>
                  <a:pt x="29" y="21"/>
                </a:lnTo>
                <a:lnTo>
                  <a:pt x="36" y="12"/>
                </a:lnTo>
                <a:lnTo>
                  <a:pt x="45" y="5"/>
                </a:lnTo>
                <a:lnTo>
                  <a:pt x="56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Freeform 424"/>
          <p:cNvSpPr>
            <a:spLocks noEditPoints="1"/>
          </p:cNvSpPr>
          <p:nvPr/>
        </p:nvSpPr>
        <p:spPr bwMode="auto">
          <a:xfrm>
            <a:off x="7782364" y="6295726"/>
            <a:ext cx="932828" cy="468847"/>
          </a:xfrm>
          <a:custGeom>
            <a:avLst/>
            <a:gdLst/>
            <a:ahLst/>
            <a:cxnLst>
              <a:cxn ang="0">
                <a:pos x="1936" y="726"/>
              </a:cxn>
              <a:cxn ang="0">
                <a:pos x="1433" y="979"/>
              </a:cxn>
              <a:cxn ang="0">
                <a:pos x="1526" y="1027"/>
              </a:cxn>
              <a:cxn ang="0">
                <a:pos x="2029" y="774"/>
              </a:cxn>
              <a:cxn ang="0">
                <a:pos x="1936" y="726"/>
              </a:cxn>
              <a:cxn ang="0">
                <a:pos x="1749" y="631"/>
              </a:cxn>
              <a:cxn ang="0">
                <a:pos x="1246" y="884"/>
              </a:cxn>
              <a:cxn ang="0">
                <a:pos x="1356" y="940"/>
              </a:cxn>
              <a:cxn ang="0">
                <a:pos x="1859" y="687"/>
              </a:cxn>
              <a:cxn ang="0">
                <a:pos x="1749" y="631"/>
              </a:cxn>
              <a:cxn ang="0">
                <a:pos x="1562" y="535"/>
              </a:cxn>
              <a:cxn ang="0">
                <a:pos x="1060" y="789"/>
              </a:cxn>
              <a:cxn ang="0">
                <a:pos x="1170" y="845"/>
              </a:cxn>
              <a:cxn ang="0">
                <a:pos x="1673" y="591"/>
              </a:cxn>
              <a:cxn ang="0">
                <a:pos x="1562" y="535"/>
              </a:cxn>
              <a:cxn ang="0">
                <a:pos x="1387" y="445"/>
              </a:cxn>
              <a:cxn ang="0">
                <a:pos x="885" y="698"/>
              </a:cxn>
              <a:cxn ang="0">
                <a:pos x="984" y="749"/>
              </a:cxn>
              <a:cxn ang="0">
                <a:pos x="1485" y="496"/>
              </a:cxn>
              <a:cxn ang="0">
                <a:pos x="1387" y="445"/>
              </a:cxn>
              <a:cxn ang="0">
                <a:pos x="1212" y="356"/>
              </a:cxn>
              <a:cxn ang="0">
                <a:pos x="710" y="609"/>
              </a:cxn>
              <a:cxn ang="0">
                <a:pos x="809" y="659"/>
              </a:cxn>
              <a:cxn ang="0">
                <a:pos x="1310" y="406"/>
              </a:cxn>
              <a:cxn ang="0">
                <a:pos x="1212" y="356"/>
              </a:cxn>
              <a:cxn ang="0">
                <a:pos x="1029" y="263"/>
              </a:cxn>
              <a:cxn ang="0">
                <a:pos x="529" y="516"/>
              </a:cxn>
              <a:cxn ang="0">
                <a:pos x="634" y="570"/>
              </a:cxn>
              <a:cxn ang="0">
                <a:pos x="1136" y="317"/>
              </a:cxn>
              <a:cxn ang="0">
                <a:pos x="1029" y="263"/>
              </a:cxn>
              <a:cxn ang="0">
                <a:pos x="850" y="172"/>
              </a:cxn>
              <a:cxn ang="0">
                <a:pos x="349" y="425"/>
              </a:cxn>
              <a:cxn ang="0">
                <a:pos x="452" y="477"/>
              </a:cxn>
              <a:cxn ang="0">
                <a:pos x="953" y="225"/>
              </a:cxn>
              <a:cxn ang="0">
                <a:pos x="850" y="172"/>
              </a:cxn>
              <a:cxn ang="0">
                <a:pos x="770" y="0"/>
              </a:cxn>
              <a:cxn ang="0">
                <a:pos x="2300" y="770"/>
              </a:cxn>
              <a:cxn ang="0">
                <a:pos x="2161" y="840"/>
              </a:cxn>
              <a:cxn ang="0">
                <a:pos x="2106" y="813"/>
              </a:cxn>
              <a:cxn ang="0">
                <a:pos x="1603" y="1066"/>
              </a:cxn>
              <a:cxn ang="0">
                <a:pos x="1653" y="1091"/>
              </a:cxn>
              <a:cxn ang="0">
                <a:pos x="1521" y="1156"/>
              </a:cxn>
              <a:cxn ang="0">
                <a:pos x="0" y="385"/>
              </a:cxn>
              <a:cxn ang="0">
                <a:pos x="140" y="314"/>
              </a:cxn>
              <a:cxn ang="0">
                <a:pos x="273" y="385"/>
              </a:cxn>
              <a:cxn ang="0">
                <a:pos x="773" y="133"/>
              </a:cxn>
              <a:cxn ang="0">
                <a:pos x="637" y="67"/>
              </a:cxn>
              <a:cxn ang="0">
                <a:pos x="770" y="0"/>
              </a:cxn>
            </a:cxnLst>
            <a:rect l="0" t="0" r="r" b="b"/>
            <a:pathLst>
              <a:path w="2300" h="1156">
                <a:moveTo>
                  <a:pt x="1936" y="726"/>
                </a:moveTo>
                <a:lnTo>
                  <a:pt x="1433" y="979"/>
                </a:lnTo>
                <a:lnTo>
                  <a:pt x="1526" y="1027"/>
                </a:lnTo>
                <a:lnTo>
                  <a:pt x="2029" y="774"/>
                </a:lnTo>
                <a:lnTo>
                  <a:pt x="1936" y="726"/>
                </a:lnTo>
                <a:close/>
                <a:moveTo>
                  <a:pt x="1749" y="631"/>
                </a:moveTo>
                <a:lnTo>
                  <a:pt x="1246" y="884"/>
                </a:lnTo>
                <a:lnTo>
                  <a:pt x="1356" y="940"/>
                </a:lnTo>
                <a:lnTo>
                  <a:pt x="1859" y="687"/>
                </a:lnTo>
                <a:lnTo>
                  <a:pt x="1749" y="631"/>
                </a:lnTo>
                <a:close/>
                <a:moveTo>
                  <a:pt x="1562" y="535"/>
                </a:moveTo>
                <a:lnTo>
                  <a:pt x="1060" y="789"/>
                </a:lnTo>
                <a:lnTo>
                  <a:pt x="1170" y="845"/>
                </a:lnTo>
                <a:lnTo>
                  <a:pt x="1673" y="591"/>
                </a:lnTo>
                <a:lnTo>
                  <a:pt x="1562" y="535"/>
                </a:lnTo>
                <a:close/>
                <a:moveTo>
                  <a:pt x="1387" y="445"/>
                </a:moveTo>
                <a:lnTo>
                  <a:pt x="885" y="698"/>
                </a:lnTo>
                <a:lnTo>
                  <a:pt x="984" y="749"/>
                </a:lnTo>
                <a:lnTo>
                  <a:pt x="1485" y="496"/>
                </a:lnTo>
                <a:lnTo>
                  <a:pt x="1387" y="445"/>
                </a:lnTo>
                <a:close/>
                <a:moveTo>
                  <a:pt x="1212" y="356"/>
                </a:moveTo>
                <a:lnTo>
                  <a:pt x="710" y="609"/>
                </a:lnTo>
                <a:lnTo>
                  <a:pt x="809" y="659"/>
                </a:lnTo>
                <a:lnTo>
                  <a:pt x="1310" y="406"/>
                </a:lnTo>
                <a:lnTo>
                  <a:pt x="1212" y="356"/>
                </a:lnTo>
                <a:close/>
                <a:moveTo>
                  <a:pt x="1029" y="263"/>
                </a:moveTo>
                <a:lnTo>
                  <a:pt x="529" y="516"/>
                </a:lnTo>
                <a:lnTo>
                  <a:pt x="634" y="570"/>
                </a:lnTo>
                <a:lnTo>
                  <a:pt x="1136" y="317"/>
                </a:lnTo>
                <a:lnTo>
                  <a:pt x="1029" y="263"/>
                </a:lnTo>
                <a:close/>
                <a:moveTo>
                  <a:pt x="850" y="172"/>
                </a:moveTo>
                <a:lnTo>
                  <a:pt x="349" y="425"/>
                </a:lnTo>
                <a:lnTo>
                  <a:pt x="452" y="477"/>
                </a:lnTo>
                <a:lnTo>
                  <a:pt x="953" y="225"/>
                </a:lnTo>
                <a:lnTo>
                  <a:pt x="850" y="172"/>
                </a:lnTo>
                <a:close/>
                <a:moveTo>
                  <a:pt x="770" y="0"/>
                </a:moveTo>
                <a:lnTo>
                  <a:pt x="2300" y="770"/>
                </a:lnTo>
                <a:lnTo>
                  <a:pt x="2161" y="840"/>
                </a:lnTo>
                <a:lnTo>
                  <a:pt x="2106" y="813"/>
                </a:lnTo>
                <a:lnTo>
                  <a:pt x="1603" y="1066"/>
                </a:lnTo>
                <a:lnTo>
                  <a:pt x="1653" y="1091"/>
                </a:lnTo>
                <a:lnTo>
                  <a:pt x="1521" y="1156"/>
                </a:lnTo>
                <a:lnTo>
                  <a:pt x="0" y="385"/>
                </a:lnTo>
                <a:lnTo>
                  <a:pt x="140" y="314"/>
                </a:lnTo>
                <a:lnTo>
                  <a:pt x="273" y="385"/>
                </a:lnTo>
                <a:lnTo>
                  <a:pt x="773" y="133"/>
                </a:lnTo>
                <a:lnTo>
                  <a:pt x="637" y="67"/>
                </a:lnTo>
                <a:lnTo>
                  <a:pt x="770" y="0"/>
                </a:lnTo>
                <a:close/>
              </a:path>
            </a:pathLst>
          </a:custGeom>
          <a:solidFill>
            <a:sysClr val="window" lastClr="FFFFFF"/>
          </a:solidFill>
          <a:ln w="0">
            <a:solidFill>
              <a:srgbClr val="E8EFED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82" name="Gruppieren 83"/>
          <p:cNvGrpSpPr/>
          <p:nvPr/>
        </p:nvGrpSpPr>
        <p:grpSpPr>
          <a:xfrm>
            <a:off x="11247747" y="4627025"/>
            <a:ext cx="597009" cy="393763"/>
            <a:chOff x="596757" y="3362466"/>
            <a:chExt cx="597010" cy="393763"/>
          </a:xfrm>
        </p:grpSpPr>
        <p:sp>
          <p:nvSpPr>
            <p:cNvPr id="83" name="Freeform 260"/>
            <p:cNvSpPr>
              <a:spLocks/>
            </p:cNvSpPr>
            <p:nvPr/>
          </p:nvSpPr>
          <p:spPr bwMode="auto">
            <a:xfrm>
              <a:off x="596757" y="3453859"/>
              <a:ext cx="597010" cy="302370"/>
            </a:xfrm>
            <a:custGeom>
              <a:avLst/>
              <a:gdLst/>
              <a:ahLst/>
              <a:cxnLst>
                <a:cxn ang="0">
                  <a:pos x="894" y="0"/>
                </a:cxn>
                <a:cxn ang="0">
                  <a:pos x="1244" y="78"/>
                </a:cxn>
                <a:cxn ang="0">
                  <a:pos x="1275" y="91"/>
                </a:cxn>
                <a:cxn ang="0">
                  <a:pos x="1295" y="106"/>
                </a:cxn>
                <a:cxn ang="0">
                  <a:pos x="1308" y="120"/>
                </a:cxn>
                <a:cxn ang="0">
                  <a:pos x="1313" y="135"/>
                </a:cxn>
                <a:cxn ang="0">
                  <a:pos x="1313" y="150"/>
                </a:cxn>
                <a:cxn ang="0">
                  <a:pos x="1310" y="163"/>
                </a:cxn>
                <a:cxn ang="0">
                  <a:pos x="1303" y="176"/>
                </a:cxn>
                <a:cxn ang="0">
                  <a:pos x="1295" y="186"/>
                </a:cxn>
                <a:cxn ang="0">
                  <a:pos x="1288" y="194"/>
                </a:cxn>
                <a:cxn ang="0">
                  <a:pos x="1282" y="199"/>
                </a:cxn>
                <a:cxn ang="0">
                  <a:pos x="1280" y="200"/>
                </a:cxn>
                <a:cxn ang="0">
                  <a:pos x="546" y="628"/>
                </a:cxn>
                <a:cxn ang="0">
                  <a:pos x="512" y="646"/>
                </a:cxn>
                <a:cxn ang="0">
                  <a:pos x="483" y="657"/>
                </a:cxn>
                <a:cxn ang="0">
                  <a:pos x="456" y="664"/>
                </a:cxn>
                <a:cxn ang="0">
                  <a:pos x="434" y="665"/>
                </a:cxn>
                <a:cxn ang="0">
                  <a:pos x="414" y="664"/>
                </a:cxn>
                <a:cxn ang="0">
                  <a:pos x="399" y="661"/>
                </a:cxn>
                <a:cxn ang="0">
                  <a:pos x="386" y="657"/>
                </a:cxn>
                <a:cxn ang="0">
                  <a:pos x="378" y="652"/>
                </a:cxn>
                <a:cxn ang="0">
                  <a:pos x="373" y="649"/>
                </a:cxn>
                <a:cxn ang="0">
                  <a:pos x="372" y="647"/>
                </a:cxn>
                <a:cxn ang="0">
                  <a:pos x="37" y="453"/>
                </a:cxn>
                <a:cxn ang="0">
                  <a:pos x="16" y="434"/>
                </a:cxn>
                <a:cxn ang="0">
                  <a:pos x="5" y="416"/>
                </a:cxn>
                <a:cxn ang="0">
                  <a:pos x="0" y="401"/>
                </a:cxn>
                <a:cxn ang="0">
                  <a:pos x="3" y="388"/>
                </a:cxn>
                <a:cxn ang="0">
                  <a:pos x="9" y="375"/>
                </a:cxn>
                <a:cxn ang="0">
                  <a:pos x="18" y="365"/>
                </a:cxn>
                <a:cxn ang="0">
                  <a:pos x="40" y="352"/>
                </a:cxn>
                <a:cxn ang="0">
                  <a:pos x="50" y="347"/>
                </a:cxn>
                <a:cxn ang="0">
                  <a:pos x="57" y="346"/>
                </a:cxn>
                <a:cxn ang="0">
                  <a:pos x="60" y="344"/>
                </a:cxn>
                <a:cxn ang="0">
                  <a:pos x="894" y="0"/>
                </a:cxn>
              </a:cxnLst>
              <a:rect l="0" t="0" r="r" b="b"/>
              <a:pathLst>
                <a:path w="1313" h="665">
                  <a:moveTo>
                    <a:pt x="894" y="0"/>
                  </a:moveTo>
                  <a:lnTo>
                    <a:pt x="1244" y="78"/>
                  </a:lnTo>
                  <a:lnTo>
                    <a:pt x="1275" y="91"/>
                  </a:lnTo>
                  <a:lnTo>
                    <a:pt x="1295" y="106"/>
                  </a:lnTo>
                  <a:lnTo>
                    <a:pt x="1308" y="120"/>
                  </a:lnTo>
                  <a:lnTo>
                    <a:pt x="1313" y="135"/>
                  </a:lnTo>
                  <a:lnTo>
                    <a:pt x="1313" y="150"/>
                  </a:lnTo>
                  <a:lnTo>
                    <a:pt x="1310" y="163"/>
                  </a:lnTo>
                  <a:lnTo>
                    <a:pt x="1303" y="176"/>
                  </a:lnTo>
                  <a:lnTo>
                    <a:pt x="1295" y="186"/>
                  </a:lnTo>
                  <a:lnTo>
                    <a:pt x="1288" y="194"/>
                  </a:lnTo>
                  <a:lnTo>
                    <a:pt x="1282" y="199"/>
                  </a:lnTo>
                  <a:lnTo>
                    <a:pt x="1280" y="200"/>
                  </a:lnTo>
                  <a:lnTo>
                    <a:pt x="546" y="628"/>
                  </a:lnTo>
                  <a:lnTo>
                    <a:pt x="512" y="646"/>
                  </a:lnTo>
                  <a:lnTo>
                    <a:pt x="483" y="657"/>
                  </a:lnTo>
                  <a:lnTo>
                    <a:pt x="456" y="664"/>
                  </a:lnTo>
                  <a:lnTo>
                    <a:pt x="434" y="665"/>
                  </a:lnTo>
                  <a:lnTo>
                    <a:pt x="414" y="664"/>
                  </a:lnTo>
                  <a:lnTo>
                    <a:pt x="399" y="661"/>
                  </a:lnTo>
                  <a:lnTo>
                    <a:pt x="386" y="657"/>
                  </a:lnTo>
                  <a:lnTo>
                    <a:pt x="378" y="652"/>
                  </a:lnTo>
                  <a:lnTo>
                    <a:pt x="373" y="649"/>
                  </a:lnTo>
                  <a:lnTo>
                    <a:pt x="372" y="647"/>
                  </a:lnTo>
                  <a:lnTo>
                    <a:pt x="37" y="453"/>
                  </a:lnTo>
                  <a:lnTo>
                    <a:pt x="16" y="434"/>
                  </a:lnTo>
                  <a:lnTo>
                    <a:pt x="5" y="416"/>
                  </a:lnTo>
                  <a:lnTo>
                    <a:pt x="0" y="401"/>
                  </a:lnTo>
                  <a:lnTo>
                    <a:pt x="3" y="388"/>
                  </a:lnTo>
                  <a:lnTo>
                    <a:pt x="9" y="375"/>
                  </a:lnTo>
                  <a:lnTo>
                    <a:pt x="18" y="365"/>
                  </a:lnTo>
                  <a:lnTo>
                    <a:pt x="40" y="352"/>
                  </a:lnTo>
                  <a:lnTo>
                    <a:pt x="50" y="347"/>
                  </a:lnTo>
                  <a:lnTo>
                    <a:pt x="57" y="346"/>
                  </a:lnTo>
                  <a:lnTo>
                    <a:pt x="60" y="344"/>
                  </a:lnTo>
                  <a:lnTo>
                    <a:pt x="894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Freeform 261"/>
            <p:cNvSpPr>
              <a:spLocks/>
            </p:cNvSpPr>
            <p:nvPr/>
          </p:nvSpPr>
          <p:spPr bwMode="auto">
            <a:xfrm>
              <a:off x="1103738" y="3469319"/>
              <a:ext cx="50016" cy="52744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102" y="37"/>
                </a:cxn>
                <a:cxn ang="0">
                  <a:pos x="110" y="116"/>
                </a:cxn>
                <a:cxn ang="0">
                  <a:pos x="72" y="114"/>
                </a:cxn>
                <a:cxn ang="0">
                  <a:pos x="12" y="75"/>
                </a:cxn>
                <a:cxn ang="0">
                  <a:pos x="0" y="26"/>
                </a:cxn>
                <a:cxn ang="0">
                  <a:pos x="46" y="0"/>
                </a:cxn>
              </a:cxnLst>
              <a:rect l="0" t="0" r="r" b="b"/>
              <a:pathLst>
                <a:path w="110" h="116">
                  <a:moveTo>
                    <a:pt x="46" y="0"/>
                  </a:moveTo>
                  <a:lnTo>
                    <a:pt x="102" y="37"/>
                  </a:lnTo>
                  <a:lnTo>
                    <a:pt x="110" y="116"/>
                  </a:lnTo>
                  <a:lnTo>
                    <a:pt x="72" y="114"/>
                  </a:lnTo>
                  <a:lnTo>
                    <a:pt x="12" y="75"/>
                  </a:lnTo>
                  <a:lnTo>
                    <a:pt x="0" y="2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Freeform 262"/>
            <p:cNvSpPr>
              <a:spLocks/>
            </p:cNvSpPr>
            <p:nvPr/>
          </p:nvSpPr>
          <p:spPr bwMode="auto">
            <a:xfrm>
              <a:off x="888214" y="3589357"/>
              <a:ext cx="58655" cy="64566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120" y="48"/>
                </a:cxn>
                <a:cxn ang="0">
                  <a:pos x="129" y="97"/>
                </a:cxn>
                <a:cxn ang="0">
                  <a:pos x="106" y="142"/>
                </a:cxn>
                <a:cxn ang="0">
                  <a:pos x="37" y="114"/>
                </a:cxn>
                <a:cxn ang="0">
                  <a:pos x="0" y="30"/>
                </a:cxn>
                <a:cxn ang="0">
                  <a:pos x="45" y="0"/>
                </a:cxn>
              </a:cxnLst>
              <a:rect l="0" t="0" r="r" b="b"/>
              <a:pathLst>
                <a:path w="129" h="142">
                  <a:moveTo>
                    <a:pt x="45" y="0"/>
                  </a:moveTo>
                  <a:lnTo>
                    <a:pt x="120" y="48"/>
                  </a:lnTo>
                  <a:lnTo>
                    <a:pt x="129" y="97"/>
                  </a:lnTo>
                  <a:lnTo>
                    <a:pt x="106" y="142"/>
                  </a:lnTo>
                  <a:lnTo>
                    <a:pt x="37" y="114"/>
                  </a:lnTo>
                  <a:lnTo>
                    <a:pt x="0" y="3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Freeform 263"/>
            <p:cNvSpPr>
              <a:spLocks/>
            </p:cNvSpPr>
            <p:nvPr/>
          </p:nvSpPr>
          <p:spPr bwMode="auto">
            <a:xfrm>
              <a:off x="1060088" y="3478867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3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0"/>
                </a:cxn>
                <a:cxn ang="0">
                  <a:pos x="139" y="96"/>
                </a:cxn>
                <a:cxn ang="0">
                  <a:pos x="131" y="122"/>
                </a:cxn>
                <a:cxn ang="0">
                  <a:pos x="119" y="147"/>
                </a:cxn>
                <a:cxn ang="0">
                  <a:pos x="105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4"/>
                </a:cxn>
                <a:cxn ang="0">
                  <a:pos x="10" y="170"/>
                </a:cxn>
                <a:cxn ang="0">
                  <a:pos x="3" y="150"/>
                </a:cxn>
                <a:cxn ang="0">
                  <a:pos x="0" y="127"/>
                </a:cxn>
                <a:cxn ang="0">
                  <a:pos x="3" y="101"/>
                </a:cxn>
                <a:cxn ang="0">
                  <a:pos x="10" y="75"/>
                </a:cxn>
                <a:cxn ang="0">
                  <a:pos x="25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3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0"/>
                  </a:lnTo>
                  <a:lnTo>
                    <a:pt x="139" y="96"/>
                  </a:lnTo>
                  <a:lnTo>
                    <a:pt x="131" y="122"/>
                  </a:lnTo>
                  <a:lnTo>
                    <a:pt x="119" y="147"/>
                  </a:lnTo>
                  <a:lnTo>
                    <a:pt x="105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4"/>
                  </a:lnTo>
                  <a:lnTo>
                    <a:pt x="10" y="170"/>
                  </a:lnTo>
                  <a:lnTo>
                    <a:pt x="3" y="150"/>
                  </a:lnTo>
                  <a:lnTo>
                    <a:pt x="0" y="127"/>
                  </a:lnTo>
                  <a:lnTo>
                    <a:pt x="3" y="101"/>
                  </a:lnTo>
                  <a:lnTo>
                    <a:pt x="10" y="75"/>
                  </a:lnTo>
                  <a:lnTo>
                    <a:pt x="25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Freeform 264"/>
            <p:cNvSpPr>
              <a:spLocks/>
            </p:cNvSpPr>
            <p:nvPr/>
          </p:nvSpPr>
          <p:spPr bwMode="auto">
            <a:xfrm>
              <a:off x="1075093" y="3484778"/>
              <a:ext cx="60929" cy="94121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134" y="18"/>
                </a:cxn>
                <a:cxn ang="0">
                  <a:pos x="124" y="38"/>
                </a:cxn>
                <a:cxn ang="0">
                  <a:pos x="55" y="199"/>
                </a:cxn>
                <a:cxn ang="0">
                  <a:pos x="52" y="207"/>
                </a:cxn>
                <a:cxn ang="0">
                  <a:pos x="0" y="181"/>
                </a:cxn>
                <a:cxn ang="0">
                  <a:pos x="15" y="47"/>
                </a:cxn>
                <a:cxn ang="0">
                  <a:pos x="81" y="0"/>
                </a:cxn>
              </a:cxnLst>
              <a:rect l="0" t="0" r="r" b="b"/>
              <a:pathLst>
                <a:path w="134" h="207">
                  <a:moveTo>
                    <a:pt x="81" y="0"/>
                  </a:moveTo>
                  <a:lnTo>
                    <a:pt x="134" y="18"/>
                  </a:lnTo>
                  <a:lnTo>
                    <a:pt x="124" y="38"/>
                  </a:lnTo>
                  <a:lnTo>
                    <a:pt x="55" y="199"/>
                  </a:lnTo>
                  <a:lnTo>
                    <a:pt x="52" y="207"/>
                  </a:lnTo>
                  <a:lnTo>
                    <a:pt x="0" y="181"/>
                  </a:lnTo>
                  <a:lnTo>
                    <a:pt x="15" y="47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" name="Freeform 265"/>
            <p:cNvSpPr>
              <a:spLocks/>
            </p:cNvSpPr>
            <p:nvPr/>
          </p:nvSpPr>
          <p:spPr bwMode="auto">
            <a:xfrm>
              <a:off x="1084641" y="3490689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2"/>
                </a:cxn>
                <a:cxn ang="0">
                  <a:pos x="139" y="96"/>
                </a:cxn>
                <a:cxn ang="0">
                  <a:pos x="131" y="123"/>
                </a:cxn>
                <a:cxn ang="0">
                  <a:pos x="119" y="147"/>
                </a:cxn>
                <a:cxn ang="0">
                  <a:pos x="104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5"/>
                </a:cxn>
                <a:cxn ang="0">
                  <a:pos x="8" y="170"/>
                </a:cxn>
                <a:cxn ang="0">
                  <a:pos x="2" y="150"/>
                </a:cxn>
                <a:cxn ang="0">
                  <a:pos x="0" y="127"/>
                </a:cxn>
                <a:cxn ang="0">
                  <a:pos x="2" y="103"/>
                </a:cxn>
                <a:cxn ang="0">
                  <a:pos x="10" y="77"/>
                </a:cxn>
                <a:cxn ang="0">
                  <a:pos x="25" y="47"/>
                </a:cxn>
                <a:cxn ang="0">
                  <a:pos x="44" y="25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2"/>
                  </a:lnTo>
                  <a:lnTo>
                    <a:pt x="139" y="96"/>
                  </a:lnTo>
                  <a:lnTo>
                    <a:pt x="131" y="123"/>
                  </a:lnTo>
                  <a:lnTo>
                    <a:pt x="119" y="147"/>
                  </a:lnTo>
                  <a:lnTo>
                    <a:pt x="104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5"/>
                  </a:lnTo>
                  <a:lnTo>
                    <a:pt x="8" y="170"/>
                  </a:lnTo>
                  <a:lnTo>
                    <a:pt x="2" y="150"/>
                  </a:lnTo>
                  <a:lnTo>
                    <a:pt x="0" y="127"/>
                  </a:lnTo>
                  <a:lnTo>
                    <a:pt x="2" y="103"/>
                  </a:lnTo>
                  <a:lnTo>
                    <a:pt x="10" y="77"/>
                  </a:lnTo>
                  <a:lnTo>
                    <a:pt x="25" y="47"/>
                  </a:lnTo>
                  <a:lnTo>
                    <a:pt x="44" y="25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" name="Freeform 266"/>
            <p:cNvSpPr>
              <a:spLocks/>
            </p:cNvSpPr>
            <p:nvPr/>
          </p:nvSpPr>
          <p:spPr bwMode="auto">
            <a:xfrm>
              <a:off x="1101010" y="3512969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7" y="0"/>
                </a:cxn>
                <a:cxn ang="0">
                  <a:pos x="67" y="8"/>
                </a:cxn>
                <a:cxn ang="0">
                  <a:pos x="73" y="25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9" y="82"/>
                </a:cxn>
                <a:cxn ang="0">
                  <a:pos x="46" y="96"/>
                </a:cxn>
                <a:cxn ang="0">
                  <a:pos x="31" y="103"/>
                </a:cxn>
                <a:cxn ang="0">
                  <a:pos x="18" y="103"/>
                </a:cxn>
                <a:cxn ang="0">
                  <a:pos x="8" y="96"/>
                </a:cxn>
                <a:cxn ang="0">
                  <a:pos x="3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5" y="39"/>
                </a:cxn>
                <a:cxn ang="0">
                  <a:pos x="15" y="21"/>
                </a:cxn>
                <a:cxn ang="0">
                  <a:pos x="29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7" y="0"/>
                  </a:lnTo>
                  <a:lnTo>
                    <a:pt x="67" y="8"/>
                  </a:lnTo>
                  <a:lnTo>
                    <a:pt x="73" y="25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9" y="82"/>
                  </a:lnTo>
                  <a:lnTo>
                    <a:pt x="46" y="96"/>
                  </a:lnTo>
                  <a:lnTo>
                    <a:pt x="31" y="103"/>
                  </a:lnTo>
                  <a:lnTo>
                    <a:pt x="18" y="103"/>
                  </a:lnTo>
                  <a:lnTo>
                    <a:pt x="8" y="96"/>
                  </a:lnTo>
                  <a:lnTo>
                    <a:pt x="3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5" y="39"/>
                  </a:lnTo>
                  <a:lnTo>
                    <a:pt x="15" y="21"/>
                  </a:lnTo>
                  <a:lnTo>
                    <a:pt x="29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" name="Freeform 267"/>
            <p:cNvSpPr>
              <a:spLocks/>
            </p:cNvSpPr>
            <p:nvPr/>
          </p:nvSpPr>
          <p:spPr bwMode="auto">
            <a:xfrm>
              <a:off x="1101920" y="3514333"/>
              <a:ext cx="29555" cy="42286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50" y="2"/>
                </a:cxn>
                <a:cxn ang="0">
                  <a:pos x="60" y="9"/>
                </a:cxn>
                <a:cxn ang="0">
                  <a:pos x="65" y="22"/>
                </a:cxn>
                <a:cxn ang="0">
                  <a:pos x="65" y="40"/>
                </a:cxn>
                <a:cxn ang="0">
                  <a:pos x="60" y="57"/>
                </a:cxn>
                <a:cxn ang="0">
                  <a:pos x="52" y="75"/>
                </a:cxn>
                <a:cxn ang="0">
                  <a:pos x="40" y="87"/>
                </a:cxn>
                <a:cxn ang="0">
                  <a:pos x="27" y="93"/>
                </a:cxn>
                <a:cxn ang="0">
                  <a:pos x="14" y="93"/>
                </a:cxn>
                <a:cxn ang="0">
                  <a:pos x="4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4" y="20"/>
                </a:cxn>
                <a:cxn ang="0">
                  <a:pos x="26" y="7"/>
                </a:cxn>
                <a:cxn ang="0">
                  <a:pos x="37" y="0"/>
                </a:cxn>
              </a:cxnLst>
              <a:rect l="0" t="0" r="r" b="b"/>
              <a:pathLst>
                <a:path w="65" h="93">
                  <a:moveTo>
                    <a:pt x="37" y="0"/>
                  </a:moveTo>
                  <a:lnTo>
                    <a:pt x="50" y="2"/>
                  </a:lnTo>
                  <a:lnTo>
                    <a:pt x="60" y="9"/>
                  </a:lnTo>
                  <a:lnTo>
                    <a:pt x="65" y="22"/>
                  </a:lnTo>
                  <a:lnTo>
                    <a:pt x="65" y="40"/>
                  </a:lnTo>
                  <a:lnTo>
                    <a:pt x="60" y="57"/>
                  </a:lnTo>
                  <a:lnTo>
                    <a:pt x="52" y="75"/>
                  </a:lnTo>
                  <a:lnTo>
                    <a:pt x="40" y="87"/>
                  </a:lnTo>
                  <a:lnTo>
                    <a:pt x="27" y="93"/>
                  </a:lnTo>
                  <a:lnTo>
                    <a:pt x="14" y="93"/>
                  </a:lnTo>
                  <a:lnTo>
                    <a:pt x="4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4" y="36"/>
                  </a:lnTo>
                  <a:lnTo>
                    <a:pt x="14" y="20"/>
                  </a:lnTo>
                  <a:lnTo>
                    <a:pt x="26" y="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" name="Freeform 268"/>
            <p:cNvSpPr>
              <a:spLocks/>
            </p:cNvSpPr>
            <p:nvPr/>
          </p:nvSpPr>
          <p:spPr bwMode="auto">
            <a:xfrm>
              <a:off x="845928" y="3595268"/>
              <a:ext cx="64566" cy="9002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107" y="4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2" y="70"/>
                </a:cxn>
                <a:cxn ang="0">
                  <a:pos x="138" y="95"/>
                </a:cxn>
                <a:cxn ang="0">
                  <a:pos x="130" y="121"/>
                </a:cxn>
                <a:cxn ang="0">
                  <a:pos x="119" y="146"/>
                </a:cxn>
                <a:cxn ang="0">
                  <a:pos x="104" y="167"/>
                </a:cxn>
                <a:cxn ang="0">
                  <a:pos x="86" y="183"/>
                </a:cxn>
                <a:cxn ang="0">
                  <a:pos x="70" y="193"/>
                </a:cxn>
                <a:cxn ang="0">
                  <a:pos x="50" y="198"/>
                </a:cxn>
                <a:cxn ang="0">
                  <a:pos x="34" y="194"/>
                </a:cxn>
                <a:cxn ang="0">
                  <a:pos x="19" y="185"/>
                </a:cxn>
                <a:cxn ang="0">
                  <a:pos x="8" y="170"/>
                </a:cxn>
                <a:cxn ang="0">
                  <a:pos x="1" y="149"/>
                </a:cxn>
                <a:cxn ang="0">
                  <a:pos x="0" y="126"/>
                </a:cxn>
                <a:cxn ang="0">
                  <a:pos x="1" y="101"/>
                </a:cxn>
                <a:cxn ang="0">
                  <a:pos x="10" y="75"/>
                </a:cxn>
                <a:cxn ang="0">
                  <a:pos x="24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6" y="0"/>
                </a:cxn>
              </a:cxnLst>
              <a:rect l="0" t="0" r="r" b="b"/>
              <a:pathLst>
                <a:path w="142" h="198">
                  <a:moveTo>
                    <a:pt x="86" y="0"/>
                  </a:moveTo>
                  <a:lnTo>
                    <a:pt x="107" y="4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2" y="70"/>
                  </a:lnTo>
                  <a:lnTo>
                    <a:pt x="138" y="95"/>
                  </a:lnTo>
                  <a:lnTo>
                    <a:pt x="130" y="121"/>
                  </a:lnTo>
                  <a:lnTo>
                    <a:pt x="119" y="146"/>
                  </a:lnTo>
                  <a:lnTo>
                    <a:pt x="104" y="167"/>
                  </a:lnTo>
                  <a:lnTo>
                    <a:pt x="86" y="183"/>
                  </a:lnTo>
                  <a:lnTo>
                    <a:pt x="70" y="193"/>
                  </a:lnTo>
                  <a:lnTo>
                    <a:pt x="50" y="198"/>
                  </a:lnTo>
                  <a:lnTo>
                    <a:pt x="34" y="194"/>
                  </a:lnTo>
                  <a:lnTo>
                    <a:pt x="19" y="185"/>
                  </a:lnTo>
                  <a:lnTo>
                    <a:pt x="8" y="170"/>
                  </a:lnTo>
                  <a:lnTo>
                    <a:pt x="1" y="149"/>
                  </a:lnTo>
                  <a:lnTo>
                    <a:pt x="0" y="126"/>
                  </a:lnTo>
                  <a:lnTo>
                    <a:pt x="1" y="101"/>
                  </a:lnTo>
                  <a:lnTo>
                    <a:pt x="10" y="75"/>
                  </a:lnTo>
                  <a:lnTo>
                    <a:pt x="24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2" name="Freeform 269"/>
            <p:cNvSpPr>
              <a:spLocks/>
            </p:cNvSpPr>
            <p:nvPr/>
          </p:nvSpPr>
          <p:spPr bwMode="auto">
            <a:xfrm>
              <a:off x="860478" y="3601179"/>
              <a:ext cx="59564" cy="93666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31" y="18"/>
                </a:cxn>
                <a:cxn ang="0">
                  <a:pos x="123" y="38"/>
                </a:cxn>
                <a:cxn ang="0">
                  <a:pos x="56" y="198"/>
                </a:cxn>
                <a:cxn ang="0">
                  <a:pos x="51" y="206"/>
                </a:cxn>
                <a:cxn ang="0">
                  <a:pos x="0" y="180"/>
                </a:cxn>
                <a:cxn ang="0">
                  <a:pos x="15" y="48"/>
                </a:cxn>
                <a:cxn ang="0">
                  <a:pos x="82" y="0"/>
                </a:cxn>
              </a:cxnLst>
              <a:rect l="0" t="0" r="r" b="b"/>
              <a:pathLst>
                <a:path w="131" h="206">
                  <a:moveTo>
                    <a:pt x="82" y="0"/>
                  </a:moveTo>
                  <a:lnTo>
                    <a:pt x="131" y="18"/>
                  </a:lnTo>
                  <a:lnTo>
                    <a:pt x="123" y="38"/>
                  </a:lnTo>
                  <a:lnTo>
                    <a:pt x="56" y="198"/>
                  </a:lnTo>
                  <a:lnTo>
                    <a:pt x="51" y="206"/>
                  </a:lnTo>
                  <a:lnTo>
                    <a:pt x="0" y="180"/>
                  </a:lnTo>
                  <a:lnTo>
                    <a:pt x="15" y="48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3" name="Freeform 270"/>
            <p:cNvSpPr>
              <a:spLocks/>
            </p:cNvSpPr>
            <p:nvPr/>
          </p:nvSpPr>
          <p:spPr bwMode="auto">
            <a:xfrm>
              <a:off x="870481" y="3607090"/>
              <a:ext cx="63657" cy="9002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06" y="4"/>
                </a:cxn>
                <a:cxn ang="0">
                  <a:pos x="120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0" y="71"/>
                </a:cxn>
                <a:cxn ang="0">
                  <a:pos x="138" y="97"/>
                </a:cxn>
                <a:cxn ang="0">
                  <a:pos x="130" y="123"/>
                </a:cxn>
                <a:cxn ang="0">
                  <a:pos x="115" y="152"/>
                </a:cxn>
                <a:cxn ang="0">
                  <a:pos x="96" y="175"/>
                </a:cxn>
                <a:cxn ang="0">
                  <a:pos x="75" y="190"/>
                </a:cxn>
                <a:cxn ang="0">
                  <a:pos x="53" y="198"/>
                </a:cxn>
                <a:cxn ang="0">
                  <a:pos x="32" y="195"/>
                </a:cxn>
                <a:cxn ang="0">
                  <a:pos x="18" y="185"/>
                </a:cxn>
                <a:cxn ang="0">
                  <a:pos x="8" y="170"/>
                </a:cxn>
                <a:cxn ang="0">
                  <a:pos x="1" y="151"/>
                </a:cxn>
                <a:cxn ang="0">
                  <a:pos x="0" y="128"/>
                </a:cxn>
                <a:cxn ang="0">
                  <a:pos x="1" y="102"/>
                </a:cxn>
                <a:cxn ang="0">
                  <a:pos x="9" y="75"/>
                </a:cxn>
                <a:cxn ang="0">
                  <a:pos x="21" y="51"/>
                </a:cxn>
                <a:cxn ang="0">
                  <a:pos x="36" y="31"/>
                </a:cxn>
                <a:cxn ang="0">
                  <a:pos x="52" y="15"/>
                </a:cxn>
                <a:cxn ang="0">
                  <a:pos x="70" y="5"/>
                </a:cxn>
                <a:cxn ang="0">
                  <a:pos x="89" y="0"/>
                </a:cxn>
              </a:cxnLst>
              <a:rect l="0" t="0" r="r" b="b"/>
              <a:pathLst>
                <a:path w="140" h="198">
                  <a:moveTo>
                    <a:pt x="89" y="0"/>
                  </a:moveTo>
                  <a:lnTo>
                    <a:pt x="106" y="4"/>
                  </a:lnTo>
                  <a:lnTo>
                    <a:pt x="120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0" y="71"/>
                  </a:lnTo>
                  <a:lnTo>
                    <a:pt x="138" y="97"/>
                  </a:lnTo>
                  <a:lnTo>
                    <a:pt x="130" y="123"/>
                  </a:lnTo>
                  <a:lnTo>
                    <a:pt x="115" y="152"/>
                  </a:lnTo>
                  <a:lnTo>
                    <a:pt x="96" y="175"/>
                  </a:lnTo>
                  <a:lnTo>
                    <a:pt x="75" y="190"/>
                  </a:lnTo>
                  <a:lnTo>
                    <a:pt x="53" y="198"/>
                  </a:lnTo>
                  <a:lnTo>
                    <a:pt x="32" y="195"/>
                  </a:lnTo>
                  <a:lnTo>
                    <a:pt x="18" y="185"/>
                  </a:lnTo>
                  <a:lnTo>
                    <a:pt x="8" y="170"/>
                  </a:lnTo>
                  <a:lnTo>
                    <a:pt x="1" y="151"/>
                  </a:lnTo>
                  <a:lnTo>
                    <a:pt x="0" y="128"/>
                  </a:lnTo>
                  <a:lnTo>
                    <a:pt x="1" y="102"/>
                  </a:lnTo>
                  <a:lnTo>
                    <a:pt x="9" y="75"/>
                  </a:lnTo>
                  <a:lnTo>
                    <a:pt x="21" y="51"/>
                  </a:lnTo>
                  <a:lnTo>
                    <a:pt x="36" y="31"/>
                  </a:lnTo>
                  <a:lnTo>
                    <a:pt x="52" y="15"/>
                  </a:lnTo>
                  <a:lnTo>
                    <a:pt x="70" y="5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4" name="Freeform 271"/>
            <p:cNvSpPr>
              <a:spLocks/>
            </p:cNvSpPr>
            <p:nvPr/>
          </p:nvSpPr>
          <p:spPr bwMode="auto">
            <a:xfrm>
              <a:off x="886850" y="3629370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5" y="0"/>
                </a:cxn>
                <a:cxn ang="0">
                  <a:pos x="66" y="9"/>
                </a:cxn>
                <a:cxn ang="0">
                  <a:pos x="71" y="23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8" y="82"/>
                </a:cxn>
                <a:cxn ang="0">
                  <a:pos x="44" y="97"/>
                </a:cxn>
                <a:cxn ang="0">
                  <a:pos x="31" y="103"/>
                </a:cxn>
                <a:cxn ang="0">
                  <a:pos x="16" y="103"/>
                </a:cxn>
                <a:cxn ang="0">
                  <a:pos x="6" y="95"/>
                </a:cxn>
                <a:cxn ang="0">
                  <a:pos x="0" y="79"/>
                </a:cxn>
                <a:cxn ang="0">
                  <a:pos x="0" y="61"/>
                </a:cxn>
                <a:cxn ang="0">
                  <a:pos x="4" y="40"/>
                </a:cxn>
                <a:cxn ang="0">
                  <a:pos x="14" y="22"/>
                </a:cxn>
                <a:cxn ang="0">
                  <a:pos x="27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5" y="0"/>
                  </a:lnTo>
                  <a:lnTo>
                    <a:pt x="66" y="9"/>
                  </a:lnTo>
                  <a:lnTo>
                    <a:pt x="71" y="23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8" y="82"/>
                  </a:lnTo>
                  <a:lnTo>
                    <a:pt x="44" y="97"/>
                  </a:lnTo>
                  <a:lnTo>
                    <a:pt x="31" y="103"/>
                  </a:lnTo>
                  <a:lnTo>
                    <a:pt x="16" y="103"/>
                  </a:lnTo>
                  <a:lnTo>
                    <a:pt x="6" y="95"/>
                  </a:lnTo>
                  <a:lnTo>
                    <a:pt x="0" y="79"/>
                  </a:lnTo>
                  <a:lnTo>
                    <a:pt x="0" y="61"/>
                  </a:lnTo>
                  <a:lnTo>
                    <a:pt x="4" y="40"/>
                  </a:lnTo>
                  <a:lnTo>
                    <a:pt x="14" y="22"/>
                  </a:lnTo>
                  <a:lnTo>
                    <a:pt x="27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5" name="Freeform 272"/>
            <p:cNvSpPr>
              <a:spLocks/>
            </p:cNvSpPr>
            <p:nvPr/>
          </p:nvSpPr>
          <p:spPr bwMode="auto">
            <a:xfrm>
              <a:off x="886850" y="3631189"/>
              <a:ext cx="30010" cy="42286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0" y="0"/>
                </a:cxn>
                <a:cxn ang="0">
                  <a:pos x="60" y="8"/>
                </a:cxn>
                <a:cxn ang="0">
                  <a:pos x="65" y="21"/>
                </a:cxn>
                <a:cxn ang="0">
                  <a:pos x="66" y="37"/>
                </a:cxn>
                <a:cxn ang="0">
                  <a:pos x="62" y="57"/>
                </a:cxn>
                <a:cxn ang="0">
                  <a:pos x="52" y="73"/>
                </a:cxn>
                <a:cxn ang="0">
                  <a:pos x="40" y="86"/>
                </a:cxn>
                <a:cxn ang="0">
                  <a:pos x="27" y="93"/>
                </a:cxn>
                <a:cxn ang="0">
                  <a:pos x="16" y="91"/>
                </a:cxn>
                <a:cxn ang="0">
                  <a:pos x="6" y="84"/>
                </a:cxn>
                <a:cxn ang="0">
                  <a:pos x="0" y="70"/>
                </a:cxn>
                <a:cxn ang="0">
                  <a:pos x="0" y="53"/>
                </a:cxn>
                <a:cxn ang="0">
                  <a:pos x="4" y="36"/>
                </a:cxn>
                <a:cxn ang="0">
                  <a:pos x="14" y="18"/>
                </a:cxn>
                <a:cxn ang="0">
                  <a:pos x="26" y="6"/>
                </a:cxn>
                <a:cxn ang="0">
                  <a:pos x="39" y="0"/>
                </a:cxn>
              </a:cxnLst>
              <a:rect l="0" t="0" r="r" b="b"/>
              <a:pathLst>
                <a:path w="66" h="93">
                  <a:moveTo>
                    <a:pt x="39" y="0"/>
                  </a:moveTo>
                  <a:lnTo>
                    <a:pt x="50" y="0"/>
                  </a:lnTo>
                  <a:lnTo>
                    <a:pt x="60" y="8"/>
                  </a:lnTo>
                  <a:lnTo>
                    <a:pt x="65" y="21"/>
                  </a:lnTo>
                  <a:lnTo>
                    <a:pt x="66" y="37"/>
                  </a:lnTo>
                  <a:lnTo>
                    <a:pt x="62" y="57"/>
                  </a:lnTo>
                  <a:lnTo>
                    <a:pt x="52" y="73"/>
                  </a:lnTo>
                  <a:lnTo>
                    <a:pt x="40" y="86"/>
                  </a:lnTo>
                  <a:lnTo>
                    <a:pt x="27" y="93"/>
                  </a:lnTo>
                  <a:lnTo>
                    <a:pt x="16" y="91"/>
                  </a:lnTo>
                  <a:lnTo>
                    <a:pt x="6" y="84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4" y="18"/>
                  </a:lnTo>
                  <a:lnTo>
                    <a:pt x="26" y="6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6" name="Freeform 273"/>
            <p:cNvSpPr>
              <a:spLocks/>
            </p:cNvSpPr>
            <p:nvPr/>
          </p:nvSpPr>
          <p:spPr bwMode="auto">
            <a:xfrm>
              <a:off x="607215" y="3362466"/>
              <a:ext cx="566546" cy="359661"/>
            </a:xfrm>
            <a:custGeom>
              <a:avLst/>
              <a:gdLst/>
              <a:ahLst/>
              <a:cxnLst>
                <a:cxn ang="0">
                  <a:pos x="969" y="1"/>
                </a:cxn>
                <a:cxn ang="0">
                  <a:pos x="985" y="5"/>
                </a:cxn>
                <a:cxn ang="0">
                  <a:pos x="1221" y="111"/>
                </a:cxn>
                <a:cxn ang="0">
                  <a:pos x="1241" y="145"/>
                </a:cxn>
                <a:cxn ang="0">
                  <a:pos x="1246" y="174"/>
                </a:cxn>
                <a:cxn ang="0">
                  <a:pos x="1244" y="248"/>
                </a:cxn>
                <a:cxn ang="0">
                  <a:pos x="1243" y="263"/>
                </a:cxn>
                <a:cxn ang="0">
                  <a:pos x="1233" y="302"/>
                </a:cxn>
                <a:cxn ang="0">
                  <a:pos x="1202" y="352"/>
                </a:cxn>
                <a:cxn ang="0">
                  <a:pos x="1190" y="307"/>
                </a:cxn>
                <a:cxn ang="0">
                  <a:pos x="1161" y="281"/>
                </a:cxn>
                <a:cxn ang="0">
                  <a:pos x="1120" y="281"/>
                </a:cxn>
                <a:cxn ang="0">
                  <a:pos x="1081" y="310"/>
                </a:cxn>
                <a:cxn ang="0">
                  <a:pos x="1050" y="359"/>
                </a:cxn>
                <a:cxn ang="0">
                  <a:pos x="1040" y="424"/>
                </a:cxn>
                <a:cxn ang="0">
                  <a:pos x="724" y="641"/>
                </a:cxn>
                <a:cxn ang="0">
                  <a:pos x="725" y="586"/>
                </a:cxn>
                <a:cxn ang="0">
                  <a:pos x="704" y="545"/>
                </a:cxn>
                <a:cxn ang="0">
                  <a:pos x="667" y="530"/>
                </a:cxn>
                <a:cxn ang="0">
                  <a:pos x="624" y="545"/>
                </a:cxn>
                <a:cxn ang="0">
                  <a:pos x="590" y="584"/>
                </a:cxn>
                <a:cxn ang="0">
                  <a:pos x="569" y="640"/>
                </a:cxn>
                <a:cxn ang="0">
                  <a:pos x="567" y="690"/>
                </a:cxn>
                <a:cxn ang="0">
                  <a:pos x="577" y="718"/>
                </a:cxn>
                <a:cxn ang="0">
                  <a:pos x="497" y="775"/>
                </a:cxn>
                <a:cxn ang="0">
                  <a:pos x="445" y="791"/>
                </a:cxn>
                <a:cxn ang="0">
                  <a:pos x="409" y="790"/>
                </a:cxn>
                <a:cxn ang="0">
                  <a:pos x="391" y="785"/>
                </a:cxn>
                <a:cxn ang="0">
                  <a:pos x="42" y="594"/>
                </a:cxn>
                <a:cxn ang="0">
                  <a:pos x="14" y="564"/>
                </a:cxn>
                <a:cxn ang="0">
                  <a:pos x="3" y="520"/>
                </a:cxn>
                <a:cxn ang="0">
                  <a:pos x="0" y="465"/>
                </a:cxn>
                <a:cxn ang="0">
                  <a:pos x="13" y="416"/>
                </a:cxn>
                <a:cxn ang="0">
                  <a:pos x="40" y="377"/>
                </a:cxn>
                <a:cxn ang="0">
                  <a:pos x="68" y="352"/>
                </a:cxn>
                <a:cxn ang="0">
                  <a:pos x="81" y="343"/>
                </a:cxn>
                <a:cxn ang="0">
                  <a:pos x="900" y="6"/>
                </a:cxn>
                <a:cxn ang="0">
                  <a:pos x="951" y="0"/>
                </a:cxn>
              </a:cxnLst>
              <a:rect l="0" t="0" r="r" b="b"/>
              <a:pathLst>
                <a:path w="1246" h="791">
                  <a:moveTo>
                    <a:pt x="951" y="0"/>
                  </a:moveTo>
                  <a:lnTo>
                    <a:pt x="969" y="1"/>
                  </a:lnTo>
                  <a:lnTo>
                    <a:pt x="980" y="3"/>
                  </a:lnTo>
                  <a:lnTo>
                    <a:pt x="985" y="5"/>
                  </a:lnTo>
                  <a:lnTo>
                    <a:pt x="1203" y="98"/>
                  </a:lnTo>
                  <a:lnTo>
                    <a:pt x="1221" y="111"/>
                  </a:lnTo>
                  <a:lnTo>
                    <a:pt x="1233" y="127"/>
                  </a:lnTo>
                  <a:lnTo>
                    <a:pt x="1241" y="145"/>
                  </a:lnTo>
                  <a:lnTo>
                    <a:pt x="1244" y="161"/>
                  </a:lnTo>
                  <a:lnTo>
                    <a:pt x="1246" y="174"/>
                  </a:lnTo>
                  <a:lnTo>
                    <a:pt x="1246" y="187"/>
                  </a:lnTo>
                  <a:lnTo>
                    <a:pt x="1244" y="248"/>
                  </a:lnTo>
                  <a:lnTo>
                    <a:pt x="1244" y="253"/>
                  </a:lnTo>
                  <a:lnTo>
                    <a:pt x="1243" y="263"/>
                  </a:lnTo>
                  <a:lnTo>
                    <a:pt x="1241" y="281"/>
                  </a:lnTo>
                  <a:lnTo>
                    <a:pt x="1233" y="302"/>
                  </a:lnTo>
                  <a:lnTo>
                    <a:pt x="1221" y="326"/>
                  </a:lnTo>
                  <a:lnTo>
                    <a:pt x="1202" y="352"/>
                  </a:lnTo>
                  <a:lnTo>
                    <a:pt x="1199" y="328"/>
                  </a:lnTo>
                  <a:lnTo>
                    <a:pt x="1190" y="307"/>
                  </a:lnTo>
                  <a:lnTo>
                    <a:pt x="1177" y="290"/>
                  </a:lnTo>
                  <a:lnTo>
                    <a:pt x="1161" y="281"/>
                  </a:lnTo>
                  <a:lnTo>
                    <a:pt x="1141" y="277"/>
                  </a:lnTo>
                  <a:lnTo>
                    <a:pt x="1120" y="281"/>
                  </a:lnTo>
                  <a:lnTo>
                    <a:pt x="1099" y="292"/>
                  </a:lnTo>
                  <a:lnTo>
                    <a:pt x="1081" y="310"/>
                  </a:lnTo>
                  <a:lnTo>
                    <a:pt x="1063" y="331"/>
                  </a:lnTo>
                  <a:lnTo>
                    <a:pt x="1050" y="359"/>
                  </a:lnTo>
                  <a:lnTo>
                    <a:pt x="1042" y="391"/>
                  </a:lnTo>
                  <a:lnTo>
                    <a:pt x="1040" y="424"/>
                  </a:lnTo>
                  <a:lnTo>
                    <a:pt x="1045" y="452"/>
                  </a:lnTo>
                  <a:lnTo>
                    <a:pt x="724" y="641"/>
                  </a:lnTo>
                  <a:lnTo>
                    <a:pt x="727" y="612"/>
                  </a:lnTo>
                  <a:lnTo>
                    <a:pt x="725" y="586"/>
                  </a:lnTo>
                  <a:lnTo>
                    <a:pt x="717" y="563"/>
                  </a:lnTo>
                  <a:lnTo>
                    <a:pt x="704" y="545"/>
                  </a:lnTo>
                  <a:lnTo>
                    <a:pt x="686" y="533"/>
                  </a:lnTo>
                  <a:lnTo>
                    <a:pt x="667" y="530"/>
                  </a:lnTo>
                  <a:lnTo>
                    <a:pt x="646" y="533"/>
                  </a:lnTo>
                  <a:lnTo>
                    <a:pt x="624" y="545"/>
                  </a:lnTo>
                  <a:lnTo>
                    <a:pt x="606" y="563"/>
                  </a:lnTo>
                  <a:lnTo>
                    <a:pt x="590" y="584"/>
                  </a:lnTo>
                  <a:lnTo>
                    <a:pt x="577" y="612"/>
                  </a:lnTo>
                  <a:lnTo>
                    <a:pt x="569" y="640"/>
                  </a:lnTo>
                  <a:lnTo>
                    <a:pt x="566" y="666"/>
                  </a:lnTo>
                  <a:lnTo>
                    <a:pt x="567" y="690"/>
                  </a:lnTo>
                  <a:lnTo>
                    <a:pt x="574" y="711"/>
                  </a:lnTo>
                  <a:lnTo>
                    <a:pt x="577" y="718"/>
                  </a:lnTo>
                  <a:lnTo>
                    <a:pt x="582" y="724"/>
                  </a:lnTo>
                  <a:lnTo>
                    <a:pt x="497" y="775"/>
                  </a:lnTo>
                  <a:lnTo>
                    <a:pt x="469" y="786"/>
                  </a:lnTo>
                  <a:lnTo>
                    <a:pt x="445" y="791"/>
                  </a:lnTo>
                  <a:lnTo>
                    <a:pt x="425" y="791"/>
                  </a:lnTo>
                  <a:lnTo>
                    <a:pt x="409" y="790"/>
                  </a:lnTo>
                  <a:lnTo>
                    <a:pt x="399" y="788"/>
                  </a:lnTo>
                  <a:lnTo>
                    <a:pt x="391" y="785"/>
                  </a:lnTo>
                  <a:lnTo>
                    <a:pt x="389" y="783"/>
                  </a:lnTo>
                  <a:lnTo>
                    <a:pt x="42" y="594"/>
                  </a:lnTo>
                  <a:lnTo>
                    <a:pt x="26" y="582"/>
                  </a:lnTo>
                  <a:lnTo>
                    <a:pt x="14" y="564"/>
                  </a:lnTo>
                  <a:lnTo>
                    <a:pt x="8" y="543"/>
                  </a:lnTo>
                  <a:lnTo>
                    <a:pt x="3" y="520"/>
                  </a:lnTo>
                  <a:lnTo>
                    <a:pt x="0" y="499"/>
                  </a:lnTo>
                  <a:lnTo>
                    <a:pt x="0" y="465"/>
                  </a:lnTo>
                  <a:lnTo>
                    <a:pt x="3" y="439"/>
                  </a:lnTo>
                  <a:lnTo>
                    <a:pt x="13" y="416"/>
                  </a:lnTo>
                  <a:lnTo>
                    <a:pt x="26" y="395"/>
                  </a:lnTo>
                  <a:lnTo>
                    <a:pt x="40" y="377"/>
                  </a:lnTo>
                  <a:lnTo>
                    <a:pt x="55" y="362"/>
                  </a:lnTo>
                  <a:lnTo>
                    <a:pt x="68" y="352"/>
                  </a:lnTo>
                  <a:lnTo>
                    <a:pt x="78" y="344"/>
                  </a:lnTo>
                  <a:lnTo>
                    <a:pt x="81" y="343"/>
                  </a:lnTo>
                  <a:lnTo>
                    <a:pt x="783" y="24"/>
                  </a:lnTo>
                  <a:lnTo>
                    <a:pt x="900" y="6"/>
                  </a:lnTo>
                  <a:lnTo>
                    <a:pt x="928" y="1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7" name="Freeform 274"/>
            <p:cNvSpPr>
              <a:spLocks/>
            </p:cNvSpPr>
            <p:nvPr/>
          </p:nvSpPr>
          <p:spPr bwMode="auto">
            <a:xfrm>
              <a:off x="615854" y="3530702"/>
              <a:ext cx="33647" cy="5501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4" y="4"/>
                </a:cxn>
                <a:cxn ang="0">
                  <a:pos x="59" y="15"/>
                </a:cxn>
                <a:cxn ang="0">
                  <a:pos x="69" y="35"/>
                </a:cxn>
                <a:cxn ang="0">
                  <a:pos x="74" y="57"/>
                </a:cxn>
                <a:cxn ang="0">
                  <a:pos x="74" y="80"/>
                </a:cxn>
                <a:cxn ang="0">
                  <a:pos x="67" y="100"/>
                </a:cxn>
                <a:cxn ang="0">
                  <a:pos x="56" y="115"/>
                </a:cxn>
                <a:cxn ang="0">
                  <a:pos x="43" y="121"/>
                </a:cxn>
                <a:cxn ang="0">
                  <a:pos x="28" y="118"/>
                </a:cxn>
                <a:cxn ang="0">
                  <a:pos x="15" y="106"/>
                </a:cxn>
                <a:cxn ang="0">
                  <a:pos x="5" y="87"/>
                </a:cxn>
                <a:cxn ang="0">
                  <a:pos x="0" y="64"/>
                </a:cxn>
                <a:cxn ang="0">
                  <a:pos x="0" y="41"/>
                </a:cxn>
                <a:cxn ang="0">
                  <a:pos x="7" y="20"/>
                </a:cxn>
                <a:cxn ang="0">
                  <a:pos x="16" y="7"/>
                </a:cxn>
                <a:cxn ang="0">
                  <a:pos x="29" y="0"/>
                </a:cxn>
              </a:cxnLst>
              <a:rect l="0" t="0" r="r" b="b"/>
              <a:pathLst>
                <a:path w="74" h="121">
                  <a:moveTo>
                    <a:pt x="29" y="0"/>
                  </a:moveTo>
                  <a:lnTo>
                    <a:pt x="44" y="4"/>
                  </a:lnTo>
                  <a:lnTo>
                    <a:pt x="59" y="15"/>
                  </a:lnTo>
                  <a:lnTo>
                    <a:pt x="69" y="35"/>
                  </a:lnTo>
                  <a:lnTo>
                    <a:pt x="74" y="57"/>
                  </a:lnTo>
                  <a:lnTo>
                    <a:pt x="74" y="80"/>
                  </a:lnTo>
                  <a:lnTo>
                    <a:pt x="67" y="100"/>
                  </a:lnTo>
                  <a:lnTo>
                    <a:pt x="56" y="115"/>
                  </a:lnTo>
                  <a:lnTo>
                    <a:pt x="43" y="121"/>
                  </a:lnTo>
                  <a:lnTo>
                    <a:pt x="28" y="118"/>
                  </a:lnTo>
                  <a:lnTo>
                    <a:pt x="15" y="106"/>
                  </a:lnTo>
                  <a:lnTo>
                    <a:pt x="5" y="87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7" y="20"/>
                  </a:lnTo>
                  <a:lnTo>
                    <a:pt x="16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8" name="Freeform 275"/>
            <p:cNvSpPr>
              <a:spLocks/>
            </p:cNvSpPr>
            <p:nvPr/>
          </p:nvSpPr>
          <p:spPr bwMode="auto">
            <a:xfrm>
              <a:off x="769995" y="3618912"/>
              <a:ext cx="46833" cy="4910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74" y="0"/>
                </a:cxn>
                <a:cxn ang="0">
                  <a:pos x="89" y="5"/>
                </a:cxn>
                <a:cxn ang="0">
                  <a:pos x="98" y="15"/>
                </a:cxn>
                <a:cxn ang="0">
                  <a:pos x="103" y="28"/>
                </a:cxn>
                <a:cxn ang="0">
                  <a:pos x="103" y="45"/>
                </a:cxn>
                <a:cxn ang="0">
                  <a:pos x="98" y="61"/>
                </a:cxn>
                <a:cxn ang="0">
                  <a:pos x="89" y="77"/>
                </a:cxn>
                <a:cxn ang="0">
                  <a:pos x="71" y="95"/>
                </a:cxn>
                <a:cxn ang="0">
                  <a:pos x="51" y="105"/>
                </a:cxn>
                <a:cxn ang="0">
                  <a:pos x="33" y="108"/>
                </a:cxn>
                <a:cxn ang="0">
                  <a:pos x="15" y="103"/>
                </a:cxn>
                <a:cxn ang="0">
                  <a:pos x="5" y="94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5" y="48"/>
                </a:cxn>
                <a:cxn ang="0">
                  <a:pos x="15" y="32"/>
                </a:cxn>
                <a:cxn ang="0">
                  <a:pos x="28" y="17"/>
                </a:cxn>
                <a:cxn ang="0">
                  <a:pos x="43" y="7"/>
                </a:cxn>
                <a:cxn ang="0">
                  <a:pos x="59" y="0"/>
                </a:cxn>
              </a:cxnLst>
              <a:rect l="0" t="0" r="r" b="b"/>
              <a:pathLst>
                <a:path w="103" h="108">
                  <a:moveTo>
                    <a:pt x="59" y="0"/>
                  </a:moveTo>
                  <a:lnTo>
                    <a:pt x="74" y="0"/>
                  </a:lnTo>
                  <a:lnTo>
                    <a:pt x="89" y="5"/>
                  </a:lnTo>
                  <a:lnTo>
                    <a:pt x="98" y="15"/>
                  </a:lnTo>
                  <a:lnTo>
                    <a:pt x="103" y="28"/>
                  </a:lnTo>
                  <a:lnTo>
                    <a:pt x="103" y="45"/>
                  </a:lnTo>
                  <a:lnTo>
                    <a:pt x="98" y="61"/>
                  </a:lnTo>
                  <a:lnTo>
                    <a:pt x="89" y="77"/>
                  </a:lnTo>
                  <a:lnTo>
                    <a:pt x="71" y="95"/>
                  </a:lnTo>
                  <a:lnTo>
                    <a:pt x="51" y="105"/>
                  </a:lnTo>
                  <a:lnTo>
                    <a:pt x="33" y="108"/>
                  </a:lnTo>
                  <a:lnTo>
                    <a:pt x="15" y="103"/>
                  </a:lnTo>
                  <a:lnTo>
                    <a:pt x="5" y="94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5" y="48"/>
                  </a:lnTo>
                  <a:lnTo>
                    <a:pt x="15" y="32"/>
                  </a:lnTo>
                  <a:lnTo>
                    <a:pt x="28" y="17"/>
                  </a:lnTo>
                  <a:lnTo>
                    <a:pt x="43" y="7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9" name="Freeform 276"/>
            <p:cNvSpPr>
              <a:spLocks/>
            </p:cNvSpPr>
            <p:nvPr/>
          </p:nvSpPr>
          <p:spPr bwMode="auto">
            <a:xfrm>
              <a:off x="739076" y="3362466"/>
              <a:ext cx="376030" cy="190061"/>
            </a:xfrm>
            <a:custGeom>
              <a:avLst/>
              <a:gdLst/>
              <a:ahLst/>
              <a:cxnLst>
                <a:cxn ang="0">
                  <a:pos x="457" y="0"/>
                </a:cxn>
                <a:cxn ang="0">
                  <a:pos x="571" y="18"/>
                </a:cxn>
                <a:cxn ang="0">
                  <a:pos x="603" y="24"/>
                </a:cxn>
                <a:cxn ang="0">
                  <a:pos x="636" y="34"/>
                </a:cxn>
                <a:cxn ang="0">
                  <a:pos x="667" y="45"/>
                </a:cxn>
                <a:cxn ang="0">
                  <a:pos x="696" y="60"/>
                </a:cxn>
                <a:cxn ang="0">
                  <a:pos x="724" y="75"/>
                </a:cxn>
                <a:cxn ang="0">
                  <a:pos x="750" y="90"/>
                </a:cxn>
                <a:cxn ang="0">
                  <a:pos x="771" y="104"/>
                </a:cxn>
                <a:cxn ang="0">
                  <a:pos x="789" y="116"/>
                </a:cxn>
                <a:cxn ang="0">
                  <a:pos x="804" y="127"/>
                </a:cxn>
                <a:cxn ang="0">
                  <a:pos x="812" y="134"/>
                </a:cxn>
                <a:cxn ang="0">
                  <a:pos x="816" y="135"/>
                </a:cxn>
                <a:cxn ang="0">
                  <a:pos x="825" y="153"/>
                </a:cxn>
                <a:cxn ang="0">
                  <a:pos x="827" y="170"/>
                </a:cxn>
                <a:cxn ang="0">
                  <a:pos x="822" y="184"/>
                </a:cxn>
                <a:cxn ang="0">
                  <a:pos x="814" y="197"/>
                </a:cxn>
                <a:cxn ang="0">
                  <a:pos x="802" y="209"/>
                </a:cxn>
                <a:cxn ang="0">
                  <a:pos x="793" y="217"/>
                </a:cxn>
                <a:cxn ang="0">
                  <a:pos x="786" y="222"/>
                </a:cxn>
                <a:cxn ang="0">
                  <a:pos x="783" y="223"/>
                </a:cxn>
                <a:cxn ang="0">
                  <a:pos x="476" y="385"/>
                </a:cxn>
                <a:cxn ang="0">
                  <a:pos x="447" y="401"/>
                </a:cxn>
                <a:cxn ang="0">
                  <a:pos x="416" y="411"/>
                </a:cxn>
                <a:cxn ang="0">
                  <a:pos x="387" y="416"/>
                </a:cxn>
                <a:cxn ang="0">
                  <a:pos x="360" y="418"/>
                </a:cxn>
                <a:cxn ang="0">
                  <a:pos x="339" y="418"/>
                </a:cxn>
                <a:cxn ang="0">
                  <a:pos x="326" y="416"/>
                </a:cxn>
                <a:cxn ang="0">
                  <a:pos x="321" y="416"/>
                </a:cxn>
                <a:cxn ang="0">
                  <a:pos x="276" y="409"/>
                </a:cxn>
                <a:cxn ang="0">
                  <a:pos x="233" y="398"/>
                </a:cxn>
                <a:cxn ang="0">
                  <a:pos x="194" y="383"/>
                </a:cxn>
                <a:cxn ang="0">
                  <a:pos x="157" y="365"/>
                </a:cxn>
                <a:cxn ang="0">
                  <a:pos x="122" y="346"/>
                </a:cxn>
                <a:cxn ang="0">
                  <a:pos x="91" y="326"/>
                </a:cxn>
                <a:cxn ang="0">
                  <a:pos x="65" y="307"/>
                </a:cxn>
                <a:cxn ang="0">
                  <a:pos x="42" y="287"/>
                </a:cxn>
                <a:cxn ang="0">
                  <a:pos x="24" y="272"/>
                </a:cxn>
                <a:cxn ang="0">
                  <a:pos x="0" y="248"/>
                </a:cxn>
                <a:cxn ang="0">
                  <a:pos x="129" y="112"/>
                </a:cxn>
                <a:cxn ang="0">
                  <a:pos x="155" y="116"/>
                </a:cxn>
                <a:cxn ang="0">
                  <a:pos x="457" y="0"/>
                </a:cxn>
              </a:cxnLst>
              <a:rect l="0" t="0" r="r" b="b"/>
              <a:pathLst>
                <a:path w="827" h="418">
                  <a:moveTo>
                    <a:pt x="457" y="0"/>
                  </a:moveTo>
                  <a:lnTo>
                    <a:pt x="571" y="18"/>
                  </a:lnTo>
                  <a:lnTo>
                    <a:pt x="603" y="24"/>
                  </a:lnTo>
                  <a:lnTo>
                    <a:pt x="636" y="34"/>
                  </a:lnTo>
                  <a:lnTo>
                    <a:pt x="667" y="45"/>
                  </a:lnTo>
                  <a:lnTo>
                    <a:pt x="696" y="60"/>
                  </a:lnTo>
                  <a:lnTo>
                    <a:pt x="724" y="75"/>
                  </a:lnTo>
                  <a:lnTo>
                    <a:pt x="750" y="90"/>
                  </a:lnTo>
                  <a:lnTo>
                    <a:pt x="771" y="104"/>
                  </a:lnTo>
                  <a:lnTo>
                    <a:pt x="789" y="116"/>
                  </a:lnTo>
                  <a:lnTo>
                    <a:pt x="804" y="127"/>
                  </a:lnTo>
                  <a:lnTo>
                    <a:pt x="812" y="134"/>
                  </a:lnTo>
                  <a:lnTo>
                    <a:pt x="816" y="135"/>
                  </a:lnTo>
                  <a:lnTo>
                    <a:pt x="825" y="153"/>
                  </a:lnTo>
                  <a:lnTo>
                    <a:pt x="827" y="170"/>
                  </a:lnTo>
                  <a:lnTo>
                    <a:pt x="822" y="184"/>
                  </a:lnTo>
                  <a:lnTo>
                    <a:pt x="814" y="197"/>
                  </a:lnTo>
                  <a:lnTo>
                    <a:pt x="802" y="209"/>
                  </a:lnTo>
                  <a:lnTo>
                    <a:pt x="793" y="217"/>
                  </a:lnTo>
                  <a:lnTo>
                    <a:pt x="786" y="222"/>
                  </a:lnTo>
                  <a:lnTo>
                    <a:pt x="783" y="223"/>
                  </a:lnTo>
                  <a:lnTo>
                    <a:pt x="476" y="385"/>
                  </a:lnTo>
                  <a:lnTo>
                    <a:pt x="447" y="401"/>
                  </a:lnTo>
                  <a:lnTo>
                    <a:pt x="416" y="411"/>
                  </a:lnTo>
                  <a:lnTo>
                    <a:pt x="387" y="416"/>
                  </a:lnTo>
                  <a:lnTo>
                    <a:pt x="360" y="418"/>
                  </a:lnTo>
                  <a:lnTo>
                    <a:pt x="339" y="418"/>
                  </a:lnTo>
                  <a:lnTo>
                    <a:pt x="326" y="416"/>
                  </a:lnTo>
                  <a:lnTo>
                    <a:pt x="321" y="416"/>
                  </a:lnTo>
                  <a:lnTo>
                    <a:pt x="276" y="409"/>
                  </a:lnTo>
                  <a:lnTo>
                    <a:pt x="233" y="398"/>
                  </a:lnTo>
                  <a:lnTo>
                    <a:pt x="194" y="383"/>
                  </a:lnTo>
                  <a:lnTo>
                    <a:pt x="157" y="365"/>
                  </a:lnTo>
                  <a:lnTo>
                    <a:pt x="122" y="346"/>
                  </a:lnTo>
                  <a:lnTo>
                    <a:pt x="91" y="326"/>
                  </a:lnTo>
                  <a:lnTo>
                    <a:pt x="65" y="307"/>
                  </a:lnTo>
                  <a:lnTo>
                    <a:pt x="42" y="287"/>
                  </a:lnTo>
                  <a:lnTo>
                    <a:pt x="24" y="272"/>
                  </a:lnTo>
                  <a:lnTo>
                    <a:pt x="0" y="248"/>
                  </a:lnTo>
                  <a:lnTo>
                    <a:pt x="129" y="112"/>
                  </a:lnTo>
                  <a:lnTo>
                    <a:pt x="155" y="116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" name="Freeform 278"/>
            <p:cNvSpPr>
              <a:spLocks/>
            </p:cNvSpPr>
            <p:nvPr/>
          </p:nvSpPr>
          <p:spPr bwMode="auto">
            <a:xfrm>
              <a:off x="1038717" y="3411573"/>
              <a:ext cx="90483" cy="6502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99" y="45"/>
                </a:cxn>
                <a:cxn ang="0">
                  <a:pos x="111" y="143"/>
                </a:cxn>
                <a:cxn ang="0">
                  <a:pos x="124" y="125"/>
                </a:cxn>
                <a:cxn ang="0">
                  <a:pos x="130" y="110"/>
                </a:cxn>
                <a:cxn ang="0">
                  <a:pos x="132" y="99"/>
                </a:cxn>
                <a:cxn ang="0">
                  <a:pos x="130" y="91"/>
                </a:cxn>
                <a:cxn ang="0">
                  <a:pos x="126" y="84"/>
                </a:cxn>
                <a:cxn ang="0">
                  <a:pos x="121" y="81"/>
                </a:cxn>
                <a:cxn ang="0">
                  <a:pos x="117" y="78"/>
                </a:cxn>
                <a:cxn ang="0">
                  <a:pos x="116" y="78"/>
                </a:cxn>
                <a:cxn ang="0">
                  <a:pos x="0" y="24"/>
                </a:cxn>
                <a:cxn ang="0">
                  <a:pos x="28" y="0"/>
                </a:cxn>
              </a:cxnLst>
              <a:rect l="0" t="0" r="r" b="b"/>
              <a:pathLst>
                <a:path w="199" h="143">
                  <a:moveTo>
                    <a:pt x="28" y="0"/>
                  </a:moveTo>
                  <a:lnTo>
                    <a:pt x="199" y="45"/>
                  </a:lnTo>
                  <a:lnTo>
                    <a:pt x="111" y="143"/>
                  </a:lnTo>
                  <a:lnTo>
                    <a:pt x="124" y="125"/>
                  </a:lnTo>
                  <a:lnTo>
                    <a:pt x="130" y="110"/>
                  </a:lnTo>
                  <a:lnTo>
                    <a:pt x="132" y="99"/>
                  </a:lnTo>
                  <a:lnTo>
                    <a:pt x="130" y="91"/>
                  </a:lnTo>
                  <a:lnTo>
                    <a:pt x="126" y="84"/>
                  </a:lnTo>
                  <a:lnTo>
                    <a:pt x="121" y="81"/>
                  </a:lnTo>
                  <a:lnTo>
                    <a:pt x="117" y="78"/>
                  </a:lnTo>
                  <a:lnTo>
                    <a:pt x="116" y="78"/>
                  </a:lnTo>
                  <a:lnTo>
                    <a:pt x="0" y="2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" name="Freeform 279"/>
            <p:cNvSpPr>
              <a:spLocks/>
            </p:cNvSpPr>
            <p:nvPr/>
          </p:nvSpPr>
          <p:spPr bwMode="auto">
            <a:xfrm>
              <a:off x="1051903" y="3408390"/>
              <a:ext cx="66840" cy="259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7" y="33"/>
                </a:cxn>
                <a:cxn ang="0">
                  <a:pos x="147" y="57"/>
                </a:cxn>
                <a:cxn ang="0">
                  <a:pos x="38" y="38"/>
                </a:cxn>
                <a:cxn ang="0">
                  <a:pos x="0" y="0"/>
                </a:cxn>
              </a:cxnLst>
              <a:rect l="0" t="0" r="r" b="b"/>
              <a:pathLst>
                <a:path w="147" h="57">
                  <a:moveTo>
                    <a:pt x="0" y="0"/>
                  </a:moveTo>
                  <a:lnTo>
                    <a:pt x="147" y="33"/>
                  </a:lnTo>
                  <a:lnTo>
                    <a:pt x="147" y="57"/>
                  </a:lnTo>
                  <a:lnTo>
                    <a:pt x="38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>
                <a:lumMod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" name="Freeform 280"/>
            <p:cNvSpPr>
              <a:spLocks/>
            </p:cNvSpPr>
            <p:nvPr/>
          </p:nvSpPr>
          <p:spPr bwMode="auto">
            <a:xfrm>
              <a:off x="868663" y="3469773"/>
              <a:ext cx="78662" cy="92302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73" y="7"/>
                </a:cxn>
                <a:cxn ang="0">
                  <a:pos x="152" y="15"/>
                </a:cxn>
                <a:cxn ang="0">
                  <a:pos x="137" y="25"/>
                </a:cxn>
                <a:cxn ang="0">
                  <a:pos x="128" y="33"/>
                </a:cxn>
                <a:cxn ang="0">
                  <a:pos x="123" y="41"/>
                </a:cxn>
                <a:cxn ang="0">
                  <a:pos x="119" y="48"/>
                </a:cxn>
                <a:cxn ang="0">
                  <a:pos x="119" y="49"/>
                </a:cxn>
                <a:cxn ang="0">
                  <a:pos x="102" y="141"/>
                </a:cxn>
                <a:cxn ang="0">
                  <a:pos x="102" y="154"/>
                </a:cxn>
                <a:cxn ang="0">
                  <a:pos x="108" y="162"/>
                </a:cxn>
                <a:cxn ang="0">
                  <a:pos x="116" y="169"/>
                </a:cxn>
                <a:cxn ang="0">
                  <a:pos x="128" y="170"/>
                </a:cxn>
                <a:cxn ang="0">
                  <a:pos x="137" y="172"/>
                </a:cxn>
                <a:cxn ang="0">
                  <a:pos x="147" y="172"/>
                </a:cxn>
                <a:cxn ang="0">
                  <a:pos x="136" y="185"/>
                </a:cxn>
                <a:cxn ang="0">
                  <a:pos x="88" y="203"/>
                </a:cxn>
                <a:cxn ang="0">
                  <a:pos x="30" y="201"/>
                </a:cxn>
                <a:cxn ang="0">
                  <a:pos x="0" y="175"/>
                </a:cxn>
                <a:cxn ang="0">
                  <a:pos x="22" y="173"/>
                </a:cxn>
                <a:cxn ang="0">
                  <a:pos x="38" y="169"/>
                </a:cxn>
                <a:cxn ang="0">
                  <a:pos x="51" y="162"/>
                </a:cxn>
                <a:cxn ang="0">
                  <a:pos x="61" y="155"/>
                </a:cxn>
                <a:cxn ang="0">
                  <a:pos x="66" y="147"/>
                </a:cxn>
                <a:cxn ang="0">
                  <a:pos x="69" y="142"/>
                </a:cxn>
                <a:cxn ang="0">
                  <a:pos x="71" y="141"/>
                </a:cxn>
                <a:cxn ang="0">
                  <a:pos x="98" y="53"/>
                </a:cxn>
                <a:cxn ang="0">
                  <a:pos x="98" y="38"/>
                </a:cxn>
                <a:cxn ang="0">
                  <a:pos x="93" y="28"/>
                </a:cxn>
                <a:cxn ang="0">
                  <a:pos x="85" y="18"/>
                </a:cxn>
                <a:cxn ang="0">
                  <a:pos x="66" y="9"/>
                </a:cxn>
                <a:cxn ang="0">
                  <a:pos x="95" y="0"/>
                </a:cxn>
              </a:cxnLst>
              <a:rect l="0" t="0" r="r" b="b"/>
              <a:pathLst>
                <a:path w="173" h="203">
                  <a:moveTo>
                    <a:pt x="95" y="0"/>
                  </a:moveTo>
                  <a:lnTo>
                    <a:pt x="173" y="7"/>
                  </a:lnTo>
                  <a:lnTo>
                    <a:pt x="152" y="15"/>
                  </a:lnTo>
                  <a:lnTo>
                    <a:pt x="137" y="25"/>
                  </a:lnTo>
                  <a:lnTo>
                    <a:pt x="128" y="33"/>
                  </a:lnTo>
                  <a:lnTo>
                    <a:pt x="123" y="41"/>
                  </a:lnTo>
                  <a:lnTo>
                    <a:pt x="119" y="48"/>
                  </a:lnTo>
                  <a:lnTo>
                    <a:pt x="119" y="49"/>
                  </a:lnTo>
                  <a:lnTo>
                    <a:pt x="102" y="141"/>
                  </a:lnTo>
                  <a:lnTo>
                    <a:pt x="102" y="154"/>
                  </a:lnTo>
                  <a:lnTo>
                    <a:pt x="108" y="162"/>
                  </a:lnTo>
                  <a:lnTo>
                    <a:pt x="116" y="169"/>
                  </a:lnTo>
                  <a:lnTo>
                    <a:pt x="128" y="170"/>
                  </a:lnTo>
                  <a:lnTo>
                    <a:pt x="137" y="172"/>
                  </a:lnTo>
                  <a:lnTo>
                    <a:pt x="147" y="172"/>
                  </a:lnTo>
                  <a:lnTo>
                    <a:pt x="136" y="185"/>
                  </a:lnTo>
                  <a:lnTo>
                    <a:pt x="88" y="203"/>
                  </a:lnTo>
                  <a:lnTo>
                    <a:pt x="30" y="201"/>
                  </a:lnTo>
                  <a:lnTo>
                    <a:pt x="0" y="175"/>
                  </a:lnTo>
                  <a:lnTo>
                    <a:pt x="22" y="173"/>
                  </a:lnTo>
                  <a:lnTo>
                    <a:pt x="38" y="169"/>
                  </a:lnTo>
                  <a:lnTo>
                    <a:pt x="51" y="162"/>
                  </a:lnTo>
                  <a:lnTo>
                    <a:pt x="61" y="155"/>
                  </a:lnTo>
                  <a:lnTo>
                    <a:pt x="66" y="147"/>
                  </a:lnTo>
                  <a:lnTo>
                    <a:pt x="69" y="142"/>
                  </a:lnTo>
                  <a:lnTo>
                    <a:pt x="71" y="141"/>
                  </a:lnTo>
                  <a:lnTo>
                    <a:pt x="98" y="53"/>
                  </a:lnTo>
                  <a:lnTo>
                    <a:pt x="98" y="38"/>
                  </a:lnTo>
                  <a:lnTo>
                    <a:pt x="93" y="28"/>
                  </a:lnTo>
                  <a:lnTo>
                    <a:pt x="85" y="18"/>
                  </a:lnTo>
                  <a:lnTo>
                    <a:pt x="66" y="9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005F8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" name="Freeform 277"/>
            <p:cNvSpPr>
              <a:spLocks/>
            </p:cNvSpPr>
            <p:nvPr/>
          </p:nvSpPr>
          <p:spPr bwMode="auto">
            <a:xfrm>
              <a:off x="795457" y="3362466"/>
              <a:ext cx="265540" cy="115037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342" y="0"/>
                </a:cxn>
                <a:cxn ang="0">
                  <a:pos x="357" y="3"/>
                </a:cxn>
                <a:cxn ang="0">
                  <a:pos x="373" y="10"/>
                </a:cxn>
                <a:cxn ang="0">
                  <a:pos x="563" y="94"/>
                </a:cxn>
                <a:cxn ang="0">
                  <a:pos x="577" y="103"/>
                </a:cxn>
                <a:cxn ang="0">
                  <a:pos x="582" y="112"/>
                </a:cxn>
                <a:cxn ang="0">
                  <a:pos x="584" y="121"/>
                </a:cxn>
                <a:cxn ang="0">
                  <a:pos x="574" y="134"/>
                </a:cxn>
                <a:cxn ang="0">
                  <a:pos x="569" y="137"/>
                </a:cxn>
                <a:cxn ang="0">
                  <a:pos x="568" y="139"/>
                </a:cxn>
                <a:cxn ang="0">
                  <a:pos x="339" y="241"/>
                </a:cxn>
                <a:cxn ang="0">
                  <a:pos x="307" y="251"/>
                </a:cxn>
                <a:cxn ang="0">
                  <a:pos x="279" y="253"/>
                </a:cxn>
                <a:cxn ang="0">
                  <a:pos x="256" y="251"/>
                </a:cxn>
                <a:cxn ang="0">
                  <a:pos x="240" y="248"/>
                </a:cxn>
                <a:cxn ang="0">
                  <a:pos x="228" y="245"/>
                </a:cxn>
                <a:cxn ang="0">
                  <a:pos x="225" y="243"/>
                </a:cxn>
                <a:cxn ang="0">
                  <a:pos x="8" y="134"/>
                </a:cxn>
                <a:cxn ang="0">
                  <a:pos x="6" y="132"/>
                </a:cxn>
                <a:cxn ang="0">
                  <a:pos x="3" y="130"/>
                </a:cxn>
                <a:cxn ang="0">
                  <a:pos x="0" y="121"/>
                </a:cxn>
                <a:cxn ang="0">
                  <a:pos x="3" y="114"/>
                </a:cxn>
                <a:cxn ang="0">
                  <a:pos x="11" y="106"/>
                </a:cxn>
                <a:cxn ang="0">
                  <a:pos x="28" y="98"/>
                </a:cxn>
                <a:cxn ang="0">
                  <a:pos x="315" y="1"/>
                </a:cxn>
                <a:cxn ang="0">
                  <a:pos x="318" y="1"/>
                </a:cxn>
                <a:cxn ang="0">
                  <a:pos x="328" y="0"/>
                </a:cxn>
              </a:cxnLst>
              <a:rect l="0" t="0" r="r" b="b"/>
              <a:pathLst>
                <a:path w="584" h="253">
                  <a:moveTo>
                    <a:pt x="328" y="0"/>
                  </a:moveTo>
                  <a:lnTo>
                    <a:pt x="342" y="0"/>
                  </a:lnTo>
                  <a:lnTo>
                    <a:pt x="357" y="3"/>
                  </a:lnTo>
                  <a:lnTo>
                    <a:pt x="373" y="10"/>
                  </a:lnTo>
                  <a:lnTo>
                    <a:pt x="563" y="94"/>
                  </a:lnTo>
                  <a:lnTo>
                    <a:pt x="577" y="103"/>
                  </a:lnTo>
                  <a:lnTo>
                    <a:pt x="582" y="112"/>
                  </a:lnTo>
                  <a:lnTo>
                    <a:pt x="584" y="121"/>
                  </a:lnTo>
                  <a:lnTo>
                    <a:pt x="574" y="134"/>
                  </a:lnTo>
                  <a:lnTo>
                    <a:pt x="569" y="137"/>
                  </a:lnTo>
                  <a:lnTo>
                    <a:pt x="568" y="139"/>
                  </a:lnTo>
                  <a:lnTo>
                    <a:pt x="339" y="241"/>
                  </a:lnTo>
                  <a:lnTo>
                    <a:pt x="307" y="251"/>
                  </a:lnTo>
                  <a:lnTo>
                    <a:pt x="279" y="253"/>
                  </a:lnTo>
                  <a:lnTo>
                    <a:pt x="256" y="251"/>
                  </a:lnTo>
                  <a:lnTo>
                    <a:pt x="240" y="248"/>
                  </a:lnTo>
                  <a:lnTo>
                    <a:pt x="228" y="245"/>
                  </a:lnTo>
                  <a:lnTo>
                    <a:pt x="225" y="243"/>
                  </a:lnTo>
                  <a:lnTo>
                    <a:pt x="8" y="134"/>
                  </a:lnTo>
                  <a:lnTo>
                    <a:pt x="6" y="132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3" y="114"/>
                  </a:lnTo>
                  <a:lnTo>
                    <a:pt x="11" y="106"/>
                  </a:lnTo>
                  <a:lnTo>
                    <a:pt x="28" y="98"/>
                  </a:lnTo>
                  <a:lnTo>
                    <a:pt x="315" y="1"/>
                  </a:lnTo>
                  <a:lnTo>
                    <a:pt x="318" y="1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rgbClr val="2387A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04" name="Freihandform 103"/>
          <p:cNvSpPr/>
          <p:nvPr/>
        </p:nvSpPr>
        <p:spPr bwMode="auto">
          <a:xfrm>
            <a:off x="10798576" y="4955324"/>
            <a:ext cx="216694" cy="121443"/>
          </a:xfrm>
          <a:custGeom>
            <a:avLst/>
            <a:gdLst>
              <a:gd name="connsiteX0" fmla="*/ 69850 w 200025"/>
              <a:gd name="connsiteY0" fmla="*/ 111125 h 111125"/>
              <a:gd name="connsiteX1" fmla="*/ 200025 w 200025"/>
              <a:gd name="connsiteY1" fmla="*/ 53975 h 111125"/>
              <a:gd name="connsiteX2" fmla="*/ 95250 w 200025"/>
              <a:gd name="connsiteY2" fmla="*/ 0 h 111125"/>
              <a:gd name="connsiteX3" fmla="*/ 0 w 200025"/>
              <a:gd name="connsiteY3" fmla="*/ 44450 h 111125"/>
              <a:gd name="connsiteX4" fmla="*/ 69850 w 200025"/>
              <a:gd name="connsiteY4" fmla="*/ 111125 h 111125"/>
              <a:gd name="connsiteX0" fmla="*/ 88900 w 219075"/>
              <a:gd name="connsiteY0" fmla="*/ 111125 h 111125"/>
              <a:gd name="connsiteX1" fmla="*/ 219075 w 219075"/>
              <a:gd name="connsiteY1" fmla="*/ 53975 h 111125"/>
              <a:gd name="connsiteX2" fmla="*/ 114300 w 219075"/>
              <a:gd name="connsiteY2" fmla="*/ 0 h 111125"/>
              <a:gd name="connsiteX3" fmla="*/ 0 w 219075"/>
              <a:gd name="connsiteY3" fmla="*/ 63500 h 111125"/>
              <a:gd name="connsiteX4" fmla="*/ 88900 w 219075"/>
              <a:gd name="connsiteY4" fmla="*/ 111125 h 111125"/>
              <a:gd name="connsiteX0" fmla="*/ 95250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95250 w 219075"/>
              <a:gd name="connsiteY4" fmla="*/ 123825 h 123825"/>
              <a:gd name="connsiteX0" fmla="*/ 104775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104775 w 219075"/>
              <a:gd name="connsiteY4" fmla="*/ 123825 h 123825"/>
              <a:gd name="connsiteX0" fmla="*/ 104775 w 226219"/>
              <a:gd name="connsiteY0" fmla="*/ 123825 h 123825"/>
              <a:gd name="connsiteX1" fmla="*/ 226219 w 226219"/>
              <a:gd name="connsiteY1" fmla="*/ 63500 h 123825"/>
              <a:gd name="connsiteX2" fmla="*/ 114300 w 226219"/>
              <a:gd name="connsiteY2" fmla="*/ 0 h 123825"/>
              <a:gd name="connsiteX3" fmla="*/ 0 w 226219"/>
              <a:gd name="connsiteY3" fmla="*/ 63500 h 123825"/>
              <a:gd name="connsiteX4" fmla="*/ 104775 w 226219"/>
              <a:gd name="connsiteY4" fmla="*/ 123825 h 123825"/>
              <a:gd name="connsiteX0" fmla="*/ 104775 w 226219"/>
              <a:gd name="connsiteY0" fmla="*/ 119062 h 119062"/>
              <a:gd name="connsiteX1" fmla="*/ 226219 w 226219"/>
              <a:gd name="connsiteY1" fmla="*/ 58737 h 119062"/>
              <a:gd name="connsiteX2" fmla="*/ 126206 w 226219"/>
              <a:gd name="connsiteY2" fmla="*/ 0 h 119062"/>
              <a:gd name="connsiteX3" fmla="*/ 0 w 226219"/>
              <a:gd name="connsiteY3" fmla="*/ 58737 h 119062"/>
              <a:gd name="connsiteX4" fmla="*/ 104775 w 226219"/>
              <a:gd name="connsiteY4" fmla="*/ 119062 h 119062"/>
              <a:gd name="connsiteX0" fmla="*/ 111919 w 226219"/>
              <a:gd name="connsiteY0" fmla="*/ 121443 h 121443"/>
              <a:gd name="connsiteX1" fmla="*/ 226219 w 226219"/>
              <a:gd name="connsiteY1" fmla="*/ 58737 h 121443"/>
              <a:gd name="connsiteX2" fmla="*/ 126206 w 226219"/>
              <a:gd name="connsiteY2" fmla="*/ 0 h 121443"/>
              <a:gd name="connsiteX3" fmla="*/ 0 w 226219"/>
              <a:gd name="connsiteY3" fmla="*/ 58737 h 121443"/>
              <a:gd name="connsiteX4" fmla="*/ 111919 w 226219"/>
              <a:gd name="connsiteY4" fmla="*/ 121443 h 121443"/>
              <a:gd name="connsiteX0" fmla="*/ 102394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02394 w 216694"/>
              <a:gd name="connsiteY4" fmla="*/ 121443 h 12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694" h="121443">
                <a:moveTo>
                  <a:pt x="102394" y="121443"/>
                </a:moveTo>
                <a:lnTo>
                  <a:pt x="216694" y="58737"/>
                </a:lnTo>
                <a:lnTo>
                  <a:pt x="116681" y="0"/>
                </a:lnTo>
                <a:lnTo>
                  <a:pt x="0" y="65881"/>
                </a:lnTo>
                <a:lnTo>
                  <a:pt x="102394" y="12144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8" name="Freihandform 127"/>
          <p:cNvSpPr/>
          <p:nvPr/>
        </p:nvSpPr>
        <p:spPr bwMode="auto">
          <a:xfrm>
            <a:off x="10442597" y="6642865"/>
            <a:ext cx="219075" cy="123825"/>
          </a:xfrm>
          <a:custGeom>
            <a:avLst/>
            <a:gdLst>
              <a:gd name="connsiteX0" fmla="*/ 69850 w 200025"/>
              <a:gd name="connsiteY0" fmla="*/ 111125 h 111125"/>
              <a:gd name="connsiteX1" fmla="*/ 200025 w 200025"/>
              <a:gd name="connsiteY1" fmla="*/ 53975 h 111125"/>
              <a:gd name="connsiteX2" fmla="*/ 95250 w 200025"/>
              <a:gd name="connsiteY2" fmla="*/ 0 h 111125"/>
              <a:gd name="connsiteX3" fmla="*/ 0 w 200025"/>
              <a:gd name="connsiteY3" fmla="*/ 44450 h 111125"/>
              <a:gd name="connsiteX4" fmla="*/ 69850 w 200025"/>
              <a:gd name="connsiteY4" fmla="*/ 111125 h 111125"/>
              <a:gd name="connsiteX0" fmla="*/ 88900 w 219075"/>
              <a:gd name="connsiteY0" fmla="*/ 111125 h 111125"/>
              <a:gd name="connsiteX1" fmla="*/ 219075 w 219075"/>
              <a:gd name="connsiteY1" fmla="*/ 53975 h 111125"/>
              <a:gd name="connsiteX2" fmla="*/ 114300 w 219075"/>
              <a:gd name="connsiteY2" fmla="*/ 0 h 111125"/>
              <a:gd name="connsiteX3" fmla="*/ 0 w 219075"/>
              <a:gd name="connsiteY3" fmla="*/ 63500 h 111125"/>
              <a:gd name="connsiteX4" fmla="*/ 88900 w 219075"/>
              <a:gd name="connsiteY4" fmla="*/ 111125 h 111125"/>
              <a:gd name="connsiteX0" fmla="*/ 95250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95250 w 219075"/>
              <a:gd name="connsiteY4" fmla="*/ 123825 h 123825"/>
              <a:gd name="connsiteX0" fmla="*/ 104775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104775 w 219075"/>
              <a:gd name="connsiteY4" fmla="*/ 123825 h 123825"/>
              <a:gd name="connsiteX0" fmla="*/ 104775 w 226219"/>
              <a:gd name="connsiteY0" fmla="*/ 123825 h 123825"/>
              <a:gd name="connsiteX1" fmla="*/ 226219 w 226219"/>
              <a:gd name="connsiteY1" fmla="*/ 63500 h 123825"/>
              <a:gd name="connsiteX2" fmla="*/ 114300 w 226219"/>
              <a:gd name="connsiteY2" fmla="*/ 0 h 123825"/>
              <a:gd name="connsiteX3" fmla="*/ 0 w 226219"/>
              <a:gd name="connsiteY3" fmla="*/ 63500 h 123825"/>
              <a:gd name="connsiteX4" fmla="*/ 104775 w 226219"/>
              <a:gd name="connsiteY4" fmla="*/ 123825 h 123825"/>
              <a:gd name="connsiteX0" fmla="*/ 104775 w 226219"/>
              <a:gd name="connsiteY0" fmla="*/ 119062 h 119062"/>
              <a:gd name="connsiteX1" fmla="*/ 226219 w 226219"/>
              <a:gd name="connsiteY1" fmla="*/ 58737 h 119062"/>
              <a:gd name="connsiteX2" fmla="*/ 126206 w 226219"/>
              <a:gd name="connsiteY2" fmla="*/ 0 h 119062"/>
              <a:gd name="connsiteX3" fmla="*/ 0 w 226219"/>
              <a:gd name="connsiteY3" fmla="*/ 58737 h 119062"/>
              <a:gd name="connsiteX4" fmla="*/ 104775 w 226219"/>
              <a:gd name="connsiteY4" fmla="*/ 119062 h 119062"/>
              <a:gd name="connsiteX0" fmla="*/ 111919 w 226219"/>
              <a:gd name="connsiteY0" fmla="*/ 121443 h 121443"/>
              <a:gd name="connsiteX1" fmla="*/ 226219 w 226219"/>
              <a:gd name="connsiteY1" fmla="*/ 58737 h 121443"/>
              <a:gd name="connsiteX2" fmla="*/ 126206 w 226219"/>
              <a:gd name="connsiteY2" fmla="*/ 0 h 121443"/>
              <a:gd name="connsiteX3" fmla="*/ 0 w 226219"/>
              <a:gd name="connsiteY3" fmla="*/ 58737 h 121443"/>
              <a:gd name="connsiteX4" fmla="*/ 111919 w 226219"/>
              <a:gd name="connsiteY4" fmla="*/ 121443 h 121443"/>
              <a:gd name="connsiteX0" fmla="*/ 102394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02394 w 216694"/>
              <a:gd name="connsiteY4" fmla="*/ 121443 h 121443"/>
              <a:gd name="connsiteX0" fmla="*/ 111919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11919 w 216694"/>
              <a:gd name="connsiteY4" fmla="*/ 121443 h 121443"/>
              <a:gd name="connsiteX0" fmla="*/ 123825 w 216694"/>
              <a:gd name="connsiteY0" fmla="*/ 126206 h 126206"/>
              <a:gd name="connsiteX1" fmla="*/ 216694 w 216694"/>
              <a:gd name="connsiteY1" fmla="*/ 58737 h 126206"/>
              <a:gd name="connsiteX2" fmla="*/ 116681 w 216694"/>
              <a:gd name="connsiteY2" fmla="*/ 0 h 126206"/>
              <a:gd name="connsiteX3" fmla="*/ 0 w 216694"/>
              <a:gd name="connsiteY3" fmla="*/ 65881 h 126206"/>
              <a:gd name="connsiteX4" fmla="*/ 123825 w 216694"/>
              <a:gd name="connsiteY4" fmla="*/ 126206 h 126206"/>
              <a:gd name="connsiteX0" fmla="*/ 123825 w 219075"/>
              <a:gd name="connsiteY0" fmla="*/ 126206 h 126206"/>
              <a:gd name="connsiteX1" fmla="*/ 219075 w 219075"/>
              <a:gd name="connsiteY1" fmla="*/ 53974 h 126206"/>
              <a:gd name="connsiteX2" fmla="*/ 116681 w 219075"/>
              <a:gd name="connsiteY2" fmla="*/ 0 h 126206"/>
              <a:gd name="connsiteX3" fmla="*/ 0 w 219075"/>
              <a:gd name="connsiteY3" fmla="*/ 65881 h 126206"/>
              <a:gd name="connsiteX4" fmla="*/ 123825 w 219075"/>
              <a:gd name="connsiteY4" fmla="*/ 126206 h 126206"/>
              <a:gd name="connsiteX0" fmla="*/ 114300 w 219075"/>
              <a:gd name="connsiteY0" fmla="*/ 123825 h 123825"/>
              <a:gd name="connsiteX1" fmla="*/ 219075 w 219075"/>
              <a:gd name="connsiteY1" fmla="*/ 53974 h 123825"/>
              <a:gd name="connsiteX2" fmla="*/ 116681 w 219075"/>
              <a:gd name="connsiteY2" fmla="*/ 0 h 123825"/>
              <a:gd name="connsiteX3" fmla="*/ 0 w 219075"/>
              <a:gd name="connsiteY3" fmla="*/ 65881 h 123825"/>
              <a:gd name="connsiteX4" fmla="*/ 114300 w 219075"/>
              <a:gd name="connsiteY4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" h="123825">
                <a:moveTo>
                  <a:pt x="114300" y="123825"/>
                </a:moveTo>
                <a:lnTo>
                  <a:pt x="219075" y="53974"/>
                </a:lnTo>
                <a:lnTo>
                  <a:pt x="116681" y="0"/>
                </a:lnTo>
                <a:lnTo>
                  <a:pt x="0" y="65881"/>
                </a:lnTo>
                <a:lnTo>
                  <a:pt x="114300" y="12382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3" name="Freeform 424"/>
          <p:cNvSpPr>
            <a:spLocks noEditPoints="1"/>
          </p:cNvSpPr>
          <p:nvPr/>
        </p:nvSpPr>
        <p:spPr bwMode="auto">
          <a:xfrm>
            <a:off x="7803823" y="6289547"/>
            <a:ext cx="932828" cy="468847"/>
          </a:xfrm>
          <a:custGeom>
            <a:avLst/>
            <a:gdLst/>
            <a:ahLst/>
            <a:cxnLst>
              <a:cxn ang="0">
                <a:pos x="1936" y="726"/>
              </a:cxn>
              <a:cxn ang="0">
                <a:pos x="1433" y="979"/>
              </a:cxn>
              <a:cxn ang="0">
                <a:pos x="1526" y="1027"/>
              </a:cxn>
              <a:cxn ang="0">
                <a:pos x="2029" y="774"/>
              </a:cxn>
              <a:cxn ang="0">
                <a:pos x="1936" y="726"/>
              </a:cxn>
              <a:cxn ang="0">
                <a:pos x="1749" y="631"/>
              </a:cxn>
              <a:cxn ang="0">
                <a:pos x="1246" y="884"/>
              </a:cxn>
              <a:cxn ang="0">
                <a:pos x="1356" y="940"/>
              </a:cxn>
              <a:cxn ang="0">
                <a:pos x="1859" y="687"/>
              </a:cxn>
              <a:cxn ang="0">
                <a:pos x="1749" y="631"/>
              </a:cxn>
              <a:cxn ang="0">
                <a:pos x="1562" y="535"/>
              </a:cxn>
              <a:cxn ang="0">
                <a:pos x="1060" y="789"/>
              </a:cxn>
              <a:cxn ang="0">
                <a:pos x="1170" y="845"/>
              </a:cxn>
              <a:cxn ang="0">
                <a:pos x="1673" y="591"/>
              </a:cxn>
              <a:cxn ang="0">
                <a:pos x="1562" y="535"/>
              </a:cxn>
              <a:cxn ang="0">
                <a:pos x="1387" y="445"/>
              </a:cxn>
              <a:cxn ang="0">
                <a:pos x="885" y="698"/>
              </a:cxn>
              <a:cxn ang="0">
                <a:pos x="984" y="749"/>
              </a:cxn>
              <a:cxn ang="0">
                <a:pos x="1485" y="496"/>
              </a:cxn>
              <a:cxn ang="0">
                <a:pos x="1387" y="445"/>
              </a:cxn>
              <a:cxn ang="0">
                <a:pos x="1212" y="356"/>
              </a:cxn>
              <a:cxn ang="0">
                <a:pos x="710" y="609"/>
              </a:cxn>
              <a:cxn ang="0">
                <a:pos x="809" y="659"/>
              </a:cxn>
              <a:cxn ang="0">
                <a:pos x="1310" y="406"/>
              </a:cxn>
              <a:cxn ang="0">
                <a:pos x="1212" y="356"/>
              </a:cxn>
              <a:cxn ang="0">
                <a:pos x="1029" y="263"/>
              </a:cxn>
              <a:cxn ang="0">
                <a:pos x="529" y="516"/>
              </a:cxn>
              <a:cxn ang="0">
                <a:pos x="634" y="570"/>
              </a:cxn>
              <a:cxn ang="0">
                <a:pos x="1136" y="317"/>
              </a:cxn>
              <a:cxn ang="0">
                <a:pos x="1029" y="263"/>
              </a:cxn>
              <a:cxn ang="0">
                <a:pos x="850" y="172"/>
              </a:cxn>
              <a:cxn ang="0">
                <a:pos x="349" y="425"/>
              </a:cxn>
              <a:cxn ang="0">
                <a:pos x="452" y="477"/>
              </a:cxn>
              <a:cxn ang="0">
                <a:pos x="953" y="225"/>
              </a:cxn>
              <a:cxn ang="0">
                <a:pos x="850" y="172"/>
              </a:cxn>
              <a:cxn ang="0">
                <a:pos x="770" y="0"/>
              </a:cxn>
              <a:cxn ang="0">
                <a:pos x="2300" y="770"/>
              </a:cxn>
              <a:cxn ang="0">
                <a:pos x="2161" y="840"/>
              </a:cxn>
              <a:cxn ang="0">
                <a:pos x="2106" y="813"/>
              </a:cxn>
              <a:cxn ang="0">
                <a:pos x="1603" y="1066"/>
              </a:cxn>
              <a:cxn ang="0">
                <a:pos x="1653" y="1091"/>
              </a:cxn>
              <a:cxn ang="0">
                <a:pos x="1521" y="1156"/>
              </a:cxn>
              <a:cxn ang="0">
                <a:pos x="0" y="385"/>
              </a:cxn>
              <a:cxn ang="0">
                <a:pos x="140" y="314"/>
              </a:cxn>
              <a:cxn ang="0">
                <a:pos x="273" y="385"/>
              </a:cxn>
              <a:cxn ang="0">
                <a:pos x="773" y="133"/>
              </a:cxn>
              <a:cxn ang="0">
                <a:pos x="637" y="67"/>
              </a:cxn>
              <a:cxn ang="0">
                <a:pos x="770" y="0"/>
              </a:cxn>
            </a:cxnLst>
            <a:rect l="0" t="0" r="r" b="b"/>
            <a:pathLst>
              <a:path w="2300" h="1156">
                <a:moveTo>
                  <a:pt x="1936" y="726"/>
                </a:moveTo>
                <a:lnTo>
                  <a:pt x="1433" y="979"/>
                </a:lnTo>
                <a:lnTo>
                  <a:pt x="1526" y="1027"/>
                </a:lnTo>
                <a:lnTo>
                  <a:pt x="2029" y="774"/>
                </a:lnTo>
                <a:lnTo>
                  <a:pt x="1936" y="726"/>
                </a:lnTo>
                <a:close/>
                <a:moveTo>
                  <a:pt x="1749" y="631"/>
                </a:moveTo>
                <a:lnTo>
                  <a:pt x="1246" y="884"/>
                </a:lnTo>
                <a:lnTo>
                  <a:pt x="1356" y="940"/>
                </a:lnTo>
                <a:lnTo>
                  <a:pt x="1859" y="687"/>
                </a:lnTo>
                <a:lnTo>
                  <a:pt x="1749" y="631"/>
                </a:lnTo>
                <a:close/>
                <a:moveTo>
                  <a:pt x="1562" y="535"/>
                </a:moveTo>
                <a:lnTo>
                  <a:pt x="1060" y="789"/>
                </a:lnTo>
                <a:lnTo>
                  <a:pt x="1170" y="845"/>
                </a:lnTo>
                <a:lnTo>
                  <a:pt x="1673" y="591"/>
                </a:lnTo>
                <a:lnTo>
                  <a:pt x="1562" y="535"/>
                </a:lnTo>
                <a:close/>
                <a:moveTo>
                  <a:pt x="1387" y="445"/>
                </a:moveTo>
                <a:lnTo>
                  <a:pt x="885" y="698"/>
                </a:lnTo>
                <a:lnTo>
                  <a:pt x="984" y="749"/>
                </a:lnTo>
                <a:lnTo>
                  <a:pt x="1485" y="496"/>
                </a:lnTo>
                <a:lnTo>
                  <a:pt x="1387" y="445"/>
                </a:lnTo>
                <a:close/>
                <a:moveTo>
                  <a:pt x="1212" y="356"/>
                </a:moveTo>
                <a:lnTo>
                  <a:pt x="710" y="609"/>
                </a:lnTo>
                <a:lnTo>
                  <a:pt x="809" y="659"/>
                </a:lnTo>
                <a:lnTo>
                  <a:pt x="1310" y="406"/>
                </a:lnTo>
                <a:lnTo>
                  <a:pt x="1212" y="356"/>
                </a:lnTo>
                <a:close/>
                <a:moveTo>
                  <a:pt x="1029" y="263"/>
                </a:moveTo>
                <a:lnTo>
                  <a:pt x="529" y="516"/>
                </a:lnTo>
                <a:lnTo>
                  <a:pt x="634" y="570"/>
                </a:lnTo>
                <a:lnTo>
                  <a:pt x="1136" y="317"/>
                </a:lnTo>
                <a:lnTo>
                  <a:pt x="1029" y="263"/>
                </a:lnTo>
                <a:close/>
                <a:moveTo>
                  <a:pt x="850" y="172"/>
                </a:moveTo>
                <a:lnTo>
                  <a:pt x="349" y="425"/>
                </a:lnTo>
                <a:lnTo>
                  <a:pt x="452" y="477"/>
                </a:lnTo>
                <a:lnTo>
                  <a:pt x="953" y="225"/>
                </a:lnTo>
                <a:lnTo>
                  <a:pt x="850" y="172"/>
                </a:lnTo>
                <a:close/>
                <a:moveTo>
                  <a:pt x="770" y="0"/>
                </a:moveTo>
                <a:lnTo>
                  <a:pt x="2300" y="770"/>
                </a:lnTo>
                <a:lnTo>
                  <a:pt x="2161" y="840"/>
                </a:lnTo>
                <a:lnTo>
                  <a:pt x="2106" y="813"/>
                </a:lnTo>
                <a:lnTo>
                  <a:pt x="1603" y="1066"/>
                </a:lnTo>
                <a:lnTo>
                  <a:pt x="1653" y="1091"/>
                </a:lnTo>
                <a:lnTo>
                  <a:pt x="1521" y="1156"/>
                </a:lnTo>
                <a:lnTo>
                  <a:pt x="0" y="385"/>
                </a:lnTo>
                <a:lnTo>
                  <a:pt x="140" y="314"/>
                </a:lnTo>
                <a:lnTo>
                  <a:pt x="273" y="385"/>
                </a:lnTo>
                <a:lnTo>
                  <a:pt x="773" y="133"/>
                </a:lnTo>
                <a:lnTo>
                  <a:pt x="637" y="67"/>
                </a:lnTo>
                <a:lnTo>
                  <a:pt x="770" y="0"/>
                </a:lnTo>
                <a:close/>
              </a:path>
            </a:pathLst>
          </a:custGeom>
          <a:solidFill>
            <a:sysClr val="window" lastClr="FFFFFF"/>
          </a:solidFill>
          <a:ln w="0">
            <a:solidFill>
              <a:srgbClr val="E8EFED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4" name="Freeform 27"/>
          <p:cNvSpPr>
            <a:spLocks/>
          </p:cNvSpPr>
          <p:nvPr/>
        </p:nvSpPr>
        <p:spPr bwMode="auto">
          <a:xfrm>
            <a:off x="9226289" y="5250321"/>
            <a:ext cx="781883" cy="1481107"/>
          </a:xfrm>
          <a:custGeom>
            <a:avLst/>
            <a:gdLst/>
            <a:ahLst/>
            <a:cxnLst>
              <a:cxn ang="0">
                <a:pos x="2151" y="0"/>
              </a:cxn>
              <a:cxn ang="0">
                <a:pos x="2167" y="5"/>
              </a:cxn>
              <a:cxn ang="0">
                <a:pos x="2176" y="14"/>
              </a:cxn>
              <a:cxn ang="0">
                <a:pos x="2183" y="25"/>
              </a:cxn>
              <a:cxn ang="0">
                <a:pos x="2185" y="39"/>
              </a:cxn>
              <a:cxn ang="0">
                <a:pos x="2185" y="61"/>
              </a:cxn>
              <a:cxn ang="0">
                <a:pos x="2183" y="68"/>
              </a:cxn>
              <a:cxn ang="0">
                <a:pos x="2183" y="70"/>
              </a:cxn>
              <a:cxn ang="0">
                <a:pos x="181" y="1131"/>
              </a:cxn>
              <a:cxn ang="0">
                <a:pos x="176" y="1133"/>
              </a:cxn>
              <a:cxn ang="0">
                <a:pos x="165" y="1145"/>
              </a:cxn>
              <a:cxn ang="0">
                <a:pos x="154" y="1158"/>
              </a:cxn>
              <a:cxn ang="0">
                <a:pos x="142" y="1181"/>
              </a:cxn>
              <a:cxn ang="0">
                <a:pos x="138" y="1206"/>
              </a:cxn>
              <a:cxn ang="0">
                <a:pos x="138" y="2702"/>
              </a:cxn>
              <a:cxn ang="0">
                <a:pos x="156" y="2720"/>
              </a:cxn>
              <a:cxn ang="0">
                <a:pos x="170" y="2743"/>
              </a:cxn>
              <a:cxn ang="0">
                <a:pos x="174" y="2770"/>
              </a:cxn>
              <a:cxn ang="0">
                <a:pos x="174" y="4053"/>
              </a:cxn>
              <a:cxn ang="0">
                <a:pos x="170" y="4080"/>
              </a:cxn>
              <a:cxn ang="0">
                <a:pos x="158" y="4103"/>
              </a:cxn>
              <a:cxn ang="0">
                <a:pos x="138" y="4123"/>
              </a:cxn>
              <a:cxn ang="0">
                <a:pos x="115" y="4134"/>
              </a:cxn>
              <a:cxn ang="0">
                <a:pos x="86" y="4139"/>
              </a:cxn>
              <a:cxn ang="0">
                <a:pos x="52" y="4132"/>
              </a:cxn>
              <a:cxn ang="0">
                <a:pos x="25" y="4114"/>
              </a:cxn>
              <a:cxn ang="0">
                <a:pos x="6" y="4087"/>
              </a:cxn>
              <a:cxn ang="0">
                <a:pos x="0" y="4053"/>
              </a:cxn>
              <a:cxn ang="0">
                <a:pos x="0" y="2770"/>
              </a:cxn>
              <a:cxn ang="0">
                <a:pos x="4" y="2740"/>
              </a:cxn>
              <a:cxn ang="0">
                <a:pos x="20" y="2718"/>
              </a:cxn>
              <a:cxn ang="0">
                <a:pos x="40" y="2697"/>
              </a:cxn>
              <a:cxn ang="0">
                <a:pos x="40" y="1176"/>
              </a:cxn>
              <a:cxn ang="0">
                <a:pos x="43" y="1147"/>
              </a:cxn>
              <a:cxn ang="0">
                <a:pos x="52" y="1122"/>
              </a:cxn>
              <a:cxn ang="0">
                <a:pos x="65" y="1104"/>
              </a:cxn>
              <a:cxn ang="0">
                <a:pos x="81" y="1088"/>
              </a:cxn>
              <a:cxn ang="0">
                <a:pos x="95" y="1079"/>
              </a:cxn>
              <a:cxn ang="0">
                <a:pos x="108" y="1072"/>
              </a:cxn>
              <a:cxn ang="0">
                <a:pos x="2129" y="2"/>
              </a:cxn>
              <a:cxn ang="0">
                <a:pos x="2151" y="0"/>
              </a:cxn>
            </a:cxnLst>
            <a:rect l="0" t="0" r="r" b="b"/>
            <a:pathLst>
              <a:path w="2185" h="4139">
                <a:moveTo>
                  <a:pt x="2151" y="0"/>
                </a:moveTo>
                <a:lnTo>
                  <a:pt x="2167" y="5"/>
                </a:lnTo>
                <a:lnTo>
                  <a:pt x="2176" y="14"/>
                </a:lnTo>
                <a:lnTo>
                  <a:pt x="2183" y="25"/>
                </a:lnTo>
                <a:lnTo>
                  <a:pt x="2185" y="39"/>
                </a:lnTo>
                <a:lnTo>
                  <a:pt x="2185" y="61"/>
                </a:lnTo>
                <a:lnTo>
                  <a:pt x="2183" y="68"/>
                </a:lnTo>
                <a:lnTo>
                  <a:pt x="2183" y="70"/>
                </a:lnTo>
                <a:lnTo>
                  <a:pt x="181" y="1131"/>
                </a:lnTo>
                <a:lnTo>
                  <a:pt x="176" y="1133"/>
                </a:lnTo>
                <a:lnTo>
                  <a:pt x="165" y="1145"/>
                </a:lnTo>
                <a:lnTo>
                  <a:pt x="154" y="1158"/>
                </a:lnTo>
                <a:lnTo>
                  <a:pt x="142" y="1181"/>
                </a:lnTo>
                <a:lnTo>
                  <a:pt x="138" y="1206"/>
                </a:lnTo>
                <a:lnTo>
                  <a:pt x="138" y="2702"/>
                </a:lnTo>
                <a:lnTo>
                  <a:pt x="156" y="2720"/>
                </a:lnTo>
                <a:lnTo>
                  <a:pt x="170" y="2743"/>
                </a:lnTo>
                <a:lnTo>
                  <a:pt x="174" y="2770"/>
                </a:lnTo>
                <a:lnTo>
                  <a:pt x="174" y="4053"/>
                </a:lnTo>
                <a:lnTo>
                  <a:pt x="170" y="4080"/>
                </a:lnTo>
                <a:lnTo>
                  <a:pt x="158" y="4103"/>
                </a:lnTo>
                <a:lnTo>
                  <a:pt x="138" y="4123"/>
                </a:lnTo>
                <a:lnTo>
                  <a:pt x="115" y="4134"/>
                </a:lnTo>
                <a:lnTo>
                  <a:pt x="86" y="4139"/>
                </a:lnTo>
                <a:lnTo>
                  <a:pt x="52" y="4132"/>
                </a:lnTo>
                <a:lnTo>
                  <a:pt x="25" y="4114"/>
                </a:lnTo>
                <a:lnTo>
                  <a:pt x="6" y="4087"/>
                </a:lnTo>
                <a:lnTo>
                  <a:pt x="0" y="4053"/>
                </a:lnTo>
                <a:lnTo>
                  <a:pt x="0" y="2770"/>
                </a:lnTo>
                <a:lnTo>
                  <a:pt x="4" y="2740"/>
                </a:lnTo>
                <a:lnTo>
                  <a:pt x="20" y="2718"/>
                </a:lnTo>
                <a:lnTo>
                  <a:pt x="40" y="2697"/>
                </a:lnTo>
                <a:lnTo>
                  <a:pt x="40" y="1176"/>
                </a:lnTo>
                <a:lnTo>
                  <a:pt x="43" y="1147"/>
                </a:lnTo>
                <a:lnTo>
                  <a:pt x="52" y="1122"/>
                </a:lnTo>
                <a:lnTo>
                  <a:pt x="65" y="1104"/>
                </a:lnTo>
                <a:lnTo>
                  <a:pt x="81" y="1088"/>
                </a:lnTo>
                <a:lnTo>
                  <a:pt x="95" y="1079"/>
                </a:lnTo>
                <a:lnTo>
                  <a:pt x="108" y="1072"/>
                </a:lnTo>
                <a:lnTo>
                  <a:pt x="2129" y="2"/>
                </a:lnTo>
                <a:lnTo>
                  <a:pt x="2151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5" name="Freihandform 184"/>
          <p:cNvSpPr/>
          <p:nvPr/>
        </p:nvSpPr>
        <p:spPr bwMode="auto">
          <a:xfrm flipH="1" flipV="1">
            <a:off x="6946832" y="4236652"/>
            <a:ext cx="1438993" cy="1478296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812" h="85725">
                <a:moveTo>
                  <a:pt x="0" y="0"/>
                </a:moveTo>
                <a:lnTo>
                  <a:pt x="1166812" y="0"/>
                </a:lnTo>
                <a:lnTo>
                  <a:pt x="1166812" y="85725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7" name="Freeform 424"/>
          <p:cNvSpPr>
            <a:spLocks noEditPoints="1"/>
          </p:cNvSpPr>
          <p:nvPr/>
        </p:nvSpPr>
        <p:spPr bwMode="auto">
          <a:xfrm>
            <a:off x="9627591" y="5372925"/>
            <a:ext cx="932828" cy="468847"/>
          </a:xfrm>
          <a:custGeom>
            <a:avLst/>
            <a:gdLst/>
            <a:ahLst/>
            <a:cxnLst>
              <a:cxn ang="0">
                <a:pos x="1936" y="726"/>
              </a:cxn>
              <a:cxn ang="0">
                <a:pos x="1433" y="979"/>
              </a:cxn>
              <a:cxn ang="0">
                <a:pos x="1526" y="1027"/>
              </a:cxn>
              <a:cxn ang="0">
                <a:pos x="2029" y="774"/>
              </a:cxn>
              <a:cxn ang="0">
                <a:pos x="1936" y="726"/>
              </a:cxn>
              <a:cxn ang="0">
                <a:pos x="1749" y="631"/>
              </a:cxn>
              <a:cxn ang="0">
                <a:pos x="1246" y="884"/>
              </a:cxn>
              <a:cxn ang="0">
                <a:pos x="1356" y="940"/>
              </a:cxn>
              <a:cxn ang="0">
                <a:pos x="1859" y="687"/>
              </a:cxn>
              <a:cxn ang="0">
                <a:pos x="1749" y="631"/>
              </a:cxn>
              <a:cxn ang="0">
                <a:pos x="1562" y="535"/>
              </a:cxn>
              <a:cxn ang="0">
                <a:pos x="1060" y="789"/>
              </a:cxn>
              <a:cxn ang="0">
                <a:pos x="1170" y="845"/>
              </a:cxn>
              <a:cxn ang="0">
                <a:pos x="1673" y="591"/>
              </a:cxn>
              <a:cxn ang="0">
                <a:pos x="1562" y="535"/>
              </a:cxn>
              <a:cxn ang="0">
                <a:pos x="1387" y="445"/>
              </a:cxn>
              <a:cxn ang="0">
                <a:pos x="885" y="698"/>
              </a:cxn>
              <a:cxn ang="0">
                <a:pos x="984" y="749"/>
              </a:cxn>
              <a:cxn ang="0">
                <a:pos x="1485" y="496"/>
              </a:cxn>
              <a:cxn ang="0">
                <a:pos x="1387" y="445"/>
              </a:cxn>
              <a:cxn ang="0">
                <a:pos x="1212" y="356"/>
              </a:cxn>
              <a:cxn ang="0">
                <a:pos x="710" y="609"/>
              </a:cxn>
              <a:cxn ang="0">
                <a:pos x="809" y="659"/>
              </a:cxn>
              <a:cxn ang="0">
                <a:pos x="1310" y="406"/>
              </a:cxn>
              <a:cxn ang="0">
                <a:pos x="1212" y="356"/>
              </a:cxn>
              <a:cxn ang="0">
                <a:pos x="1029" y="263"/>
              </a:cxn>
              <a:cxn ang="0">
                <a:pos x="529" y="516"/>
              </a:cxn>
              <a:cxn ang="0">
                <a:pos x="634" y="570"/>
              </a:cxn>
              <a:cxn ang="0">
                <a:pos x="1136" y="317"/>
              </a:cxn>
              <a:cxn ang="0">
                <a:pos x="1029" y="263"/>
              </a:cxn>
              <a:cxn ang="0">
                <a:pos x="850" y="172"/>
              </a:cxn>
              <a:cxn ang="0">
                <a:pos x="349" y="425"/>
              </a:cxn>
              <a:cxn ang="0">
                <a:pos x="452" y="477"/>
              </a:cxn>
              <a:cxn ang="0">
                <a:pos x="953" y="225"/>
              </a:cxn>
              <a:cxn ang="0">
                <a:pos x="850" y="172"/>
              </a:cxn>
              <a:cxn ang="0">
                <a:pos x="770" y="0"/>
              </a:cxn>
              <a:cxn ang="0">
                <a:pos x="2300" y="770"/>
              </a:cxn>
              <a:cxn ang="0">
                <a:pos x="2161" y="840"/>
              </a:cxn>
              <a:cxn ang="0">
                <a:pos x="2106" y="813"/>
              </a:cxn>
              <a:cxn ang="0">
                <a:pos x="1603" y="1066"/>
              </a:cxn>
              <a:cxn ang="0">
                <a:pos x="1653" y="1091"/>
              </a:cxn>
              <a:cxn ang="0">
                <a:pos x="1521" y="1156"/>
              </a:cxn>
              <a:cxn ang="0">
                <a:pos x="0" y="385"/>
              </a:cxn>
              <a:cxn ang="0">
                <a:pos x="140" y="314"/>
              </a:cxn>
              <a:cxn ang="0">
                <a:pos x="273" y="385"/>
              </a:cxn>
              <a:cxn ang="0">
                <a:pos x="773" y="133"/>
              </a:cxn>
              <a:cxn ang="0">
                <a:pos x="637" y="67"/>
              </a:cxn>
              <a:cxn ang="0">
                <a:pos x="770" y="0"/>
              </a:cxn>
            </a:cxnLst>
            <a:rect l="0" t="0" r="r" b="b"/>
            <a:pathLst>
              <a:path w="2300" h="1156">
                <a:moveTo>
                  <a:pt x="1936" y="726"/>
                </a:moveTo>
                <a:lnTo>
                  <a:pt x="1433" y="979"/>
                </a:lnTo>
                <a:lnTo>
                  <a:pt x="1526" y="1027"/>
                </a:lnTo>
                <a:lnTo>
                  <a:pt x="2029" y="774"/>
                </a:lnTo>
                <a:lnTo>
                  <a:pt x="1936" y="726"/>
                </a:lnTo>
                <a:close/>
                <a:moveTo>
                  <a:pt x="1749" y="631"/>
                </a:moveTo>
                <a:lnTo>
                  <a:pt x="1246" y="884"/>
                </a:lnTo>
                <a:lnTo>
                  <a:pt x="1356" y="940"/>
                </a:lnTo>
                <a:lnTo>
                  <a:pt x="1859" y="687"/>
                </a:lnTo>
                <a:lnTo>
                  <a:pt x="1749" y="631"/>
                </a:lnTo>
                <a:close/>
                <a:moveTo>
                  <a:pt x="1562" y="535"/>
                </a:moveTo>
                <a:lnTo>
                  <a:pt x="1060" y="789"/>
                </a:lnTo>
                <a:lnTo>
                  <a:pt x="1170" y="845"/>
                </a:lnTo>
                <a:lnTo>
                  <a:pt x="1673" y="591"/>
                </a:lnTo>
                <a:lnTo>
                  <a:pt x="1562" y="535"/>
                </a:lnTo>
                <a:close/>
                <a:moveTo>
                  <a:pt x="1387" y="445"/>
                </a:moveTo>
                <a:lnTo>
                  <a:pt x="885" y="698"/>
                </a:lnTo>
                <a:lnTo>
                  <a:pt x="984" y="749"/>
                </a:lnTo>
                <a:lnTo>
                  <a:pt x="1485" y="496"/>
                </a:lnTo>
                <a:lnTo>
                  <a:pt x="1387" y="445"/>
                </a:lnTo>
                <a:close/>
                <a:moveTo>
                  <a:pt x="1212" y="356"/>
                </a:moveTo>
                <a:lnTo>
                  <a:pt x="710" y="609"/>
                </a:lnTo>
                <a:lnTo>
                  <a:pt x="809" y="659"/>
                </a:lnTo>
                <a:lnTo>
                  <a:pt x="1310" y="406"/>
                </a:lnTo>
                <a:lnTo>
                  <a:pt x="1212" y="356"/>
                </a:lnTo>
                <a:close/>
                <a:moveTo>
                  <a:pt x="1029" y="263"/>
                </a:moveTo>
                <a:lnTo>
                  <a:pt x="529" y="516"/>
                </a:lnTo>
                <a:lnTo>
                  <a:pt x="634" y="570"/>
                </a:lnTo>
                <a:lnTo>
                  <a:pt x="1136" y="317"/>
                </a:lnTo>
                <a:lnTo>
                  <a:pt x="1029" y="263"/>
                </a:lnTo>
                <a:close/>
                <a:moveTo>
                  <a:pt x="850" y="172"/>
                </a:moveTo>
                <a:lnTo>
                  <a:pt x="349" y="425"/>
                </a:lnTo>
                <a:lnTo>
                  <a:pt x="452" y="477"/>
                </a:lnTo>
                <a:lnTo>
                  <a:pt x="953" y="225"/>
                </a:lnTo>
                <a:lnTo>
                  <a:pt x="850" y="172"/>
                </a:lnTo>
                <a:close/>
                <a:moveTo>
                  <a:pt x="770" y="0"/>
                </a:moveTo>
                <a:lnTo>
                  <a:pt x="2300" y="770"/>
                </a:lnTo>
                <a:lnTo>
                  <a:pt x="2161" y="840"/>
                </a:lnTo>
                <a:lnTo>
                  <a:pt x="2106" y="813"/>
                </a:lnTo>
                <a:lnTo>
                  <a:pt x="1603" y="1066"/>
                </a:lnTo>
                <a:lnTo>
                  <a:pt x="1653" y="1091"/>
                </a:lnTo>
                <a:lnTo>
                  <a:pt x="1521" y="1156"/>
                </a:lnTo>
                <a:lnTo>
                  <a:pt x="0" y="385"/>
                </a:lnTo>
                <a:lnTo>
                  <a:pt x="140" y="314"/>
                </a:lnTo>
                <a:lnTo>
                  <a:pt x="273" y="385"/>
                </a:lnTo>
                <a:lnTo>
                  <a:pt x="773" y="133"/>
                </a:lnTo>
                <a:lnTo>
                  <a:pt x="637" y="67"/>
                </a:lnTo>
                <a:lnTo>
                  <a:pt x="770" y="0"/>
                </a:lnTo>
                <a:close/>
              </a:path>
            </a:pathLst>
          </a:custGeom>
          <a:solidFill>
            <a:sysClr val="window" lastClr="FFFFFF"/>
          </a:solidFill>
          <a:ln w="0">
            <a:solidFill>
              <a:srgbClr val="E8EFED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8" name="Freeform 21"/>
          <p:cNvSpPr>
            <a:spLocks/>
          </p:cNvSpPr>
          <p:nvPr/>
        </p:nvSpPr>
        <p:spPr bwMode="auto">
          <a:xfrm>
            <a:off x="9663924" y="5276451"/>
            <a:ext cx="383248" cy="201823"/>
          </a:xfrm>
          <a:custGeom>
            <a:avLst/>
            <a:gdLst/>
            <a:ahLst/>
            <a:cxnLst>
              <a:cxn ang="0">
                <a:pos x="761" y="0"/>
              </a:cxn>
              <a:cxn ang="0">
                <a:pos x="1071" y="86"/>
              </a:cxn>
              <a:cxn ang="0">
                <a:pos x="1030" y="129"/>
              </a:cxn>
              <a:cxn ang="0">
                <a:pos x="269" y="564"/>
              </a:cxn>
              <a:cxn ang="0">
                <a:pos x="27" y="426"/>
              </a:cxn>
              <a:cxn ang="0">
                <a:pos x="0" y="389"/>
              </a:cxn>
              <a:cxn ang="0">
                <a:pos x="761" y="0"/>
              </a:cxn>
            </a:cxnLst>
            <a:rect l="0" t="0" r="r" b="b"/>
            <a:pathLst>
              <a:path w="1071" h="564">
                <a:moveTo>
                  <a:pt x="761" y="0"/>
                </a:moveTo>
                <a:lnTo>
                  <a:pt x="1071" y="86"/>
                </a:lnTo>
                <a:lnTo>
                  <a:pt x="1030" y="129"/>
                </a:lnTo>
                <a:lnTo>
                  <a:pt x="269" y="564"/>
                </a:lnTo>
                <a:lnTo>
                  <a:pt x="27" y="426"/>
                </a:lnTo>
                <a:lnTo>
                  <a:pt x="0" y="389"/>
                </a:lnTo>
                <a:lnTo>
                  <a:pt x="761" y="0"/>
                </a:lnTo>
                <a:close/>
              </a:path>
            </a:pathLst>
          </a:custGeom>
          <a:solidFill>
            <a:srgbClr val="96ABA9"/>
          </a:solidFill>
          <a:ln w="0">
            <a:solidFill>
              <a:srgbClr val="96ABA9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9" name="Freeform 22"/>
          <p:cNvSpPr>
            <a:spLocks/>
          </p:cNvSpPr>
          <p:nvPr/>
        </p:nvSpPr>
        <p:spPr bwMode="auto">
          <a:xfrm>
            <a:off x="9663930" y="5415646"/>
            <a:ext cx="105920" cy="19967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83" y="125"/>
              </a:cxn>
              <a:cxn ang="0">
                <a:pos x="296" y="506"/>
              </a:cxn>
              <a:cxn ang="0">
                <a:pos x="267" y="558"/>
              </a:cxn>
              <a:cxn ang="0">
                <a:pos x="0" y="413"/>
              </a:cxn>
              <a:cxn ang="0">
                <a:pos x="0" y="0"/>
              </a:cxn>
            </a:cxnLst>
            <a:rect l="0" t="0" r="r" b="b"/>
            <a:pathLst>
              <a:path w="296" h="558">
                <a:moveTo>
                  <a:pt x="0" y="0"/>
                </a:moveTo>
                <a:lnTo>
                  <a:pt x="283" y="125"/>
                </a:lnTo>
                <a:lnTo>
                  <a:pt x="296" y="506"/>
                </a:lnTo>
                <a:lnTo>
                  <a:pt x="267" y="558"/>
                </a:lnTo>
                <a:lnTo>
                  <a:pt x="0" y="413"/>
                </a:lnTo>
                <a:lnTo>
                  <a:pt x="0" y="0"/>
                </a:lnTo>
                <a:close/>
              </a:path>
            </a:pathLst>
          </a:custGeom>
          <a:solidFill>
            <a:srgbClr val="687C7C"/>
          </a:solidFill>
          <a:ln w="0">
            <a:solidFill>
              <a:srgbClr val="687C7C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0" name="Freeform 23"/>
          <p:cNvSpPr>
            <a:spLocks/>
          </p:cNvSpPr>
          <p:nvPr/>
        </p:nvSpPr>
        <p:spPr bwMode="auto">
          <a:xfrm>
            <a:off x="9759469" y="5307220"/>
            <a:ext cx="287704" cy="308101"/>
          </a:xfrm>
          <a:custGeom>
            <a:avLst/>
            <a:gdLst/>
            <a:ahLst/>
            <a:cxnLst>
              <a:cxn ang="0">
                <a:pos x="804" y="0"/>
              </a:cxn>
              <a:cxn ang="0">
                <a:pos x="793" y="403"/>
              </a:cxn>
              <a:cxn ang="0">
                <a:pos x="0" y="861"/>
              </a:cxn>
              <a:cxn ang="0">
                <a:pos x="0" y="424"/>
              </a:cxn>
              <a:cxn ang="0">
                <a:pos x="804" y="0"/>
              </a:cxn>
            </a:cxnLst>
            <a:rect l="0" t="0" r="r" b="b"/>
            <a:pathLst>
              <a:path w="804" h="861">
                <a:moveTo>
                  <a:pt x="804" y="0"/>
                </a:moveTo>
                <a:lnTo>
                  <a:pt x="793" y="403"/>
                </a:lnTo>
                <a:lnTo>
                  <a:pt x="0" y="861"/>
                </a:lnTo>
                <a:lnTo>
                  <a:pt x="0" y="424"/>
                </a:lnTo>
                <a:lnTo>
                  <a:pt x="804" y="0"/>
                </a:lnTo>
                <a:close/>
              </a:path>
            </a:pathLst>
          </a:custGeom>
          <a:solidFill>
            <a:srgbClr val="193032"/>
          </a:solidFill>
          <a:ln w="0">
            <a:solidFill>
              <a:srgbClr val="193032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1" name="Freeform 24"/>
          <p:cNvSpPr>
            <a:spLocks/>
          </p:cNvSpPr>
          <p:nvPr/>
        </p:nvSpPr>
        <p:spPr bwMode="auto">
          <a:xfrm>
            <a:off x="9769130" y="5455366"/>
            <a:ext cx="80156" cy="109500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3" y="21"/>
              </a:cxn>
              <a:cxn ang="0">
                <a:pos x="211" y="44"/>
              </a:cxn>
              <a:cxn ang="0">
                <a:pos x="220" y="75"/>
              </a:cxn>
              <a:cxn ang="0">
                <a:pos x="224" y="112"/>
              </a:cxn>
              <a:cxn ang="0">
                <a:pos x="220" y="150"/>
              </a:cxn>
              <a:cxn ang="0">
                <a:pos x="209" y="191"/>
              </a:cxn>
              <a:cxn ang="0">
                <a:pos x="190" y="229"/>
              </a:cxn>
              <a:cxn ang="0">
                <a:pos x="166" y="261"/>
              </a:cxn>
              <a:cxn ang="0">
                <a:pos x="141" y="284"/>
              </a:cxn>
              <a:cxn ang="0">
                <a:pos x="111" y="300"/>
              </a:cxn>
              <a:cxn ang="0">
                <a:pos x="82" y="306"/>
              </a:cxn>
              <a:cxn ang="0">
                <a:pos x="55" y="302"/>
              </a:cxn>
              <a:cxn ang="0">
                <a:pos x="30" y="286"/>
              </a:cxn>
              <a:cxn ang="0">
                <a:pos x="14" y="263"/>
              </a:cxn>
              <a:cxn ang="0">
                <a:pos x="2" y="232"/>
              </a:cxn>
              <a:cxn ang="0">
                <a:pos x="0" y="195"/>
              </a:cxn>
              <a:cxn ang="0">
                <a:pos x="2" y="157"/>
              </a:cxn>
              <a:cxn ang="0">
                <a:pos x="14" y="116"/>
              </a:cxn>
              <a:cxn ang="0">
                <a:pos x="32" y="78"/>
              </a:cxn>
              <a:cxn ang="0">
                <a:pos x="57" y="46"/>
              </a:cxn>
              <a:cxn ang="0">
                <a:pos x="84" y="23"/>
              </a:cxn>
              <a:cxn ang="0">
                <a:pos x="113" y="7"/>
              </a:cxn>
              <a:cxn ang="0">
                <a:pos x="143" y="0"/>
              </a:cxn>
            </a:cxnLst>
            <a:rect l="0" t="0" r="r" b="b"/>
            <a:pathLst>
              <a:path w="224" h="306">
                <a:moveTo>
                  <a:pt x="143" y="0"/>
                </a:moveTo>
                <a:lnTo>
                  <a:pt x="170" y="5"/>
                </a:lnTo>
                <a:lnTo>
                  <a:pt x="193" y="21"/>
                </a:lnTo>
                <a:lnTo>
                  <a:pt x="211" y="44"/>
                </a:lnTo>
                <a:lnTo>
                  <a:pt x="220" y="75"/>
                </a:lnTo>
                <a:lnTo>
                  <a:pt x="224" y="112"/>
                </a:lnTo>
                <a:lnTo>
                  <a:pt x="220" y="150"/>
                </a:lnTo>
                <a:lnTo>
                  <a:pt x="209" y="191"/>
                </a:lnTo>
                <a:lnTo>
                  <a:pt x="190" y="229"/>
                </a:lnTo>
                <a:lnTo>
                  <a:pt x="166" y="261"/>
                </a:lnTo>
                <a:lnTo>
                  <a:pt x="141" y="284"/>
                </a:lnTo>
                <a:lnTo>
                  <a:pt x="111" y="300"/>
                </a:lnTo>
                <a:lnTo>
                  <a:pt x="82" y="306"/>
                </a:lnTo>
                <a:lnTo>
                  <a:pt x="55" y="302"/>
                </a:lnTo>
                <a:lnTo>
                  <a:pt x="30" y="286"/>
                </a:lnTo>
                <a:lnTo>
                  <a:pt x="14" y="263"/>
                </a:lnTo>
                <a:lnTo>
                  <a:pt x="2" y="232"/>
                </a:lnTo>
                <a:lnTo>
                  <a:pt x="0" y="195"/>
                </a:lnTo>
                <a:lnTo>
                  <a:pt x="2" y="157"/>
                </a:lnTo>
                <a:lnTo>
                  <a:pt x="14" y="116"/>
                </a:lnTo>
                <a:lnTo>
                  <a:pt x="32" y="78"/>
                </a:lnTo>
                <a:lnTo>
                  <a:pt x="57" y="46"/>
                </a:lnTo>
                <a:lnTo>
                  <a:pt x="84" y="23"/>
                </a:lnTo>
                <a:lnTo>
                  <a:pt x="113" y="7"/>
                </a:lnTo>
                <a:lnTo>
                  <a:pt x="143" y="0"/>
                </a:lnTo>
                <a:close/>
              </a:path>
            </a:pathLst>
          </a:custGeom>
          <a:solidFill>
            <a:srgbClr val="990000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  <a:effectLst>
            <a:glow rad="38100">
              <a:srgbClr val="C00000"/>
            </a:glow>
          </a:effectLst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2" name="Freeform 25"/>
          <p:cNvSpPr>
            <a:spLocks/>
          </p:cNvSpPr>
          <p:nvPr/>
        </p:nvSpPr>
        <p:spPr bwMode="auto">
          <a:xfrm>
            <a:off x="9858234" y="5406703"/>
            <a:ext cx="81230" cy="108784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5" y="21"/>
              </a:cxn>
              <a:cxn ang="0">
                <a:pos x="211" y="44"/>
              </a:cxn>
              <a:cxn ang="0">
                <a:pos x="222" y="73"/>
              </a:cxn>
              <a:cxn ang="0">
                <a:pos x="227" y="109"/>
              </a:cxn>
              <a:cxn ang="0">
                <a:pos x="222" y="148"/>
              </a:cxn>
              <a:cxn ang="0">
                <a:pos x="211" y="189"/>
              </a:cxn>
              <a:cxn ang="0">
                <a:pos x="193" y="227"/>
              </a:cxn>
              <a:cxn ang="0">
                <a:pos x="168" y="259"/>
              </a:cxn>
              <a:cxn ang="0">
                <a:pos x="141" y="282"/>
              </a:cxn>
              <a:cxn ang="0">
                <a:pos x="114" y="297"/>
              </a:cxn>
              <a:cxn ang="0">
                <a:pos x="84" y="304"/>
              </a:cxn>
              <a:cxn ang="0">
                <a:pos x="57" y="300"/>
              </a:cxn>
              <a:cxn ang="0">
                <a:pos x="32" y="284"/>
              </a:cxn>
              <a:cxn ang="0">
                <a:pos x="16" y="261"/>
              </a:cxn>
              <a:cxn ang="0">
                <a:pos x="5" y="229"/>
              </a:cxn>
              <a:cxn ang="0">
                <a:pos x="0" y="193"/>
              </a:cxn>
              <a:cxn ang="0">
                <a:pos x="5" y="155"/>
              </a:cxn>
              <a:cxn ang="0">
                <a:pos x="16" y="114"/>
              </a:cxn>
              <a:cxn ang="0">
                <a:pos x="34" y="75"/>
              </a:cxn>
              <a:cxn ang="0">
                <a:pos x="59" y="44"/>
              </a:cxn>
              <a:cxn ang="0">
                <a:pos x="84" y="21"/>
              </a:cxn>
              <a:cxn ang="0">
                <a:pos x="114" y="5"/>
              </a:cxn>
              <a:cxn ang="0">
                <a:pos x="143" y="0"/>
              </a:cxn>
            </a:cxnLst>
            <a:rect l="0" t="0" r="r" b="b"/>
            <a:pathLst>
              <a:path w="227" h="304">
                <a:moveTo>
                  <a:pt x="143" y="0"/>
                </a:moveTo>
                <a:lnTo>
                  <a:pt x="170" y="5"/>
                </a:lnTo>
                <a:lnTo>
                  <a:pt x="195" y="21"/>
                </a:lnTo>
                <a:lnTo>
                  <a:pt x="211" y="44"/>
                </a:lnTo>
                <a:lnTo>
                  <a:pt x="222" y="73"/>
                </a:lnTo>
                <a:lnTo>
                  <a:pt x="227" y="109"/>
                </a:lnTo>
                <a:lnTo>
                  <a:pt x="222" y="148"/>
                </a:lnTo>
                <a:lnTo>
                  <a:pt x="211" y="189"/>
                </a:lnTo>
                <a:lnTo>
                  <a:pt x="193" y="227"/>
                </a:lnTo>
                <a:lnTo>
                  <a:pt x="168" y="259"/>
                </a:lnTo>
                <a:lnTo>
                  <a:pt x="141" y="282"/>
                </a:lnTo>
                <a:lnTo>
                  <a:pt x="114" y="297"/>
                </a:lnTo>
                <a:lnTo>
                  <a:pt x="84" y="304"/>
                </a:lnTo>
                <a:lnTo>
                  <a:pt x="57" y="300"/>
                </a:lnTo>
                <a:lnTo>
                  <a:pt x="32" y="284"/>
                </a:lnTo>
                <a:lnTo>
                  <a:pt x="16" y="261"/>
                </a:lnTo>
                <a:lnTo>
                  <a:pt x="5" y="229"/>
                </a:lnTo>
                <a:lnTo>
                  <a:pt x="0" y="193"/>
                </a:lnTo>
                <a:lnTo>
                  <a:pt x="5" y="155"/>
                </a:lnTo>
                <a:lnTo>
                  <a:pt x="16" y="114"/>
                </a:lnTo>
                <a:lnTo>
                  <a:pt x="34" y="75"/>
                </a:lnTo>
                <a:lnTo>
                  <a:pt x="59" y="44"/>
                </a:lnTo>
                <a:lnTo>
                  <a:pt x="84" y="21"/>
                </a:lnTo>
                <a:lnTo>
                  <a:pt x="114" y="5"/>
                </a:lnTo>
                <a:lnTo>
                  <a:pt x="143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3" name="Freeform 26"/>
          <p:cNvSpPr>
            <a:spLocks/>
          </p:cNvSpPr>
          <p:nvPr/>
        </p:nvSpPr>
        <p:spPr bwMode="auto">
          <a:xfrm>
            <a:off x="9953062" y="5358038"/>
            <a:ext cx="81230" cy="109500"/>
          </a:xfrm>
          <a:custGeom>
            <a:avLst/>
            <a:gdLst/>
            <a:ahLst/>
            <a:cxnLst>
              <a:cxn ang="0">
                <a:pos x="143" y="0"/>
              </a:cxn>
              <a:cxn ang="0">
                <a:pos x="170" y="5"/>
              </a:cxn>
              <a:cxn ang="0">
                <a:pos x="195" y="21"/>
              </a:cxn>
              <a:cxn ang="0">
                <a:pos x="211" y="46"/>
              </a:cxn>
              <a:cxn ang="0">
                <a:pos x="222" y="75"/>
              </a:cxn>
              <a:cxn ang="0">
                <a:pos x="227" y="112"/>
              </a:cxn>
              <a:cxn ang="0">
                <a:pos x="222" y="150"/>
              </a:cxn>
              <a:cxn ang="0">
                <a:pos x="211" y="191"/>
              </a:cxn>
              <a:cxn ang="0">
                <a:pos x="193" y="229"/>
              </a:cxn>
              <a:cxn ang="0">
                <a:pos x="168" y="261"/>
              </a:cxn>
              <a:cxn ang="0">
                <a:pos x="143" y="284"/>
              </a:cxn>
              <a:cxn ang="0">
                <a:pos x="114" y="300"/>
              </a:cxn>
              <a:cxn ang="0">
                <a:pos x="84" y="306"/>
              </a:cxn>
              <a:cxn ang="0">
                <a:pos x="57" y="302"/>
              </a:cxn>
              <a:cxn ang="0">
                <a:pos x="32" y="286"/>
              </a:cxn>
              <a:cxn ang="0">
                <a:pos x="16" y="263"/>
              </a:cxn>
              <a:cxn ang="0">
                <a:pos x="5" y="232"/>
              </a:cxn>
              <a:cxn ang="0">
                <a:pos x="0" y="195"/>
              </a:cxn>
              <a:cxn ang="0">
                <a:pos x="5" y="157"/>
              </a:cxn>
              <a:cxn ang="0">
                <a:pos x="16" y="116"/>
              </a:cxn>
              <a:cxn ang="0">
                <a:pos x="34" y="78"/>
              </a:cxn>
              <a:cxn ang="0">
                <a:pos x="59" y="46"/>
              </a:cxn>
              <a:cxn ang="0">
                <a:pos x="86" y="23"/>
              </a:cxn>
              <a:cxn ang="0">
                <a:pos x="114" y="7"/>
              </a:cxn>
              <a:cxn ang="0">
                <a:pos x="143" y="0"/>
              </a:cxn>
            </a:cxnLst>
            <a:rect l="0" t="0" r="r" b="b"/>
            <a:pathLst>
              <a:path w="227" h="306">
                <a:moveTo>
                  <a:pt x="143" y="0"/>
                </a:moveTo>
                <a:lnTo>
                  <a:pt x="170" y="5"/>
                </a:lnTo>
                <a:lnTo>
                  <a:pt x="195" y="21"/>
                </a:lnTo>
                <a:lnTo>
                  <a:pt x="211" y="46"/>
                </a:lnTo>
                <a:lnTo>
                  <a:pt x="222" y="75"/>
                </a:lnTo>
                <a:lnTo>
                  <a:pt x="227" y="112"/>
                </a:lnTo>
                <a:lnTo>
                  <a:pt x="222" y="150"/>
                </a:lnTo>
                <a:lnTo>
                  <a:pt x="211" y="191"/>
                </a:lnTo>
                <a:lnTo>
                  <a:pt x="193" y="229"/>
                </a:lnTo>
                <a:lnTo>
                  <a:pt x="168" y="261"/>
                </a:lnTo>
                <a:lnTo>
                  <a:pt x="143" y="284"/>
                </a:lnTo>
                <a:lnTo>
                  <a:pt x="114" y="300"/>
                </a:lnTo>
                <a:lnTo>
                  <a:pt x="84" y="306"/>
                </a:lnTo>
                <a:lnTo>
                  <a:pt x="57" y="302"/>
                </a:lnTo>
                <a:lnTo>
                  <a:pt x="32" y="286"/>
                </a:lnTo>
                <a:lnTo>
                  <a:pt x="16" y="263"/>
                </a:lnTo>
                <a:lnTo>
                  <a:pt x="5" y="232"/>
                </a:lnTo>
                <a:lnTo>
                  <a:pt x="0" y="195"/>
                </a:lnTo>
                <a:lnTo>
                  <a:pt x="5" y="157"/>
                </a:lnTo>
                <a:lnTo>
                  <a:pt x="16" y="116"/>
                </a:lnTo>
                <a:lnTo>
                  <a:pt x="34" y="78"/>
                </a:lnTo>
                <a:lnTo>
                  <a:pt x="59" y="46"/>
                </a:lnTo>
                <a:lnTo>
                  <a:pt x="86" y="23"/>
                </a:lnTo>
                <a:lnTo>
                  <a:pt x="114" y="7"/>
                </a:lnTo>
                <a:lnTo>
                  <a:pt x="143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defTabSz="1218683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4" name="Freihandform 193"/>
          <p:cNvSpPr/>
          <p:nvPr/>
        </p:nvSpPr>
        <p:spPr bwMode="auto">
          <a:xfrm>
            <a:off x="8370834" y="5653798"/>
            <a:ext cx="219075" cy="123825"/>
          </a:xfrm>
          <a:custGeom>
            <a:avLst/>
            <a:gdLst>
              <a:gd name="connsiteX0" fmla="*/ 69850 w 200025"/>
              <a:gd name="connsiteY0" fmla="*/ 111125 h 111125"/>
              <a:gd name="connsiteX1" fmla="*/ 200025 w 200025"/>
              <a:gd name="connsiteY1" fmla="*/ 53975 h 111125"/>
              <a:gd name="connsiteX2" fmla="*/ 95250 w 200025"/>
              <a:gd name="connsiteY2" fmla="*/ 0 h 111125"/>
              <a:gd name="connsiteX3" fmla="*/ 0 w 200025"/>
              <a:gd name="connsiteY3" fmla="*/ 44450 h 111125"/>
              <a:gd name="connsiteX4" fmla="*/ 69850 w 200025"/>
              <a:gd name="connsiteY4" fmla="*/ 111125 h 111125"/>
              <a:gd name="connsiteX0" fmla="*/ 88900 w 219075"/>
              <a:gd name="connsiteY0" fmla="*/ 111125 h 111125"/>
              <a:gd name="connsiteX1" fmla="*/ 219075 w 219075"/>
              <a:gd name="connsiteY1" fmla="*/ 53975 h 111125"/>
              <a:gd name="connsiteX2" fmla="*/ 114300 w 219075"/>
              <a:gd name="connsiteY2" fmla="*/ 0 h 111125"/>
              <a:gd name="connsiteX3" fmla="*/ 0 w 219075"/>
              <a:gd name="connsiteY3" fmla="*/ 63500 h 111125"/>
              <a:gd name="connsiteX4" fmla="*/ 88900 w 219075"/>
              <a:gd name="connsiteY4" fmla="*/ 111125 h 111125"/>
              <a:gd name="connsiteX0" fmla="*/ 95250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95250 w 219075"/>
              <a:gd name="connsiteY4" fmla="*/ 123825 h 123825"/>
              <a:gd name="connsiteX0" fmla="*/ 104775 w 219075"/>
              <a:gd name="connsiteY0" fmla="*/ 123825 h 123825"/>
              <a:gd name="connsiteX1" fmla="*/ 219075 w 219075"/>
              <a:gd name="connsiteY1" fmla="*/ 53975 h 123825"/>
              <a:gd name="connsiteX2" fmla="*/ 114300 w 219075"/>
              <a:gd name="connsiteY2" fmla="*/ 0 h 123825"/>
              <a:gd name="connsiteX3" fmla="*/ 0 w 219075"/>
              <a:gd name="connsiteY3" fmla="*/ 63500 h 123825"/>
              <a:gd name="connsiteX4" fmla="*/ 104775 w 219075"/>
              <a:gd name="connsiteY4" fmla="*/ 123825 h 123825"/>
              <a:gd name="connsiteX0" fmla="*/ 104775 w 226219"/>
              <a:gd name="connsiteY0" fmla="*/ 123825 h 123825"/>
              <a:gd name="connsiteX1" fmla="*/ 226219 w 226219"/>
              <a:gd name="connsiteY1" fmla="*/ 63500 h 123825"/>
              <a:gd name="connsiteX2" fmla="*/ 114300 w 226219"/>
              <a:gd name="connsiteY2" fmla="*/ 0 h 123825"/>
              <a:gd name="connsiteX3" fmla="*/ 0 w 226219"/>
              <a:gd name="connsiteY3" fmla="*/ 63500 h 123825"/>
              <a:gd name="connsiteX4" fmla="*/ 104775 w 226219"/>
              <a:gd name="connsiteY4" fmla="*/ 123825 h 123825"/>
              <a:gd name="connsiteX0" fmla="*/ 104775 w 226219"/>
              <a:gd name="connsiteY0" fmla="*/ 119062 h 119062"/>
              <a:gd name="connsiteX1" fmla="*/ 226219 w 226219"/>
              <a:gd name="connsiteY1" fmla="*/ 58737 h 119062"/>
              <a:gd name="connsiteX2" fmla="*/ 126206 w 226219"/>
              <a:gd name="connsiteY2" fmla="*/ 0 h 119062"/>
              <a:gd name="connsiteX3" fmla="*/ 0 w 226219"/>
              <a:gd name="connsiteY3" fmla="*/ 58737 h 119062"/>
              <a:gd name="connsiteX4" fmla="*/ 104775 w 226219"/>
              <a:gd name="connsiteY4" fmla="*/ 119062 h 119062"/>
              <a:gd name="connsiteX0" fmla="*/ 111919 w 226219"/>
              <a:gd name="connsiteY0" fmla="*/ 121443 h 121443"/>
              <a:gd name="connsiteX1" fmla="*/ 226219 w 226219"/>
              <a:gd name="connsiteY1" fmla="*/ 58737 h 121443"/>
              <a:gd name="connsiteX2" fmla="*/ 126206 w 226219"/>
              <a:gd name="connsiteY2" fmla="*/ 0 h 121443"/>
              <a:gd name="connsiteX3" fmla="*/ 0 w 226219"/>
              <a:gd name="connsiteY3" fmla="*/ 58737 h 121443"/>
              <a:gd name="connsiteX4" fmla="*/ 111919 w 226219"/>
              <a:gd name="connsiteY4" fmla="*/ 121443 h 121443"/>
              <a:gd name="connsiteX0" fmla="*/ 102394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02394 w 216694"/>
              <a:gd name="connsiteY4" fmla="*/ 121443 h 121443"/>
              <a:gd name="connsiteX0" fmla="*/ 111919 w 216694"/>
              <a:gd name="connsiteY0" fmla="*/ 121443 h 121443"/>
              <a:gd name="connsiteX1" fmla="*/ 216694 w 216694"/>
              <a:gd name="connsiteY1" fmla="*/ 58737 h 121443"/>
              <a:gd name="connsiteX2" fmla="*/ 116681 w 216694"/>
              <a:gd name="connsiteY2" fmla="*/ 0 h 121443"/>
              <a:gd name="connsiteX3" fmla="*/ 0 w 216694"/>
              <a:gd name="connsiteY3" fmla="*/ 65881 h 121443"/>
              <a:gd name="connsiteX4" fmla="*/ 111919 w 216694"/>
              <a:gd name="connsiteY4" fmla="*/ 121443 h 121443"/>
              <a:gd name="connsiteX0" fmla="*/ 123825 w 216694"/>
              <a:gd name="connsiteY0" fmla="*/ 126206 h 126206"/>
              <a:gd name="connsiteX1" fmla="*/ 216694 w 216694"/>
              <a:gd name="connsiteY1" fmla="*/ 58737 h 126206"/>
              <a:gd name="connsiteX2" fmla="*/ 116681 w 216694"/>
              <a:gd name="connsiteY2" fmla="*/ 0 h 126206"/>
              <a:gd name="connsiteX3" fmla="*/ 0 w 216694"/>
              <a:gd name="connsiteY3" fmla="*/ 65881 h 126206"/>
              <a:gd name="connsiteX4" fmla="*/ 123825 w 216694"/>
              <a:gd name="connsiteY4" fmla="*/ 126206 h 126206"/>
              <a:gd name="connsiteX0" fmla="*/ 123825 w 219075"/>
              <a:gd name="connsiteY0" fmla="*/ 126206 h 126206"/>
              <a:gd name="connsiteX1" fmla="*/ 219075 w 219075"/>
              <a:gd name="connsiteY1" fmla="*/ 53974 h 126206"/>
              <a:gd name="connsiteX2" fmla="*/ 116681 w 219075"/>
              <a:gd name="connsiteY2" fmla="*/ 0 h 126206"/>
              <a:gd name="connsiteX3" fmla="*/ 0 w 219075"/>
              <a:gd name="connsiteY3" fmla="*/ 65881 h 126206"/>
              <a:gd name="connsiteX4" fmla="*/ 123825 w 219075"/>
              <a:gd name="connsiteY4" fmla="*/ 126206 h 126206"/>
              <a:gd name="connsiteX0" fmla="*/ 114300 w 219075"/>
              <a:gd name="connsiteY0" fmla="*/ 123825 h 123825"/>
              <a:gd name="connsiteX1" fmla="*/ 219075 w 219075"/>
              <a:gd name="connsiteY1" fmla="*/ 53974 h 123825"/>
              <a:gd name="connsiteX2" fmla="*/ 116681 w 219075"/>
              <a:gd name="connsiteY2" fmla="*/ 0 h 123825"/>
              <a:gd name="connsiteX3" fmla="*/ 0 w 219075"/>
              <a:gd name="connsiteY3" fmla="*/ 65881 h 123825"/>
              <a:gd name="connsiteX4" fmla="*/ 114300 w 219075"/>
              <a:gd name="connsiteY4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075" h="123825">
                <a:moveTo>
                  <a:pt x="114300" y="123825"/>
                </a:moveTo>
                <a:lnTo>
                  <a:pt x="219075" y="53974"/>
                </a:lnTo>
                <a:lnTo>
                  <a:pt x="116681" y="0"/>
                </a:lnTo>
                <a:lnTo>
                  <a:pt x="0" y="65881"/>
                </a:lnTo>
                <a:lnTo>
                  <a:pt x="114300" y="12382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4" name="Rechteck 213"/>
          <p:cNvSpPr/>
          <p:nvPr/>
        </p:nvSpPr>
        <p:spPr bwMode="auto">
          <a:xfrm>
            <a:off x="6711245" y="1665327"/>
            <a:ext cx="2543680" cy="1160421"/>
          </a:xfrm>
          <a:prstGeom prst="rect">
            <a:avLst/>
          </a:prstGeom>
          <a:solidFill>
            <a:schemeClr val="bg1">
              <a:alpha val="62000"/>
            </a:schemeClr>
          </a:solidFill>
          <a:ln w="25400"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74" tIns="53987" rIns="107974" bIns="53987" numCol="1" spcCol="71981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600" b="1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al-Time </a:t>
            </a:r>
            <a:r>
              <a:rPr lang="de-DE" sz="1600" b="1" dirty="0" err="1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miser</a:t>
            </a:r>
            <a:endParaRPr lang="de-DE" sz="1600" b="1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16" name="Group 22"/>
          <p:cNvGrpSpPr>
            <a:grpSpLocks noChangeAspect="1"/>
          </p:cNvGrpSpPr>
          <p:nvPr/>
        </p:nvGrpSpPr>
        <p:grpSpPr bwMode="auto">
          <a:xfrm rot="9884935">
            <a:off x="7575771" y="4619002"/>
            <a:ext cx="635900" cy="459876"/>
            <a:chOff x="2412" y="1277"/>
            <a:chExt cx="914" cy="661"/>
          </a:xfrm>
          <a:solidFill>
            <a:srgbClr val="005F87"/>
          </a:solidFill>
        </p:grpSpPr>
        <p:sp>
          <p:nvSpPr>
            <p:cNvPr id="217" name="Oval 23"/>
            <p:cNvSpPr>
              <a:spLocks noChangeArrowheads="1"/>
            </p:cNvSpPr>
            <p:nvPr/>
          </p:nvSpPr>
          <p:spPr bwMode="auto">
            <a:xfrm>
              <a:off x="2787" y="1773"/>
              <a:ext cx="166" cy="16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18" name="Freeform 24"/>
            <p:cNvSpPr>
              <a:spLocks/>
            </p:cNvSpPr>
            <p:nvPr/>
          </p:nvSpPr>
          <p:spPr bwMode="auto">
            <a:xfrm>
              <a:off x="2412" y="1277"/>
              <a:ext cx="914" cy="276"/>
            </a:xfrm>
            <a:custGeom>
              <a:avLst/>
              <a:gdLst>
                <a:gd name="T0" fmla="*/ 381 w 387"/>
                <a:gd name="T1" fmla="*/ 88 h 117"/>
                <a:gd name="T2" fmla="*/ 194 w 387"/>
                <a:gd name="T3" fmla="*/ 0 h 117"/>
                <a:gd name="T4" fmla="*/ 6 w 387"/>
                <a:gd name="T5" fmla="*/ 88 h 117"/>
                <a:gd name="T6" fmla="*/ 8 w 387"/>
                <a:gd name="T7" fmla="*/ 113 h 117"/>
                <a:gd name="T8" fmla="*/ 19 w 387"/>
                <a:gd name="T9" fmla="*/ 117 h 117"/>
                <a:gd name="T10" fmla="*/ 33 w 387"/>
                <a:gd name="T11" fmla="*/ 111 h 117"/>
                <a:gd name="T12" fmla="*/ 194 w 387"/>
                <a:gd name="T13" fmla="*/ 35 h 117"/>
                <a:gd name="T14" fmla="*/ 354 w 387"/>
                <a:gd name="T15" fmla="*/ 110 h 117"/>
                <a:gd name="T16" fmla="*/ 368 w 387"/>
                <a:gd name="T17" fmla="*/ 117 h 117"/>
                <a:gd name="T18" fmla="*/ 379 w 387"/>
                <a:gd name="T19" fmla="*/ 113 h 117"/>
                <a:gd name="T20" fmla="*/ 381 w 387"/>
                <a:gd name="T21" fmla="*/ 8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17">
                  <a:moveTo>
                    <a:pt x="381" y="88"/>
                  </a:moveTo>
                  <a:cubicBezTo>
                    <a:pt x="334" y="32"/>
                    <a:pt x="266" y="0"/>
                    <a:pt x="194" y="0"/>
                  </a:cubicBezTo>
                  <a:cubicBezTo>
                    <a:pt x="121" y="0"/>
                    <a:pt x="53" y="32"/>
                    <a:pt x="6" y="88"/>
                  </a:cubicBezTo>
                  <a:cubicBezTo>
                    <a:pt x="0" y="95"/>
                    <a:pt x="1" y="106"/>
                    <a:pt x="8" y="113"/>
                  </a:cubicBezTo>
                  <a:cubicBezTo>
                    <a:pt x="12" y="115"/>
                    <a:pt x="16" y="117"/>
                    <a:pt x="19" y="117"/>
                  </a:cubicBezTo>
                  <a:cubicBezTo>
                    <a:pt x="25" y="117"/>
                    <a:pt x="29" y="115"/>
                    <a:pt x="33" y="111"/>
                  </a:cubicBezTo>
                  <a:cubicBezTo>
                    <a:pt x="73" y="63"/>
                    <a:pt x="132" y="35"/>
                    <a:pt x="194" y="35"/>
                  </a:cubicBezTo>
                  <a:cubicBezTo>
                    <a:pt x="256" y="35"/>
                    <a:pt x="314" y="63"/>
                    <a:pt x="354" y="110"/>
                  </a:cubicBezTo>
                  <a:cubicBezTo>
                    <a:pt x="358" y="115"/>
                    <a:pt x="363" y="117"/>
                    <a:pt x="368" y="117"/>
                  </a:cubicBezTo>
                  <a:cubicBezTo>
                    <a:pt x="372" y="117"/>
                    <a:pt x="376" y="115"/>
                    <a:pt x="379" y="113"/>
                  </a:cubicBezTo>
                  <a:cubicBezTo>
                    <a:pt x="386" y="106"/>
                    <a:pt x="387" y="95"/>
                    <a:pt x="38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19" name="Freeform 25"/>
            <p:cNvSpPr>
              <a:spLocks/>
            </p:cNvSpPr>
            <p:nvPr/>
          </p:nvSpPr>
          <p:spPr bwMode="auto">
            <a:xfrm>
              <a:off x="2537" y="1442"/>
              <a:ext cx="664" cy="218"/>
            </a:xfrm>
            <a:custGeom>
              <a:avLst/>
              <a:gdLst>
                <a:gd name="T0" fmla="*/ 141 w 281"/>
                <a:gd name="T1" fmla="*/ 0 h 92"/>
                <a:gd name="T2" fmla="*/ 7 w 281"/>
                <a:gd name="T3" fmla="*/ 63 h 92"/>
                <a:gd name="T4" fmla="*/ 9 w 281"/>
                <a:gd name="T5" fmla="*/ 88 h 92"/>
                <a:gd name="T6" fmla="*/ 20 w 281"/>
                <a:gd name="T7" fmla="*/ 92 h 92"/>
                <a:gd name="T8" fmla="*/ 33 w 281"/>
                <a:gd name="T9" fmla="*/ 85 h 92"/>
                <a:gd name="T10" fmla="*/ 141 w 281"/>
                <a:gd name="T11" fmla="*/ 35 h 92"/>
                <a:gd name="T12" fmla="*/ 248 w 281"/>
                <a:gd name="T13" fmla="*/ 85 h 92"/>
                <a:gd name="T14" fmla="*/ 261 w 281"/>
                <a:gd name="T15" fmla="*/ 92 h 92"/>
                <a:gd name="T16" fmla="*/ 272 w 281"/>
                <a:gd name="T17" fmla="*/ 88 h 92"/>
                <a:gd name="T18" fmla="*/ 275 w 281"/>
                <a:gd name="T19" fmla="*/ 63 h 92"/>
                <a:gd name="T20" fmla="*/ 141 w 281"/>
                <a:gd name="T2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1" h="92">
                  <a:moveTo>
                    <a:pt x="141" y="0"/>
                  </a:moveTo>
                  <a:cubicBezTo>
                    <a:pt x="89" y="0"/>
                    <a:pt x="40" y="23"/>
                    <a:pt x="7" y="63"/>
                  </a:cubicBezTo>
                  <a:cubicBezTo>
                    <a:pt x="0" y="70"/>
                    <a:pt x="1" y="81"/>
                    <a:pt x="9" y="88"/>
                  </a:cubicBezTo>
                  <a:cubicBezTo>
                    <a:pt x="12" y="90"/>
                    <a:pt x="16" y="92"/>
                    <a:pt x="20" y="92"/>
                  </a:cubicBezTo>
                  <a:cubicBezTo>
                    <a:pt x="25" y="92"/>
                    <a:pt x="30" y="90"/>
                    <a:pt x="33" y="85"/>
                  </a:cubicBezTo>
                  <a:cubicBezTo>
                    <a:pt x="60" y="54"/>
                    <a:pt x="99" y="35"/>
                    <a:pt x="141" y="35"/>
                  </a:cubicBezTo>
                  <a:cubicBezTo>
                    <a:pt x="182" y="35"/>
                    <a:pt x="221" y="54"/>
                    <a:pt x="248" y="85"/>
                  </a:cubicBezTo>
                  <a:cubicBezTo>
                    <a:pt x="251" y="90"/>
                    <a:pt x="256" y="92"/>
                    <a:pt x="261" y="92"/>
                  </a:cubicBezTo>
                  <a:cubicBezTo>
                    <a:pt x="265" y="92"/>
                    <a:pt x="269" y="90"/>
                    <a:pt x="272" y="88"/>
                  </a:cubicBezTo>
                  <a:cubicBezTo>
                    <a:pt x="280" y="81"/>
                    <a:pt x="281" y="70"/>
                    <a:pt x="275" y="63"/>
                  </a:cubicBezTo>
                  <a:cubicBezTo>
                    <a:pt x="241" y="23"/>
                    <a:pt x="192" y="0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20" name="Freeform 26"/>
            <p:cNvSpPr>
              <a:spLocks/>
            </p:cNvSpPr>
            <p:nvPr/>
          </p:nvSpPr>
          <p:spPr bwMode="auto">
            <a:xfrm>
              <a:off x="2665" y="1608"/>
              <a:ext cx="408" cy="158"/>
            </a:xfrm>
            <a:custGeom>
              <a:avLst/>
              <a:gdLst>
                <a:gd name="T0" fmla="*/ 87 w 173"/>
                <a:gd name="T1" fmla="*/ 0 h 67"/>
                <a:gd name="T2" fmla="*/ 6 w 173"/>
                <a:gd name="T3" fmla="*/ 38 h 67"/>
                <a:gd name="T4" fmla="*/ 8 w 173"/>
                <a:gd name="T5" fmla="*/ 63 h 67"/>
                <a:gd name="T6" fmla="*/ 20 w 173"/>
                <a:gd name="T7" fmla="*/ 67 h 67"/>
                <a:gd name="T8" fmla="*/ 33 w 173"/>
                <a:gd name="T9" fmla="*/ 60 h 67"/>
                <a:gd name="T10" fmla="*/ 87 w 173"/>
                <a:gd name="T11" fmla="*/ 35 h 67"/>
                <a:gd name="T12" fmla="*/ 140 w 173"/>
                <a:gd name="T13" fmla="*/ 60 h 67"/>
                <a:gd name="T14" fmla="*/ 154 w 173"/>
                <a:gd name="T15" fmla="*/ 67 h 67"/>
                <a:gd name="T16" fmla="*/ 165 w 173"/>
                <a:gd name="T17" fmla="*/ 63 h 67"/>
                <a:gd name="T18" fmla="*/ 167 w 173"/>
                <a:gd name="T19" fmla="*/ 38 h 67"/>
                <a:gd name="T20" fmla="*/ 87 w 173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67">
                  <a:moveTo>
                    <a:pt x="87" y="0"/>
                  </a:moveTo>
                  <a:cubicBezTo>
                    <a:pt x="56" y="0"/>
                    <a:pt x="26" y="14"/>
                    <a:pt x="6" y="38"/>
                  </a:cubicBezTo>
                  <a:cubicBezTo>
                    <a:pt x="0" y="45"/>
                    <a:pt x="1" y="56"/>
                    <a:pt x="8" y="63"/>
                  </a:cubicBezTo>
                  <a:cubicBezTo>
                    <a:pt x="12" y="65"/>
                    <a:pt x="16" y="67"/>
                    <a:pt x="20" y="67"/>
                  </a:cubicBezTo>
                  <a:cubicBezTo>
                    <a:pt x="25" y="67"/>
                    <a:pt x="30" y="65"/>
                    <a:pt x="33" y="60"/>
                  </a:cubicBezTo>
                  <a:cubicBezTo>
                    <a:pt x="46" y="44"/>
                    <a:pt x="66" y="35"/>
                    <a:pt x="87" y="35"/>
                  </a:cubicBezTo>
                  <a:cubicBezTo>
                    <a:pt x="107" y="35"/>
                    <a:pt x="127" y="44"/>
                    <a:pt x="140" y="60"/>
                  </a:cubicBezTo>
                  <a:cubicBezTo>
                    <a:pt x="144" y="65"/>
                    <a:pt x="149" y="67"/>
                    <a:pt x="154" y="67"/>
                  </a:cubicBezTo>
                  <a:cubicBezTo>
                    <a:pt x="158" y="67"/>
                    <a:pt x="162" y="65"/>
                    <a:pt x="165" y="63"/>
                  </a:cubicBezTo>
                  <a:cubicBezTo>
                    <a:pt x="172" y="56"/>
                    <a:pt x="173" y="45"/>
                    <a:pt x="167" y="38"/>
                  </a:cubicBezTo>
                  <a:cubicBezTo>
                    <a:pt x="147" y="14"/>
                    <a:pt x="118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21" name="Line 27"/>
            <p:cNvSpPr>
              <a:spLocks noChangeShapeType="1"/>
            </p:cNvSpPr>
            <p:nvPr/>
          </p:nvSpPr>
          <p:spPr bwMode="auto">
            <a:xfrm>
              <a:off x="2870" y="16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22" name="Line 28"/>
            <p:cNvSpPr>
              <a:spLocks noChangeShapeType="1"/>
            </p:cNvSpPr>
            <p:nvPr/>
          </p:nvSpPr>
          <p:spPr bwMode="auto">
            <a:xfrm>
              <a:off x="2870" y="16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</p:grpSp>
      <p:grpSp>
        <p:nvGrpSpPr>
          <p:cNvPr id="237" name="Group 22"/>
          <p:cNvGrpSpPr>
            <a:grpSpLocks noChangeAspect="1"/>
          </p:cNvGrpSpPr>
          <p:nvPr/>
        </p:nvGrpSpPr>
        <p:grpSpPr bwMode="auto">
          <a:xfrm rot="9531180">
            <a:off x="9491128" y="5639435"/>
            <a:ext cx="635900" cy="459876"/>
            <a:chOff x="2412" y="1277"/>
            <a:chExt cx="914" cy="661"/>
          </a:xfrm>
          <a:solidFill>
            <a:srgbClr val="005F87"/>
          </a:solidFill>
        </p:grpSpPr>
        <p:sp>
          <p:nvSpPr>
            <p:cNvPr id="238" name="Oval 23"/>
            <p:cNvSpPr>
              <a:spLocks noChangeArrowheads="1"/>
            </p:cNvSpPr>
            <p:nvPr/>
          </p:nvSpPr>
          <p:spPr bwMode="auto">
            <a:xfrm>
              <a:off x="2787" y="1773"/>
              <a:ext cx="166" cy="16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39" name="Freeform 24"/>
            <p:cNvSpPr>
              <a:spLocks/>
            </p:cNvSpPr>
            <p:nvPr/>
          </p:nvSpPr>
          <p:spPr bwMode="auto">
            <a:xfrm>
              <a:off x="2412" y="1277"/>
              <a:ext cx="914" cy="276"/>
            </a:xfrm>
            <a:custGeom>
              <a:avLst/>
              <a:gdLst>
                <a:gd name="T0" fmla="*/ 381 w 387"/>
                <a:gd name="T1" fmla="*/ 88 h 117"/>
                <a:gd name="T2" fmla="*/ 194 w 387"/>
                <a:gd name="T3" fmla="*/ 0 h 117"/>
                <a:gd name="T4" fmla="*/ 6 w 387"/>
                <a:gd name="T5" fmla="*/ 88 h 117"/>
                <a:gd name="T6" fmla="*/ 8 w 387"/>
                <a:gd name="T7" fmla="*/ 113 h 117"/>
                <a:gd name="T8" fmla="*/ 19 w 387"/>
                <a:gd name="T9" fmla="*/ 117 h 117"/>
                <a:gd name="T10" fmla="*/ 33 w 387"/>
                <a:gd name="T11" fmla="*/ 111 h 117"/>
                <a:gd name="T12" fmla="*/ 194 w 387"/>
                <a:gd name="T13" fmla="*/ 35 h 117"/>
                <a:gd name="T14" fmla="*/ 354 w 387"/>
                <a:gd name="T15" fmla="*/ 110 h 117"/>
                <a:gd name="T16" fmla="*/ 368 w 387"/>
                <a:gd name="T17" fmla="*/ 117 h 117"/>
                <a:gd name="T18" fmla="*/ 379 w 387"/>
                <a:gd name="T19" fmla="*/ 113 h 117"/>
                <a:gd name="T20" fmla="*/ 381 w 387"/>
                <a:gd name="T21" fmla="*/ 8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17">
                  <a:moveTo>
                    <a:pt x="381" y="88"/>
                  </a:moveTo>
                  <a:cubicBezTo>
                    <a:pt x="334" y="32"/>
                    <a:pt x="266" y="0"/>
                    <a:pt x="194" y="0"/>
                  </a:cubicBezTo>
                  <a:cubicBezTo>
                    <a:pt x="121" y="0"/>
                    <a:pt x="53" y="32"/>
                    <a:pt x="6" y="88"/>
                  </a:cubicBezTo>
                  <a:cubicBezTo>
                    <a:pt x="0" y="95"/>
                    <a:pt x="1" y="106"/>
                    <a:pt x="8" y="113"/>
                  </a:cubicBezTo>
                  <a:cubicBezTo>
                    <a:pt x="12" y="115"/>
                    <a:pt x="16" y="117"/>
                    <a:pt x="19" y="117"/>
                  </a:cubicBezTo>
                  <a:cubicBezTo>
                    <a:pt x="25" y="117"/>
                    <a:pt x="29" y="115"/>
                    <a:pt x="33" y="111"/>
                  </a:cubicBezTo>
                  <a:cubicBezTo>
                    <a:pt x="73" y="63"/>
                    <a:pt x="132" y="35"/>
                    <a:pt x="194" y="35"/>
                  </a:cubicBezTo>
                  <a:cubicBezTo>
                    <a:pt x="256" y="35"/>
                    <a:pt x="314" y="63"/>
                    <a:pt x="354" y="110"/>
                  </a:cubicBezTo>
                  <a:cubicBezTo>
                    <a:pt x="358" y="115"/>
                    <a:pt x="363" y="117"/>
                    <a:pt x="368" y="117"/>
                  </a:cubicBezTo>
                  <a:cubicBezTo>
                    <a:pt x="372" y="117"/>
                    <a:pt x="376" y="115"/>
                    <a:pt x="379" y="113"/>
                  </a:cubicBezTo>
                  <a:cubicBezTo>
                    <a:pt x="386" y="106"/>
                    <a:pt x="387" y="95"/>
                    <a:pt x="38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40" name="Freeform 25"/>
            <p:cNvSpPr>
              <a:spLocks/>
            </p:cNvSpPr>
            <p:nvPr/>
          </p:nvSpPr>
          <p:spPr bwMode="auto">
            <a:xfrm>
              <a:off x="2537" y="1442"/>
              <a:ext cx="664" cy="218"/>
            </a:xfrm>
            <a:custGeom>
              <a:avLst/>
              <a:gdLst>
                <a:gd name="T0" fmla="*/ 141 w 281"/>
                <a:gd name="T1" fmla="*/ 0 h 92"/>
                <a:gd name="T2" fmla="*/ 7 w 281"/>
                <a:gd name="T3" fmla="*/ 63 h 92"/>
                <a:gd name="T4" fmla="*/ 9 w 281"/>
                <a:gd name="T5" fmla="*/ 88 h 92"/>
                <a:gd name="T6" fmla="*/ 20 w 281"/>
                <a:gd name="T7" fmla="*/ 92 h 92"/>
                <a:gd name="T8" fmla="*/ 33 w 281"/>
                <a:gd name="T9" fmla="*/ 85 h 92"/>
                <a:gd name="T10" fmla="*/ 141 w 281"/>
                <a:gd name="T11" fmla="*/ 35 h 92"/>
                <a:gd name="T12" fmla="*/ 248 w 281"/>
                <a:gd name="T13" fmla="*/ 85 h 92"/>
                <a:gd name="T14" fmla="*/ 261 w 281"/>
                <a:gd name="T15" fmla="*/ 92 h 92"/>
                <a:gd name="T16" fmla="*/ 272 w 281"/>
                <a:gd name="T17" fmla="*/ 88 h 92"/>
                <a:gd name="T18" fmla="*/ 275 w 281"/>
                <a:gd name="T19" fmla="*/ 63 h 92"/>
                <a:gd name="T20" fmla="*/ 141 w 281"/>
                <a:gd name="T2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1" h="92">
                  <a:moveTo>
                    <a:pt x="141" y="0"/>
                  </a:moveTo>
                  <a:cubicBezTo>
                    <a:pt x="89" y="0"/>
                    <a:pt x="40" y="23"/>
                    <a:pt x="7" y="63"/>
                  </a:cubicBezTo>
                  <a:cubicBezTo>
                    <a:pt x="0" y="70"/>
                    <a:pt x="1" y="81"/>
                    <a:pt x="9" y="88"/>
                  </a:cubicBezTo>
                  <a:cubicBezTo>
                    <a:pt x="12" y="90"/>
                    <a:pt x="16" y="92"/>
                    <a:pt x="20" y="92"/>
                  </a:cubicBezTo>
                  <a:cubicBezTo>
                    <a:pt x="25" y="92"/>
                    <a:pt x="30" y="90"/>
                    <a:pt x="33" y="85"/>
                  </a:cubicBezTo>
                  <a:cubicBezTo>
                    <a:pt x="60" y="54"/>
                    <a:pt x="99" y="35"/>
                    <a:pt x="141" y="35"/>
                  </a:cubicBezTo>
                  <a:cubicBezTo>
                    <a:pt x="182" y="35"/>
                    <a:pt x="221" y="54"/>
                    <a:pt x="248" y="85"/>
                  </a:cubicBezTo>
                  <a:cubicBezTo>
                    <a:pt x="251" y="90"/>
                    <a:pt x="256" y="92"/>
                    <a:pt x="261" y="92"/>
                  </a:cubicBezTo>
                  <a:cubicBezTo>
                    <a:pt x="265" y="92"/>
                    <a:pt x="269" y="90"/>
                    <a:pt x="272" y="88"/>
                  </a:cubicBezTo>
                  <a:cubicBezTo>
                    <a:pt x="280" y="81"/>
                    <a:pt x="281" y="70"/>
                    <a:pt x="275" y="63"/>
                  </a:cubicBezTo>
                  <a:cubicBezTo>
                    <a:pt x="241" y="23"/>
                    <a:pt x="192" y="0"/>
                    <a:pt x="1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41" name="Freeform 26"/>
            <p:cNvSpPr>
              <a:spLocks/>
            </p:cNvSpPr>
            <p:nvPr/>
          </p:nvSpPr>
          <p:spPr bwMode="auto">
            <a:xfrm>
              <a:off x="2665" y="1608"/>
              <a:ext cx="408" cy="158"/>
            </a:xfrm>
            <a:custGeom>
              <a:avLst/>
              <a:gdLst>
                <a:gd name="T0" fmla="*/ 87 w 173"/>
                <a:gd name="T1" fmla="*/ 0 h 67"/>
                <a:gd name="T2" fmla="*/ 6 w 173"/>
                <a:gd name="T3" fmla="*/ 38 h 67"/>
                <a:gd name="T4" fmla="*/ 8 w 173"/>
                <a:gd name="T5" fmla="*/ 63 h 67"/>
                <a:gd name="T6" fmla="*/ 20 w 173"/>
                <a:gd name="T7" fmla="*/ 67 h 67"/>
                <a:gd name="T8" fmla="*/ 33 w 173"/>
                <a:gd name="T9" fmla="*/ 60 h 67"/>
                <a:gd name="T10" fmla="*/ 87 w 173"/>
                <a:gd name="T11" fmla="*/ 35 h 67"/>
                <a:gd name="T12" fmla="*/ 140 w 173"/>
                <a:gd name="T13" fmla="*/ 60 h 67"/>
                <a:gd name="T14" fmla="*/ 154 w 173"/>
                <a:gd name="T15" fmla="*/ 67 h 67"/>
                <a:gd name="T16" fmla="*/ 165 w 173"/>
                <a:gd name="T17" fmla="*/ 63 h 67"/>
                <a:gd name="T18" fmla="*/ 167 w 173"/>
                <a:gd name="T19" fmla="*/ 38 h 67"/>
                <a:gd name="T20" fmla="*/ 87 w 173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3" h="67">
                  <a:moveTo>
                    <a:pt x="87" y="0"/>
                  </a:moveTo>
                  <a:cubicBezTo>
                    <a:pt x="56" y="0"/>
                    <a:pt x="26" y="14"/>
                    <a:pt x="6" y="38"/>
                  </a:cubicBezTo>
                  <a:cubicBezTo>
                    <a:pt x="0" y="45"/>
                    <a:pt x="1" y="56"/>
                    <a:pt x="8" y="63"/>
                  </a:cubicBezTo>
                  <a:cubicBezTo>
                    <a:pt x="12" y="65"/>
                    <a:pt x="16" y="67"/>
                    <a:pt x="20" y="67"/>
                  </a:cubicBezTo>
                  <a:cubicBezTo>
                    <a:pt x="25" y="67"/>
                    <a:pt x="30" y="65"/>
                    <a:pt x="33" y="60"/>
                  </a:cubicBezTo>
                  <a:cubicBezTo>
                    <a:pt x="46" y="44"/>
                    <a:pt x="66" y="35"/>
                    <a:pt x="87" y="35"/>
                  </a:cubicBezTo>
                  <a:cubicBezTo>
                    <a:pt x="107" y="35"/>
                    <a:pt x="127" y="44"/>
                    <a:pt x="140" y="60"/>
                  </a:cubicBezTo>
                  <a:cubicBezTo>
                    <a:pt x="144" y="65"/>
                    <a:pt x="149" y="67"/>
                    <a:pt x="154" y="67"/>
                  </a:cubicBezTo>
                  <a:cubicBezTo>
                    <a:pt x="158" y="67"/>
                    <a:pt x="162" y="65"/>
                    <a:pt x="165" y="63"/>
                  </a:cubicBezTo>
                  <a:cubicBezTo>
                    <a:pt x="172" y="56"/>
                    <a:pt x="173" y="45"/>
                    <a:pt x="167" y="38"/>
                  </a:cubicBezTo>
                  <a:cubicBezTo>
                    <a:pt x="147" y="14"/>
                    <a:pt x="118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42" name="Line 27"/>
            <p:cNvSpPr>
              <a:spLocks noChangeShapeType="1"/>
            </p:cNvSpPr>
            <p:nvPr/>
          </p:nvSpPr>
          <p:spPr bwMode="auto">
            <a:xfrm>
              <a:off x="2870" y="16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  <p:sp>
          <p:nvSpPr>
            <p:cNvPr id="243" name="Line 28"/>
            <p:cNvSpPr>
              <a:spLocks noChangeShapeType="1"/>
            </p:cNvSpPr>
            <p:nvPr/>
          </p:nvSpPr>
          <p:spPr bwMode="auto">
            <a:xfrm>
              <a:off x="2870" y="160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ADBECB"/>
                </a:solidFill>
              </a:endParaRPr>
            </a:p>
          </p:txBody>
        </p:sp>
      </p:grpSp>
      <p:sp>
        <p:nvSpPr>
          <p:cNvPr id="245" name="Rechteck 244"/>
          <p:cNvSpPr/>
          <p:nvPr/>
        </p:nvSpPr>
        <p:spPr bwMode="auto">
          <a:xfrm>
            <a:off x="6711349" y="2825749"/>
            <a:ext cx="2543680" cy="560743"/>
          </a:xfrm>
          <a:prstGeom prst="rect">
            <a:avLst/>
          </a:prstGeom>
          <a:solidFill>
            <a:schemeClr val="bg1">
              <a:alpha val="62000"/>
            </a:schemeClr>
          </a:solidFill>
          <a:ln w="25400">
            <a:solidFill>
              <a:schemeClr val="accent3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TC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sic</a:t>
            </a:r>
            <a:r>
              <a:rPr lang="de-DE" sz="12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ystem</a:t>
            </a:r>
            <a:endParaRPr lang="de-DE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66" name="Gruppieren 265"/>
          <p:cNvGrpSpPr/>
          <p:nvPr/>
        </p:nvGrpSpPr>
        <p:grpSpPr>
          <a:xfrm>
            <a:off x="6802243" y="3858271"/>
            <a:ext cx="251991" cy="372633"/>
            <a:chOff x="3594579" y="2390240"/>
            <a:chExt cx="1288080" cy="1904755"/>
          </a:xfrm>
        </p:grpSpPr>
        <p:sp>
          <p:nvSpPr>
            <p:cNvPr id="264" name="Rechteck 263"/>
            <p:cNvSpPr/>
            <p:nvPr/>
          </p:nvSpPr>
          <p:spPr bwMode="auto">
            <a:xfrm>
              <a:off x="3594579" y="2390241"/>
              <a:ext cx="416364" cy="13016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7" name="Rechteck 266"/>
            <p:cNvSpPr/>
            <p:nvPr/>
          </p:nvSpPr>
          <p:spPr bwMode="auto">
            <a:xfrm>
              <a:off x="4090571" y="2390240"/>
              <a:ext cx="792088" cy="13016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8" name="Rechteck 267"/>
            <p:cNvSpPr/>
            <p:nvPr/>
          </p:nvSpPr>
          <p:spPr bwMode="auto">
            <a:xfrm>
              <a:off x="3658523" y="3771676"/>
              <a:ext cx="1148318" cy="5233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9" name="Rechteck 268"/>
            <p:cNvSpPr/>
            <p:nvPr/>
          </p:nvSpPr>
          <p:spPr bwMode="auto">
            <a:xfrm>
              <a:off x="4166087" y="3038245"/>
              <a:ext cx="66595" cy="1747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0" name="Rechteck 269"/>
            <p:cNvSpPr/>
            <p:nvPr/>
          </p:nvSpPr>
          <p:spPr bwMode="auto">
            <a:xfrm>
              <a:off x="3902931" y="3038671"/>
              <a:ext cx="66595" cy="1747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0240" name="Gruppieren 10239"/>
          <p:cNvGrpSpPr/>
          <p:nvPr/>
        </p:nvGrpSpPr>
        <p:grpSpPr>
          <a:xfrm>
            <a:off x="6876648" y="2089659"/>
            <a:ext cx="2287569" cy="663576"/>
            <a:chOff x="6876646" y="2089659"/>
            <a:chExt cx="2287570" cy="663576"/>
          </a:xfrm>
        </p:grpSpPr>
        <p:grpSp>
          <p:nvGrpSpPr>
            <p:cNvPr id="246" name="Group 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8708840" y="2089659"/>
              <a:ext cx="380726" cy="360239"/>
              <a:chOff x="1973" y="174"/>
              <a:chExt cx="3736" cy="3976"/>
            </a:xfrm>
            <a:solidFill>
              <a:srgbClr val="2387AA"/>
            </a:solidFill>
          </p:grpSpPr>
          <p:sp>
            <p:nvSpPr>
              <p:cNvPr id="247" name="Freeform 5"/>
              <p:cNvSpPr>
                <a:spLocks/>
              </p:cNvSpPr>
              <p:nvPr/>
            </p:nvSpPr>
            <p:spPr bwMode="gray">
              <a:xfrm>
                <a:off x="2919" y="174"/>
                <a:ext cx="675" cy="1844"/>
              </a:xfrm>
              <a:custGeom>
                <a:avLst/>
                <a:gdLst>
                  <a:gd name="T0" fmla="*/ 34 w 285"/>
                  <a:gd name="T1" fmla="*/ 326 h 779"/>
                  <a:gd name="T2" fmla="*/ 26 w 285"/>
                  <a:gd name="T3" fmla="*/ 347 h 779"/>
                  <a:gd name="T4" fmla="*/ 26 w 285"/>
                  <a:gd name="T5" fmla="*/ 674 h 779"/>
                  <a:gd name="T6" fmla="*/ 26 w 285"/>
                  <a:gd name="T7" fmla="*/ 690 h 779"/>
                  <a:gd name="T8" fmla="*/ 0 w 285"/>
                  <a:gd name="T9" fmla="*/ 732 h 779"/>
                  <a:gd name="T10" fmla="*/ 47 w 285"/>
                  <a:gd name="T11" fmla="*/ 779 h 779"/>
                  <a:gd name="T12" fmla="*/ 94 w 285"/>
                  <a:gd name="T13" fmla="*/ 732 h 779"/>
                  <a:gd name="T14" fmla="*/ 69 w 285"/>
                  <a:gd name="T15" fmla="*/ 690 h 779"/>
                  <a:gd name="T16" fmla="*/ 70 w 285"/>
                  <a:gd name="T17" fmla="*/ 367 h 779"/>
                  <a:gd name="T18" fmla="*/ 79 w 285"/>
                  <a:gd name="T19" fmla="*/ 339 h 779"/>
                  <a:gd name="T20" fmla="*/ 250 w 285"/>
                  <a:gd name="T21" fmla="*/ 167 h 779"/>
                  <a:gd name="T22" fmla="*/ 253 w 285"/>
                  <a:gd name="T23" fmla="*/ 163 h 779"/>
                  <a:gd name="T24" fmla="*/ 252 w 285"/>
                  <a:gd name="T25" fmla="*/ 164 h 779"/>
                  <a:gd name="T26" fmla="*/ 260 w 285"/>
                  <a:gd name="T27" fmla="*/ 109 h 779"/>
                  <a:gd name="T28" fmla="*/ 260 w 285"/>
                  <a:gd name="T29" fmla="*/ 92 h 779"/>
                  <a:gd name="T30" fmla="*/ 260 w 285"/>
                  <a:gd name="T31" fmla="*/ 89 h 779"/>
                  <a:gd name="T32" fmla="*/ 285 w 285"/>
                  <a:gd name="T33" fmla="*/ 47 h 779"/>
                  <a:gd name="T34" fmla="*/ 239 w 285"/>
                  <a:gd name="T35" fmla="*/ 0 h 779"/>
                  <a:gd name="T36" fmla="*/ 193 w 285"/>
                  <a:gd name="T37" fmla="*/ 47 h 779"/>
                  <a:gd name="T38" fmla="*/ 217 w 285"/>
                  <a:gd name="T39" fmla="*/ 88 h 779"/>
                  <a:gd name="T40" fmla="*/ 217 w 285"/>
                  <a:gd name="T41" fmla="*/ 88 h 779"/>
                  <a:gd name="T42" fmla="*/ 187 w 285"/>
                  <a:gd name="T43" fmla="*/ 171 h 779"/>
                  <a:gd name="T44" fmla="*/ 34 w 285"/>
                  <a:gd name="T45" fmla="*/ 32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5" h="779">
                    <a:moveTo>
                      <a:pt x="34" y="326"/>
                    </a:moveTo>
                    <a:cubicBezTo>
                      <a:pt x="31" y="333"/>
                      <a:pt x="28" y="339"/>
                      <a:pt x="26" y="347"/>
                    </a:cubicBezTo>
                    <a:cubicBezTo>
                      <a:pt x="26" y="364"/>
                      <a:pt x="26" y="657"/>
                      <a:pt x="26" y="674"/>
                    </a:cubicBezTo>
                    <a:cubicBezTo>
                      <a:pt x="26" y="679"/>
                      <a:pt x="26" y="684"/>
                      <a:pt x="26" y="690"/>
                    </a:cubicBezTo>
                    <a:cubicBezTo>
                      <a:pt x="11" y="697"/>
                      <a:pt x="0" y="713"/>
                      <a:pt x="0" y="732"/>
                    </a:cubicBezTo>
                    <a:cubicBezTo>
                      <a:pt x="0" y="758"/>
                      <a:pt x="21" y="779"/>
                      <a:pt x="47" y="779"/>
                    </a:cubicBezTo>
                    <a:cubicBezTo>
                      <a:pt x="73" y="779"/>
                      <a:pt x="94" y="758"/>
                      <a:pt x="94" y="732"/>
                    </a:cubicBezTo>
                    <a:cubicBezTo>
                      <a:pt x="94" y="714"/>
                      <a:pt x="84" y="698"/>
                      <a:pt x="69" y="690"/>
                    </a:cubicBezTo>
                    <a:cubicBezTo>
                      <a:pt x="68" y="675"/>
                      <a:pt x="67" y="384"/>
                      <a:pt x="70" y="367"/>
                    </a:cubicBezTo>
                    <a:cubicBezTo>
                      <a:pt x="65" y="355"/>
                      <a:pt x="71" y="347"/>
                      <a:pt x="79" y="339"/>
                    </a:cubicBezTo>
                    <a:cubicBezTo>
                      <a:pt x="136" y="282"/>
                      <a:pt x="193" y="224"/>
                      <a:pt x="250" y="167"/>
                    </a:cubicBezTo>
                    <a:cubicBezTo>
                      <a:pt x="251" y="166"/>
                      <a:pt x="252" y="165"/>
                      <a:pt x="253" y="163"/>
                    </a:cubicBezTo>
                    <a:cubicBezTo>
                      <a:pt x="253" y="163"/>
                      <a:pt x="253" y="163"/>
                      <a:pt x="252" y="164"/>
                    </a:cubicBezTo>
                    <a:cubicBezTo>
                      <a:pt x="261" y="146"/>
                      <a:pt x="259" y="127"/>
                      <a:pt x="260" y="109"/>
                    </a:cubicBezTo>
                    <a:cubicBezTo>
                      <a:pt x="260" y="103"/>
                      <a:pt x="260" y="97"/>
                      <a:pt x="260" y="92"/>
                    </a:cubicBezTo>
                    <a:cubicBezTo>
                      <a:pt x="260" y="91"/>
                      <a:pt x="260" y="90"/>
                      <a:pt x="260" y="89"/>
                    </a:cubicBezTo>
                    <a:cubicBezTo>
                      <a:pt x="275" y="81"/>
                      <a:pt x="285" y="65"/>
                      <a:pt x="285" y="47"/>
                    </a:cubicBezTo>
                    <a:cubicBezTo>
                      <a:pt x="285" y="21"/>
                      <a:pt x="265" y="0"/>
                      <a:pt x="239" y="0"/>
                    </a:cubicBezTo>
                    <a:cubicBezTo>
                      <a:pt x="214" y="0"/>
                      <a:pt x="193" y="21"/>
                      <a:pt x="193" y="47"/>
                    </a:cubicBezTo>
                    <a:cubicBezTo>
                      <a:pt x="193" y="64"/>
                      <a:pt x="203" y="80"/>
                      <a:pt x="217" y="88"/>
                    </a:cubicBezTo>
                    <a:cubicBezTo>
                      <a:pt x="217" y="88"/>
                      <a:pt x="217" y="88"/>
                      <a:pt x="217" y="88"/>
                    </a:cubicBezTo>
                    <a:cubicBezTo>
                      <a:pt x="224" y="122"/>
                      <a:pt x="213" y="147"/>
                      <a:pt x="187" y="171"/>
                    </a:cubicBezTo>
                    <a:cubicBezTo>
                      <a:pt x="134" y="221"/>
                      <a:pt x="84" y="274"/>
                      <a:pt x="34" y="3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48" name="Freeform 6"/>
              <p:cNvSpPr>
                <a:spLocks noEditPoints="1"/>
              </p:cNvSpPr>
              <p:nvPr/>
            </p:nvSpPr>
            <p:spPr bwMode="gray">
              <a:xfrm>
                <a:off x="4363" y="356"/>
                <a:ext cx="1346" cy="1932"/>
              </a:xfrm>
              <a:custGeom>
                <a:avLst/>
                <a:gdLst>
                  <a:gd name="T0" fmla="*/ 561 w 569"/>
                  <a:gd name="T1" fmla="*/ 679 h 816"/>
                  <a:gd name="T2" fmla="*/ 469 w 569"/>
                  <a:gd name="T3" fmla="*/ 654 h 816"/>
                  <a:gd name="T4" fmla="*/ 407 w 569"/>
                  <a:gd name="T5" fmla="*/ 654 h 816"/>
                  <a:gd name="T6" fmla="*/ 339 w 569"/>
                  <a:gd name="T7" fmla="*/ 654 h 816"/>
                  <a:gd name="T8" fmla="*/ 270 w 569"/>
                  <a:gd name="T9" fmla="*/ 654 h 816"/>
                  <a:gd name="T10" fmla="*/ 184 w 569"/>
                  <a:gd name="T11" fmla="*/ 654 h 816"/>
                  <a:gd name="T12" fmla="*/ 142 w 569"/>
                  <a:gd name="T13" fmla="*/ 620 h 816"/>
                  <a:gd name="T14" fmla="*/ 111 w 569"/>
                  <a:gd name="T15" fmla="*/ 589 h 816"/>
                  <a:gd name="T16" fmla="*/ 78 w 569"/>
                  <a:gd name="T17" fmla="*/ 551 h 816"/>
                  <a:gd name="T18" fmla="*/ 78 w 569"/>
                  <a:gd name="T19" fmla="*/ 482 h 816"/>
                  <a:gd name="T20" fmla="*/ 78 w 569"/>
                  <a:gd name="T21" fmla="*/ 414 h 816"/>
                  <a:gd name="T22" fmla="*/ 131 w 569"/>
                  <a:gd name="T23" fmla="*/ 345 h 816"/>
                  <a:gd name="T24" fmla="*/ 160 w 569"/>
                  <a:gd name="T25" fmla="*/ 262 h 816"/>
                  <a:gd name="T26" fmla="*/ 184 w 569"/>
                  <a:gd name="T27" fmla="*/ 46 h 816"/>
                  <a:gd name="T28" fmla="*/ 94 w 569"/>
                  <a:gd name="T29" fmla="*/ 46 h 816"/>
                  <a:gd name="T30" fmla="*/ 117 w 569"/>
                  <a:gd name="T31" fmla="*/ 259 h 816"/>
                  <a:gd name="T32" fmla="*/ 45 w 569"/>
                  <a:gd name="T33" fmla="*/ 370 h 816"/>
                  <a:gd name="T34" fmla="*/ 35 w 569"/>
                  <a:gd name="T35" fmla="*/ 410 h 816"/>
                  <a:gd name="T36" fmla="*/ 34 w 569"/>
                  <a:gd name="T37" fmla="*/ 479 h 816"/>
                  <a:gd name="T38" fmla="*/ 34 w 569"/>
                  <a:gd name="T39" fmla="*/ 548 h 816"/>
                  <a:gd name="T40" fmla="*/ 56 w 569"/>
                  <a:gd name="T41" fmla="*/ 596 h 816"/>
                  <a:gd name="T42" fmla="*/ 91 w 569"/>
                  <a:gd name="T43" fmla="*/ 630 h 816"/>
                  <a:gd name="T44" fmla="*/ 125 w 569"/>
                  <a:gd name="T45" fmla="*/ 665 h 816"/>
                  <a:gd name="T46" fmla="*/ 159 w 569"/>
                  <a:gd name="T47" fmla="*/ 693 h 816"/>
                  <a:gd name="T48" fmla="*/ 225 w 569"/>
                  <a:gd name="T49" fmla="*/ 696 h 816"/>
                  <a:gd name="T50" fmla="*/ 294 w 569"/>
                  <a:gd name="T51" fmla="*/ 696 h 816"/>
                  <a:gd name="T52" fmla="*/ 362 w 569"/>
                  <a:gd name="T53" fmla="*/ 696 h 816"/>
                  <a:gd name="T54" fmla="*/ 432 w 569"/>
                  <a:gd name="T55" fmla="*/ 696 h 816"/>
                  <a:gd name="T56" fmla="*/ 510 w 569"/>
                  <a:gd name="T57" fmla="*/ 729 h 816"/>
                  <a:gd name="T58" fmla="*/ 433 w 569"/>
                  <a:gd name="T59" fmla="*/ 753 h 816"/>
                  <a:gd name="T60" fmla="*/ 312 w 569"/>
                  <a:gd name="T61" fmla="*/ 753 h 816"/>
                  <a:gd name="T62" fmla="*/ 174 w 569"/>
                  <a:gd name="T63" fmla="*/ 753 h 816"/>
                  <a:gd name="T64" fmla="*/ 126 w 569"/>
                  <a:gd name="T65" fmla="*/ 734 h 816"/>
                  <a:gd name="T66" fmla="*/ 92 w 569"/>
                  <a:gd name="T67" fmla="*/ 701 h 816"/>
                  <a:gd name="T68" fmla="*/ 89 w 569"/>
                  <a:gd name="T69" fmla="*/ 683 h 816"/>
                  <a:gd name="T70" fmla="*/ 0 w 569"/>
                  <a:gd name="T71" fmla="*/ 683 h 816"/>
                  <a:gd name="T72" fmla="*/ 55 w 569"/>
                  <a:gd name="T73" fmla="*/ 725 h 816"/>
                  <a:gd name="T74" fmla="*/ 86 w 569"/>
                  <a:gd name="T75" fmla="*/ 756 h 816"/>
                  <a:gd name="T76" fmla="*/ 122 w 569"/>
                  <a:gd name="T77" fmla="*/ 789 h 816"/>
                  <a:gd name="T78" fmla="*/ 471 w 569"/>
                  <a:gd name="T79" fmla="*/ 796 h 816"/>
                  <a:gd name="T80" fmla="*/ 524 w 569"/>
                  <a:gd name="T81" fmla="*/ 816 h 816"/>
                  <a:gd name="T82" fmla="*/ 526 w 569"/>
                  <a:gd name="T83" fmla="*/ 726 h 816"/>
                  <a:gd name="T84" fmla="*/ 139 w 569"/>
                  <a:gd name="T85" fmla="*/ 19 h 816"/>
                  <a:gd name="T86" fmla="*/ 139 w 569"/>
                  <a:gd name="T87" fmla="*/ 73 h 816"/>
                  <a:gd name="T88" fmla="*/ 44 w 569"/>
                  <a:gd name="T89" fmla="*/ 707 h 816"/>
                  <a:gd name="T90" fmla="*/ 44 w 569"/>
                  <a:gd name="T91" fmla="*/ 658 h 816"/>
                  <a:gd name="T92" fmla="*/ 44 w 569"/>
                  <a:gd name="T93" fmla="*/ 707 h 816"/>
                  <a:gd name="T94" fmla="*/ 498 w 569"/>
                  <a:gd name="T95" fmla="*/ 771 h 816"/>
                  <a:gd name="T96" fmla="*/ 549 w 569"/>
                  <a:gd name="T97" fmla="*/ 771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9" h="816">
                    <a:moveTo>
                      <a:pt x="526" y="726"/>
                    </a:moveTo>
                    <a:cubicBezTo>
                      <a:pt x="546" y="720"/>
                      <a:pt x="561" y="702"/>
                      <a:pt x="561" y="679"/>
                    </a:cubicBezTo>
                    <a:cubicBezTo>
                      <a:pt x="561" y="652"/>
                      <a:pt x="539" y="629"/>
                      <a:pt x="512" y="629"/>
                    </a:cubicBezTo>
                    <a:cubicBezTo>
                      <a:pt x="493" y="629"/>
                      <a:pt x="477" y="640"/>
                      <a:pt x="469" y="654"/>
                    </a:cubicBezTo>
                    <a:cubicBezTo>
                      <a:pt x="466" y="654"/>
                      <a:pt x="464" y="654"/>
                      <a:pt x="462" y="654"/>
                    </a:cubicBezTo>
                    <a:cubicBezTo>
                      <a:pt x="444" y="654"/>
                      <a:pt x="426" y="654"/>
                      <a:pt x="407" y="654"/>
                    </a:cubicBezTo>
                    <a:cubicBezTo>
                      <a:pt x="404" y="654"/>
                      <a:pt x="401" y="654"/>
                      <a:pt x="397" y="654"/>
                    </a:cubicBezTo>
                    <a:cubicBezTo>
                      <a:pt x="377" y="654"/>
                      <a:pt x="358" y="654"/>
                      <a:pt x="339" y="654"/>
                    </a:cubicBezTo>
                    <a:cubicBezTo>
                      <a:pt x="335" y="654"/>
                      <a:pt x="332" y="654"/>
                      <a:pt x="328" y="654"/>
                    </a:cubicBezTo>
                    <a:cubicBezTo>
                      <a:pt x="309" y="654"/>
                      <a:pt x="290" y="654"/>
                      <a:pt x="270" y="654"/>
                    </a:cubicBezTo>
                    <a:cubicBezTo>
                      <a:pt x="267" y="654"/>
                      <a:pt x="263" y="654"/>
                      <a:pt x="259" y="654"/>
                    </a:cubicBezTo>
                    <a:cubicBezTo>
                      <a:pt x="234" y="654"/>
                      <a:pt x="209" y="654"/>
                      <a:pt x="184" y="654"/>
                    </a:cubicBezTo>
                    <a:cubicBezTo>
                      <a:pt x="183" y="654"/>
                      <a:pt x="181" y="654"/>
                      <a:pt x="181" y="654"/>
                    </a:cubicBezTo>
                    <a:cubicBezTo>
                      <a:pt x="162" y="649"/>
                      <a:pt x="155" y="632"/>
                      <a:pt x="142" y="620"/>
                    </a:cubicBezTo>
                    <a:cubicBezTo>
                      <a:pt x="134" y="614"/>
                      <a:pt x="128" y="607"/>
                      <a:pt x="122" y="599"/>
                    </a:cubicBezTo>
                    <a:cubicBezTo>
                      <a:pt x="118" y="596"/>
                      <a:pt x="115" y="593"/>
                      <a:pt x="111" y="589"/>
                    </a:cubicBezTo>
                    <a:cubicBezTo>
                      <a:pt x="102" y="582"/>
                      <a:pt x="94" y="574"/>
                      <a:pt x="87" y="565"/>
                    </a:cubicBezTo>
                    <a:cubicBezTo>
                      <a:pt x="83" y="562"/>
                      <a:pt x="77" y="559"/>
                      <a:pt x="78" y="551"/>
                    </a:cubicBezTo>
                    <a:cubicBezTo>
                      <a:pt x="78" y="534"/>
                      <a:pt x="78" y="517"/>
                      <a:pt x="78" y="500"/>
                    </a:cubicBezTo>
                    <a:cubicBezTo>
                      <a:pt x="78" y="494"/>
                      <a:pt x="78" y="488"/>
                      <a:pt x="78" y="482"/>
                    </a:cubicBezTo>
                    <a:cubicBezTo>
                      <a:pt x="78" y="465"/>
                      <a:pt x="78" y="448"/>
                      <a:pt x="78" y="431"/>
                    </a:cubicBezTo>
                    <a:cubicBezTo>
                      <a:pt x="78" y="425"/>
                      <a:pt x="78" y="419"/>
                      <a:pt x="78" y="414"/>
                    </a:cubicBezTo>
                    <a:cubicBezTo>
                      <a:pt x="75" y="403"/>
                      <a:pt x="78" y="396"/>
                      <a:pt x="86" y="389"/>
                    </a:cubicBezTo>
                    <a:cubicBezTo>
                      <a:pt x="101" y="375"/>
                      <a:pt x="115" y="358"/>
                      <a:pt x="131" y="345"/>
                    </a:cubicBezTo>
                    <a:cubicBezTo>
                      <a:pt x="151" y="327"/>
                      <a:pt x="161" y="306"/>
                      <a:pt x="160" y="280"/>
                    </a:cubicBezTo>
                    <a:cubicBezTo>
                      <a:pt x="160" y="274"/>
                      <a:pt x="160" y="268"/>
                      <a:pt x="160" y="262"/>
                    </a:cubicBezTo>
                    <a:cubicBezTo>
                      <a:pt x="160" y="245"/>
                      <a:pt x="159" y="99"/>
                      <a:pt x="159" y="87"/>
                    </a:cubicBezTo>
                    <a:cubicBezTo>
                      <a:pt x="174" y="79"/>
                      <a:pt x="184" y="64"/>
                      <a:pt x="184" y="46"/>
                    </a:cubicBezTo>
                    <a:cubicBezTo>
                      <a:pt x="184" y="21"/>
                      <a:pt x="164" y="0"/>
                      <a:pt x="139" y="0"/>
                    </a:cubicBezTo>
                    <a:cubicBezTo>
                      <a:pt x="114" y="0"/>
                      <a:pt x="94" y="21"/>
                      <a:pt x="94" y="46"/>
                    </a:cubicBezTo>
                    <a:cubicBezTo>
                      <a:pt x="94" y="64"/>
                      <a:pt x="104" y="79"/>
                      <a:pt x="118" y="86"/>
                    </a:cubicBezTo>
                    <a:cubicBezTo>
                      <a:pt x="117" y="92"/>
                      <a:pt x="118" y="253"/>
                      <a:pt x="117" y="259"/>
                    </a:cubicBezTo>
                    <a:cubicBezTo>
                      <a:pt x="122" y="285"/>
                      <a:pt x="116" y="305"/>
                      <a:pt x="94" y="322"/>
                    </a:cubicBezTo>
                    <a:cubicBezTo>
                      <a:pt x="77" y="336"/>
                      <a:pt x="62" y="355"/>
                      <a:pt x="45" y="370"/>
                    </a:cubicBezTo>
                    <a:cubicBezTo>
                      <a:pt x="39" y="377"/>
                      <a:pt x="34" y="383"/>
                      <a:pt x="34" y="392"/>
                    </a:cubicBezTo>
                    <a:cubicBezTo>
                      <a:pt x="36" y="398"/>
                      <a:pt x="36" y="404"/>
                      <a:pt x="35" y="410"/>
                    </a:cubicBezTo>
                    <a:cubicBezTo>
                      <a:pt x="36" y="428"/>
                      <a:pt x="36" y="445"/>
                      <a:pt x="34" y="462"/>
                    </a:cubicBezTo>
                    <a:cubicBezTo>
                      <a:pt x="36" y="467"/>
                      <a:pt x="36" y="473"/>
                      <a:pt x="34" y="479"/>
                    </a:cubicBezTo>
                    <a:cubicBezTo>
                      <a:pt x="36" y="496"/>
                      <a:pt x="36" y="513"/>
                      <a:pt x="34" y="530"/>
                    </a:cubicBezTo>
                    <a:cubicBezTo>
                      <a:pt x="36" y="536"/>
                      <a:pt x="36" y="542"/>
                      <a:pt x="34" y="548"/>
                    </a:cubicBezTo>
                    <a:cubicBezTo>
                      <a:pt x="37" y="560"/>
                      <a:pt x="31" y="573"/>
                      <a:pt x="43" y="582"/>
                    </a:cubicBezTo>
                    <a:cubicBezTo>
                      <a:pt x="47" y="587"/>
                      <a:pt x="52" y="591"/>
                      <a:pt x="56" y="596"/>
                    </a:cubicBezTo>
                    <a:cubicBezTo>
                      <a:pt x="64" y="603"/>
                      <a:pt x="70" y="610"/>
                      <a:pt x="78" y="616"/>
                    </a:cubicBezTo>
                    <a:cubicBezTo>
                      <a:pt x="82" y="621"/>
                      <a:pt x="86" y="626"/>
                      <a:pt x="91" y="630"/>
                    </a:cubicBezTo>
                    <a:cubicBezTo>
                      <a:pt x="98" y="637"/>
                      <a:pt x="105" y="644"/>
                      <a:pt x="111" y="651"/>
                    </a:cubicBezTo>
                    <a:cubicBezTo>
                      <a:pt x="117" y="655"/>
                      <a:pt x="121" y="660"/>
                      <a:pt x="125" y="665"/>
                    </a:cubicBezTo>
                    <a:cubicBezTo>
                      <a:pt x="133" y="672"/>
                      <a:pt x="142" y="680"/>
                      <a:pt x="150" y="688"/>
                    </a:cubicBezTo>
                    <a:cubicBezTo>
                      <a:pt x="153" y="690"/>
                      <a:pt x="156" y="691"/>
                      <a:pt x="159" y="693"/>
                    </a:cubicBezTo>
                    <a:cubicBezTo>
                      <a:pt x="175" y="697"/>
                      <a:pt x="192" y="694"/>
                      <a:pt x="208" y="696"/>
                    </a:cubicBezTo>
                    <a:cubicBezTo>
                      <a:pt x="214" y="696"/>
                      <a:pt x="219" y="696"/>
                      <a:pt x="225" y="696"/>
                    </a:cubicBezTo>
                    <a:cubicBezTo>
                      <a:pt x="242" y="696"/>
                      <a:pt x="259" y="696"/>
                      <a:pt x="276" y="696"/>
                    </a:cubicBezTo>
                    <a:cubicBezTo>
                      <a:pt x="282" y="696"/>
                      <a:pt x="288" y="696"/>
                      <a:pt x="294" y="696"/>
                    </a:cubicBezTo>
                    <a:cubicBezTo>
                      <a:pt x="311" y="696"/>
                      <a:pt x="328" y="696"/>
                      <a:pt x="346" y="696"/>
                    </a:cubicBezTo>
                    <a:cubicBezTo>
                      <a:pt x="351" y="696"/>
                      <a:pt x="357" y="696"/>
                      <a:pt x="362" y="696"/>
                    </a:cubicBezTo>
                    <a:cubicBezTo>
                      <a:pt x="379" y="696"/>
                      <a:pt x="397" y="696"/>
                      <a:pt x="414" y="696"/>
                    </a:cubicBezTo>
                    <a:cubicBezTo>
                      <a:pt x="420" y="696"/>
                      <a:pt x="426" y="696"/>
                      <a:pt x="432" y="696"/>
                    </a:cubicBezTo>
                    <a:cubicBezTo>
                      <a:pt x="443" y="696"/>
                      <a:pt x="454" y="696"/>
                      <a:pt x="465" y="695"/>
                    </a:cubicBezTo>
                    <a:cubicBezTo>
                      <a:pt x="472" y="714"/>
                      <a:pt x="489" y="728"/>
                      <a:pt x="510" y="729"/>
                    </a:cubicBezTo>
                    <a:cubicBezTo>
                      <a:pt x="498" y="732"/>
                      <a:pt x="488" y="741"/>
                      <a:pt x="483" y="753"/>
                    </a:cubicBezTo>
                    <a:cubicBezTo>
                      <a:pt x="472" y="752"/>
                      <a:pt x="438" y="753"/>
                      <a:pt x="433" y="753"/>
                    </a:cubicBezTo>
                    <a:cubicBezTo>
                      <a:pt x="416" y="753"/>
                      <a:pt x="399" y="753"/>
                      <a:pt x="381" y="753"/>
                    </a:cubicBezTo>
                    <a:cubicBezTo>
                      <a:pt x="376" y="753"/>
                      <a:pt x="329" y="753"/>
                      <a:pt x="312" y="753"/>
                    </a:cubicBezTo>
                    <a:cubicBezTo>
                      <a:pt x="306" y="753"/>
                      <a:pt x="261" y="753"/>
                      <a:pt x="244" y="753"/>
                    </a:cubicBezTo>
                    <a:cubicBezTo>
                      <a:pt x="238" y="753"/>
                      <a:pt x="192" y="753"/>
                      <a:pt x="174" y="753"/>
                    </a:cubicBezTo>
                    <a:cubicBezTo>
                      <a:pt x="169" y="753"/>
                      <a:pt x="163" y="753"/>
                      <a:pt x="157" y="753"/>
                    </a:cubicBezTo>
                    <a:cubicBezTo>
                      <a:pt x="141" y="756"/>
                      <a:pt x="135" y="742"/>
                      <a:pt x="126" y="734"/>
                    </a:cubicBezTo>
                    <a:cubicBezTo>
                      <a:pt x="121" y="731"/>
                      <a:pt x="117" y="727"/>
                      <a:pt x="113" y="721"/>
                    </a:cubicBezTo>
                    <a:cubicBezTo>
                      <a:pt x="106" y="715"/>
                      <a:pt x="99" y="707"/>
                      <a:pt x="92" y="701"/>
                    </a:cubicBezTo>
                    <a:cubicBezTo>
                      <a:pt x="90" y="700"/>
                      <a:pt x="88" y="698"/>
                      <a:pt x="87" y="697"/>
                    </a:cubicBezTo>
                    <a:cubicBezTo>
                      <a:pt x="88" y="692"/>
                      <a:pt x="89" y="688"/>
                      <a:pt x="89" y="683"/>
                    </a:cubicBezTo>
                    <a:cubicBezTo>
                      <a:pt x="89" y="659"/>
                      <a:pt x="69" y="639"/>
                      <a:pt x="44" y="639"/>
                    </a:cubicBezTo>
                    <a:cubicBezTo>
                      <a:pt x="20" y="639"/>
                      <a:pt x="0" y="659"/>
                      <a:pt x="0" y="683"/>
                    </a:cubicBezTo>
                    <a:cubicBezTo>
                      <a:pt x="0" y="707"/>
                      <a:pt x="20" y="726"/>
                      <a:pt x="44" y="726"/>
                    </a:cubicBezTo>
                    <a:cubicBezTo>
                      <a:pt x="48" y="726"/>
                      <a:pt x="52" y="726"/>
                      <a:pt x="55" y="725"/>
                    </a:cubicBezTo>
                    <a:cubicBezTo>
                      <a:pt x="56" y="726"/>
                      <a:pt x="57" y="727"/>
                      <a:pt x="58" y="728"/>
                    </a:cubicBezTo>
                    <a:cubicBezTo>
                      <a:pt x="68" y="736"/>
                      <a:pt x="78" y="745"/>
                      <a:pt x="86" y="756"/>
                    </a:cubicBezTo>
                    <a:cubicBezTo>
                      <a:pt x="88" y="758"/>
                      <a:pt x="90" y="760"/>
                      <a:pt x="93" y="762"/>
                    </a:cubicBezTo>
                    <a:cubicBezTo>
                      <a:pt x="102" y="771"/>
                      <a:pt x="112" y="780"/>
                      <a:pt x="122" y="789"/>
                    </a:cubicBezTo>
                    <a:cubicBezTo>
                      <a:pt x="124" y="790"/>
                      <a:pt x="127" y="791"/>
                      <a:pt x="130" y="793"/>
                    </a:cubicBezTo>
                    <a:cubicBezTo>
                      <a:pt x="146" y="794"/>
                      <a:pt x="465" y="793"/>
                      <a:pt x="471" y="796"/>
                    </a:cubicBezTo>
                    <a:cubicBezTo>
                      <a:pt x="476" y="796"/>
                      <a:pt x="481" y="795"/>
                      <a:pt x="486" y="795"/>
                    </a:cubicBezTo>
                    <a:cubicBezTo>
                      <a:pt x="494" y="807"/>
                      <a:pt x="508" y="816"/>
                      <a:pt x="524" y="816"/>
                    </a:cubicBezTo>
                    <a:cubicBezTo>
                      <a:pt x="548" y="816"/>
                      <a:pt x="569" y="796"/>
                      <a:pt x="569" y="771"/>
                    </a:cubicBezTo>
                    <a:cubicBezTo>
                      <a:pt x="569" y="747"/>
                      <a:pt x="549" y="727"/>
                      <a:pt x="526" y="726"/>
                    </a:cubicBezTo>
                    <a:close/>
                    <a:moveTo>
                      <a:pt x="113" y="46"/>
                    </a:moveTo>
                    <a:cubicBezTo>
                      <a:pt x="113" y="31"/>
                      <a:pt x="125" y="19"/>
                      <a:pt x="139" y="19"/>
                    </a:cubicBezTo>
                    <a:cubicBezTo>
                      <a:pt x="153" y="19"/>
                      <a:pt x="164" y="31"/>
                      <a:pt x="164" y="46"/>
                    </a:cubicBezTo>
                    <a:cubicBezTo>
                      <a:pt x="164" y="61"/>
                      <a:pt x="153" y="73"/>
                      <a:pt x="139" y="73"/>
                    </a:cubicBezTo>
                    <a:cubicBezTo>
                      <a:pt x="125" y="73"/>
                      <a:pt x="113" y="61"/>
                      <a:pt x="113" y="46"/>
                    </a:cubicBezTo>
                    <a:close/>
                    <a:moveTo>
                      <a:pt x="44" y="707"/>
                    </a:moveTo>
                    <a:cubicBezTo>
                      <a:pt x="30" y="707"/>
                      <a:pt x="19" y="696"/>
                      <a:pt x="19" y="683"/>
                    </a:cubicBezTo>
                    <a:cubicBezTo>
                      <a:pt x="19" y="669"/>
                      <a:pt x="30" y="658"/>
                      <a:pt x="44" y="658"/>
                    </a:cubicBezTo>
                    <a:cubicBezTo>
                      <a:pt x="58" y="658"/>
                      <a:pt x="70" y="669"/>
                      <a:pt x="70" y="683"/>
                    </a:cubicBezTo>
                    <a:cubicBezTo>
                      <a:pt x="70" y="696"/>
                      <a:pt x="58" y="707"/>
                      <a:pt x="44" y="707"/>
                    </a:cubicBezTo>
                    <a:close/>
                    <a:moveTo>
                      <a:pt x="524" y="796"/>
                    </a:moveTo>
                    <a:cubicBezTo>
                      <a:pt x="510" y="796"/>
                      <a:pt x="498" y="785"/>
                      <a:pt x="498" y="771"/>
                    </a:cubicBezTo>
                    <a:cubicBezTo>
                      <a:pt x="498" y="757"/>
                      <a:pt x="510" y="746"/>
                      <a:pt x="524" y="746"/>
                    </a:cubicBezTo>
                    <a:cubicBezTo>
                      <a:pt x="538" y="746"/>
                      <a:pt x="549" y="757"/>
                      <a:pt x="549" y="771"/>
                    </a:cubicBezTo>
                    <a:cubicBezTo>
                      <a:pt x="549" y="785"/>
                      <a:pt x="538" y="796"/>
                      <a:pt x="524" y="7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49" name="Freeform 7"/>
              <p:cNvSpPr>
                <a:spLocks noEditPoints="1"/>
              </p:cNvSpPr>
              <p:nvPr/>
            </p:nvSpPr>
            <p:spPr bwMode="gray">
              <a:xfrm>
                <a:off x="4580" y="529"/>
                <a:ext cx="469" cy="1110"/>
              </a:xfrm>
              <a:custGeom>
                <a:avLst/>
                <a:gdLst>
                  <a:gd name="T0" fmla="*/ 129 w 198"/>
                  <a:gd name="T1" fmla="*/ 89 h 469"/>
                  <a:gd name="T2" fmla="*/ 128 w 198"/>
                  <a:gd name="T3" fmla="*/ 133 h 469"/>
                  <a:gd name="T4" fmla="*/ 128 w 198"/>
                  <a:gd name="T5" fmla="*/ 151 h 469"/>
                  <a:gd name="T6" fmla="*/ 128 w 198"/>
                  <a:gd name="T7" fmla="*/ 203 h 469"/>
                  <a:gd name="T8" fmla="*/ 128 w 198"/>
                  <a:gd name="T9" fmla="*/ 221 h 469"/>
                  <a:gd name="T10" fmla="*/ 128 w 198"/>
                  <a:gd name="T11" fmla="*/ 272 h 469"/>
                  <a:gd name="T12" fmla="*/ 128 w 198"/>
                  <a:gd name="T13" fmla="*/ 290 h 469"/>
                  <a:gd name="T14" fmla="*/ 117 w 198"/>
                  <a:gd name="T15" fmla="*/ 325 h 469"/>
                  <a:gd name="T16" fmla="*/ 65 w 198"/>
                  <a:gd name="T17" fmla="*/ 378 h 469"/>
                  <a:gd name="T18" fmla="*/ 47 w 198"/>
                  <a:gd name="T19" fmla="*/ 375 h 469"/>
                  <a:gd name="T20" fmla="*/ 0 w 198"/>
                  <a:gd name="T21" fmla="*/ 422 h 469"/>
                  <a:gd name="T22" fmla="*/ 47 w 198"/>
                  <a:gd name="T23" fmla="*/ 469 h 469"/>
                  <a:gd name="T24" fmla="*/ 94 w 198"/>
                  <a:gd name="T25" fmla="*/ 422 h 469"/>
                  <a:gd name="T26" fmla="*/ 92 w 198"/>
                  <a:gd name="T27" fmla="*/ 408 h 469"/>
                  <a:gd name="T28" fmla="*/ 155 w 198"/>
                  <a:gd name="T29" fmla="*/ 345 h 469"/>
                  <a:gd name="T30" fmla="*/ 172 w 198"/>
                  <a:gd name="T31" fmla="*/ 310 h 469"/>
                  <a:gd name="T32" fmla="*/ 172 w 198"/>
                  <a:gd name="T33" fmla="*/ 292 h 469"/>
                  <a:gd name="T34" fmla="*/ 172 w 198"/>
                  <a:gd name="T35" fmla="*/ 241 h 469"/>
                  <a:gd name="T36" fmla="*/ 172 w 198"/>
                  <a:gd name="T37" fmla="*/ 224 h 469"/>
                  <a:gd name="T38" fmla="*/ 172 w 198"/>
                  <a:gd name="T39" fmla="*/ 172 h 469"/>
                  <a:gd name="T40" fmla="*/ 172 w 198"/>
                  <a:gd name="T41" fmla="*/ 154 h 469"/>
                  <a:gd name="T42" fmla="*/ 172 w 198"/>
                  <a:gd name="T43" fmla="*/ 102 h 469"/>
                  <a:gd name="T44" fmla="*/ 172 w 198"/>
                  <a:gd name="T45" fmla="*/ 89 h 469"/>
                  <a:gd name="T46" fmla="*/ 198 w 198"/>
                  <a:gd name="T47" fmla="*/ 47 h 469"/>
                  <a:gd name="T48" fmla="*/ 150 w 198"/>
                  <a:gd name="T49" fmla="*/ 0 h 469"/>
                  <a:gd name="T50" fmla="*/ 101 w 198"/>
                  <a:gd name="T51" fmla="*/ 47 h 469"/>
                  <a:gd name="T52" fmla="*/ 129 w 198"/>
                  <a:gd name="T53" fmla="*/ 89 h 469"/>
                  <a:gd name="T54" fmla="*/ 47 w 198"/>
                  <a:gd name="T55" fmla="*/ 450 h 469"/>
                  <a:gd name="T56" fmla="*/ 19 w 198"/>
                  <a:gd name="T57" fmla="*/ 422 h 469"/>
                  <a:gd name="T58" fmla="*/ 47 w 198"/>
                  <a:gd name="T59" fmla="*/ 394 h 469"/>
                  <a:gd name="T60" fmla="*/ 75 w 198"/>
                  <a:gd name="T61" fmla="*/ 422 h 469"/>
                  <a:gd name="T62" fmla="*/ 47 w 198"/>
                  <a:gd name="T63" fmla="*/ 45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8" h="469">
                    <a:moveTo>
                      <a:pt x="129" y="89"/>
                    </a:moveTo>
                    <a:cubicBezTo>
                      <a:pt x="130" y="104"/>
                      <a:pt x="130" y="119"/>
                      <a:pt x="128" y="133"/>
                    </a:cubicBezTo>
                    <a:cubicBezTo>
                      <a:pt x="130" y="139"/>
                      <a:pt x="130" y="145"/>
                      <a:pt x="128" y="151"/>
                    </a:cubicBezTo>
                    <a:cubicBezTo>
                      <a:pt x="130" y="168"/>
                      <a:pt x="130" y="186"/>
                      <a:pt x="128" y="203"/>
                    </a:cubicBezTo>
                    <a:cubicBezTo>
                      <a:pt x="130" y="209"/>
                      <a:pt x="130" y="215"/>
                      <a:pt x="128" y="221"/>
                    </a:cubicBezTo>
                    <a:cubicBezTo>
                      <a:pt x="130" y="238"/>
                      <a:pt x="130" y="255"/>
                      <a:pt x="128" y="272"/>
                    </a:cubicBezTo>
                    <a:cubicBezTo>
                      <a:pt x="130" y="278"/>
                      <a:pt x="130" y="284"/>
                      <a:pt x="128" y="290"/>
                    </a:cubicBezTo>
                    <a:cubicBezTo>
                      <a:pt x="132" y="304"/>
                      <a:pt x="128" y="315"/>
                      <a:pt x="117" y="325"/>
                    </a:cubicBezTo>
                    <a:cubicBezTo>
                      <a:pt x="99" y="342"/>
                      <a:pt x="82" y="361"/>
                      <a:pt x="65" y="378"/>
                    </a:cubicBezTo>
                    <a:cubicBezTo>
                      <a:pt x="59" y="376"/>
                      <a:pt x="53" y="375"/>
                      <a:pt x="47" y="375"/>
                    </a:cubicBezTo>
                    <a:cubicBezTo>
                      <a:pt x="21" y="375"/>
                      <a:pt x="0" y="396"/>
                      <a:pt x="0" y="422"/>
                    </a:cubicBezTo>
                    <a:cubicBezTo>
                      <a:pt x="0" y="448"/>
                      <a:pt x="21" y="469"/>
                      <a:pt x="47" y="469"/>
                    </a:cubicBezTo>
                    <a:cubicBezTo>
                      <a:pt x="73" y="469"/>
                      <a:pt x="94" y="448"/>
                      <a:pt x="94" y="422"/>
                    </a:cubicBezTo>
                    <a:cubicBezTo>
                      <a:pt x="94" y="417"/>
                      <a:pt x="93" y="413"/>
                      <a:pt x="92" y="408"/>
                    </a:cubicBezTo>
                    <a:cubicBezTo>
                      <a:pt x="113" y="387"/>
                      <a:pt x="134" y="366"/>
                      <a:pt x="155" y="345"/>
                    </a:cubicBezTo>
                    <a:cubicBezTo>
                      <a:pt x="165" y="335"/>
                      <a:pt x="169" y="323"/>
                      <a:pt x="172" y="310"/>
                    </a:cubicBezTo>
                    <a:cubicBezTo>
                      <a:pt x="172" y="304"/>
                      <a:pt x="172" y="298"/>
                      <a:pt x="172" y="292"/>
                    </a:cubicBezTo>
                    <a:cubicBezTo>
                      <a:pt x="172" y="275"/>
                      <a:pt x="172" y="258"/>
                      <a:pt x="172" y="241"/>
                    </a:cubicBezTo>
                    <a:cubicBezTo>
                      <a:pt x="172" y="235"/>
                      <a:pt x="172" y="230"/>
                      <a:pt x="172" y="224"/>
                    </a:cubicBezTo>
                    <a:cubicBezTo>
                      <a:pt x="172" y="207"/>
                      <a:pt x="172" y="189"/>
                      <a:pt x="172" y="172"/>
                    </a:cubicBezTo>
                    <a:cubicBezTo>
                      <a:pt x="172" y="166"/>
                      <a:pt x="172" y="160"/>
                      <a:pt x="172" y="154"/>
                    </a:cubicBezTo>
                    <a:cubicBezTo>
                      <a:pt x="172" y="137"/>
                      <a:pt x="172" y="120"/>
                      <a:pt x="172" y="102"/>
                    </a:cubicBezTo>
                    <a:cubicBezTo>
                      <a:pt x="172" y="98"/>
                      <a:pt x="172" y="93"/>
                      <a:pt x="172" y="89"/>
                    </a:cubicBezTo>
                    <a:cubicBezTo>
                      <a:pt x="187" y="81"/>
                      <a:pt x="198" y="65"/>
                      <a:pt x="198" y="47"/>
                    </a:cubicBezTo>
                    <a:cubicBezTo>
                      <a:pt x="198" y="21"/>
                      <a:pt x="176" y="0"/>
                      <a:pt x="150" y="0"/>
                    </a:cubicBezTo>
                    <a:cubicBezTo>
                      <a:pt x="123" y="0"/>
                      <a:pt x="101" y="21"/>
                      <a:pt x="101" y="47"/>
                    </a:cubicBezTo>
                    <a:cubicBezTo>
                      <a:pt x="101" y="66"/>
                      <a:pt x="113" y="82"/>
                      <a:pt x="129" y="89"/>
                    </a:cubicBezTo>
                    <a:close/>
                    <a:moveTo>
                      <a:pt x="47" y="450"/>
                    </a:moveTo>
                    <a:cubicBezTo>
                      <a:pt x="32" y="450"/>
                      <a:pt x="19" y="437"/>
                      <a:pt x="19" y="422"/>
                    </a:cubicBezTo>
                    <a:cubicBezTo>
                      <a:pt x="19" y="407"/>
                      <a:pt x="32" y="394"/>
                      <a:pt x="47" y="394"/>
                    </a:cubicBezTo>
                    <a:cubicBezTo>
                      <a:pt x="62" y="394"/>
                      <a:pt x="75" y="407"/>
                      <a:pt x="75" y="422"/>
                    </a:cubicBezTo>
                    <a:cubicBezTo>
                      <a:pt x="75" y="437"/>
                      <a:pt x="62" y="450"/>
                      <a:pt x="47" y="4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0" name="Freeform 8"/>
              <p:cNvSpPr>
                <a:spLocks noEditPoints="1"/>
              </p:cNvSpPr>
              <p:nvPr/>
            </p:nvSpPr>
            <p:spPr bwMode="gray">
              <a:xfrm>
                <a:off x="3246" y="2340"/>
                <a:ext cx="920" cy="1803"/>
              </a:xfrm>
              <a:custGeom>
                <a:avLst/>
                <a:gdLst>
                  <a:gd name="T0" fmla="*/ 368 w 389"/>
                  <a:gd name="T1" fmla="*/ 670 h 762"/>
                  <a:gd name="T2" fmla="*/ 368 w 389"/>
                  <a:gd name="T3" fmla="*/ 601 h 762"/>
                  <a:gd name="T4" fmla="*/ 368 w 389"/>
                  <a:gd name="T5" fmla="*/ 531 h 762"/>
                  <a:gd name="T6" fmla="*/ 368 w 389"/>
                  <a:gd name="T7" fmla="*/ 462 h 762"/>
                  <a:gd name="T8" fmla="*/ 368 w 389"/>
                  <a:gd name="T9" fmla="*/ 393 h 762"/>
                  <a:gd name="T10" fmla="*/ 368 w 389"/>
                  <a:gd name="T11" fmla="*/ 324 h 762"/>
                  <a:gd name="T12" fmla="*/ 368 w 389"/>
                  <a:gd name="T13" fmla="*/ 254 h 762"/>
                  <a:gd name="T14" fmla="*/ 368 w 389"/>
                  <a:gd name="T15" fmla="*/ 186 h 762"/>
                  <a:gd name="T16" fmla="*/ 351 w 389"/>
                  <a:gd name="T17" fmla="*/ 134 h 762"/>
                  <a:gd name="T18" fmla="*/ 317 w 389"/>
                  <a:gd name="T19" fmla="*/ 100 h 762"/>
                  <a:gd name="T20" fmla="*/ 282 w 389"/>
                  <a:gd name="T21" fmla="*/ 65 h 762"/>
                  <a:gd name="T22" fmla="*/ 248 w 389"/>
                  <a:gd name="T23" fmla="*/ 31 h 762"/>
                  <a:gd name="T24" fmla="*/ 194 w 389"/>
                  <a:gd name="T25" fmla="*/ 20 h 762"/>
                  <a:gd name="T26" fmla="*/ 125 w 389"/>
                  <a:gd name="T27" fmla="*/ 20 h 762"/>
                  <a:gd name="T28" fmla="*/ 84 w 389"/>
                  <a:gd name="T29" fmla="*/ 20 h 762"/>
                  <a:gd name="T30" fmla="*/ 0 w 389"/>
                  <a:gd name="T31" fmla="*/ 44 h 762"/>
                  <a:gd name="T32" fmla="*/ 87 w 389"/>
                  <a:gd name="T33" fmla="*/ 64 h 762"/>
                  <a:gd name="T34" fmla="*/ 146 w 389"/>
                  <a:gd name="T35" fmla="*/ 64 h 762"/>
                  <a:gd name="T36" fmla="*/ 214 w 389"/>
                  <a:gd name="T37" fmla="*/ 64 h 762"/>
                  <a:gd name="T38" fmla="*/ 254 w 389"/>
                  <a:gd name="T39" fmla="*/ 98 h 762"/>
                  <a:gd name="T40" fmla="*/ 288 w 389"/>
                  <a:gd name="T41" fmla="*/ 133 h 762"/>
                  <a:gd name="T42" fmla="*/ 322 w 389"/>
                  <a:gd name="T43" fmla="*/ 168 h 762"/>
                  <a:gd name="T44" fmla="*/ 325 w 389"/>
                  <a:gd name="T45" fmla="*/ 234 h 762"/>
                  <a:gd name="T46" fmla="*/ 325 w 389"/>
                  <a:gd name="T47" fmla="*/ 303 h 762"/>
                  <a:gd name="T48" fmla="*/ 325 w 389"/>
                  <a:gd name="T49" fmla="*/ 372 h 762"/>
                  <a:gd name="T50" fmla="*/ 325 w 389"/>
                  <a:gd name="T51" fmla="*/ 442 h 762"/>
                  <a:gd name="T52" fmla="*/ 325 w 389"/>
                  <a:gd name="T53" fmla="*/ 510 h 762"/>
                  <a:gd name="T54" fmla="*/ 325 w 389"/>
                  <a:gd name="T55" fmla="*/ 580 h 762"/>
                  <a:gd name="T56" fmla="*/ 325 w 389"/>
                  <a:gd name="T57" fmla="*/ 649 h 762"/>
                  <a:gd name="T58" fmla="*/ 300 w 389"/>
                  <a:gd name="T59" fmla="*/ 716 h 762"/>
                  <a:gd name="T60" fmla="*/ 389 w 389"/>
                  <a:gd name="T61" fmla="*/ 716 h 762"/>
                  <a:gd name="T62" fmla="*/ 46 w 389"/>
                  <a:gd name="T63" fmla="*/ 70 h 762"/>
                  <a:gd name="T64" fmla="*/ 46 w 389"/>
                  <a:gd name="T65" fmla="*/ 19 h 762"/>
                  <a:gd name="T66" fmla="*/ 46 w 389"/>
                  <a:gd name="T67" fmla="*/ 7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9" h="762">
                    <a:moveTo>
                      <a:pt x="367" y="677"/>
                    </a:moveTo>
                    <a:cubicBezTo>
                      <a:pt x="367" y="674"/>
                      <a:pt x="368" y="672"/>
                      <a:pt x="368" y="670"/>
                    </a:cubicBezTo>
                    <a:cubicBezTo>
                      <a:pt x="368" y="664"/>
                      <a:pt x="368" y="658"/>
                      <a:pt x="368" y="652"/>
                    </a:cubicBezTo>
                    <a:cubicBezTo>
                      <a:pt x="368" y="635"/>
                      <a:pt x="368" y="618"/>
                      <a:pt x="368" y="601"/>
                    </a:cubicBezTo>
                    <a:cubicBezTo>
                      <a:pt x="368" y="595"/>
                      <a:pt x="368" y="589"/>
                      <a:pt x="368" y="583"/>
                    </a:cubicBezTo>
                    <a:cubicBezTo>
                      <a:pt x="368" y="566"/>
                      <a:pt x="368" y="548"/>
                      <a:pt x="368" y="531"/>
                    </a:cubicBezTo>
                    <a:cubicBezTo>
                      <a:pt x="368" y="525"/>
                      <a:pt x="368" y="519"/>
                      <a:pt x="368" y="513"/>
                    </a:cubicBezTo>
                    <a:cubicBezTo>
                      <a:pt x="368" y="496"/>
                      <a:pt x="368" y="479"/>
                      <a:pt x="368" y="462"/>
                    </a:cubicBezTo>
                    <a:cubicBezTo>
                      <a:pt x="368" y="456"/>
                      <a:pt x="368" y="451"/>
                      <a:pt x="368" y="445"/>
                    </a:cubicBezTo>
                    <a:cubicBezTo>
                      <a:pt x="368" y="428"/>
                      <a:pt x="368" y="411"/>
                      <a:pt x="368" y="393"/>
                    </a:cubicBezTo>
                    <a:cubicBezTo>
                      <a:pt x="368" y="387"/>
                      <a:pt x="368" y="381"/>
                      <a:pt x="368" y="376"/>
                    </a:cubicBezTo>
                    <a:cubicBezTo>
                      <a:pt x="368" y="358"/>
                      <a:pt x="368" y="341"/>
                      <a:pt x="368" y="324"/>
                    </a:cubicBezTo>
                    <a:cubicBezTo>
                      <a:pt x="368" y="318"/>
                      <a:pt x="368" y="312"/>
                      <a:pt x="368" y="306"/>
                    </a:cubicBezTo>
                    <a:cubicBezTo>
                      <a:pt x="368" y="289"/>
                      <a:pt x="368" y="272"/>
                      <a:pt x="368" y="254"/>
                    </a:cubicBezTo>
                    <a:cubicBezTo>
                      <a:pt x="368" y="249"/>
                      <a:pt x="368" y="243"/>
                      <a:pt x="368" y="237"/>
                    </a:cubicBezTo>
                    <a:cubicBezTo>
                      <a:pt x="368" y="220"/>
                      <a:pt x="368" y="203"/>
                      <a:pt x="368" y="186"/>
                    </a:cubicBezTo>
                    <a:cubicBezTo>
                      <a:pt x="368" y="180"/>
                      <a:pt x="368" y="174"/>
                      <a:pt x="368" y="168"/>
                    </a:cubicBezTo>
                    <a:cubicBezTo>
                      <a:pt x="366" y="155"/>
                      <a:pt x="359" y="144"/>
                      <a:pt x="351" y="134"/>
                    </a:cubicBezTo>
                    <a:cubicBezTo>
                      <a:pt x="348" y="133"/>
                      <a:pt x="346" y="131"/>
                      <a:pt x="345" y="128"/>
                    </a:cubicBezTo>
                    <a:cubicBezTo>
                      <a:pt x="335" y="120"/>
                      <a:pt x="325" y="110"/>
                      <a:pt x="317" y="100"/>
                    </a:cubicBezTo>
                    <a:cubicBezTo>
                      <a:pt x="315" y="97"/>
                      <a:pt x="313" y="95"/>
                      <a:pt x="311" y="93"/>
                    </a:cubicBezTo>
                    <a:cubicBezTo>
                      <a:pt x="300" y="85"/>
                      <a:pt x="291" y="75"/>
                      <a:pt x="282" y="65"/>
                    </a:cubicBezTo>
                    <a:cubicBezTo>
                      <a:pt x="280" y="63"/>
                      <a:pt x="278" y="60"/>
                      <a:pt x="277" y="59"/>
                    </a:cubicBezTo>
                    <a:cubicBezTo>
                      <a:pt x="267" y="49"/>
                      <a:pt x="257" y="40"/>
                      <a:pt x="248" y="31"/>
                    </a:cubicBezTo>
                    <a:cubicBezTo>
                      <a:pt x="244" y="29"/>
                      <a:pt x="240" y="26"/>
                      <a:pt x="237" y="24"/>
                    </a:cubicBezTo>
                    <a:cubicBezTo>
                      <a:pt x="223" y="21"/>
                      <a:pt x="208" y="20"/>
                      <a:pt x="194" y="20"/>
                    </a:cubicBezTo>
                    <a:cubicBezTo>
                      <a:pt x="188" y="20"/>
                      <a:pt x="183" y="20"/>
                      <a:pt x="177" y="19"/>
                    </a:cubicBezTo>
                    <a:cubicBezTo>
                      <a:pt x="159" y="20"/>
                      <a:pt x="142" y="20"/>
                      <a:pt x="125" y="20"/>
                    </a:cubicBezTo>
                    <a:cubicBezTo>
                      <a:pt x="119" y="20"/>
                      <a:pt x="113" y="20"/>
                      <a:pt x="107" y="19"/>
                    </a:cubicBezTo>
                    <a:cubicBezTo>
                      <a:pt x="100" y="19"/>
                      <a:pt x="92" y="20"/>
                      <a:pt x="84" y="20"/>
                    </a:cubicBezTo>
                    <a:cubicBezTo>
                      <a:pt x="76" y="8"/>
                      <a:pt x="62" y="0"/>
                      <a:pt x="46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6" y="89"/>
                    </a:cubicBezTo>
                    <a:cubicBezTo>
                      <a:pt x="64" y="89"/>
                      <a:pt x="80" y="79"/>
                      <a:pt x="87" y="64"/>
                    </a:cubicBezTo>
                    <a:cubicBezTo>
                      <a:pt x="101" y="64"/>
                      <a:pt x="115" y="64"/>
                      <a:pt x="129" y="64"/>
                    </a:cubicBezTo>
                    <a:cubicBezTo>
                      <a:pt x="134" y="64"/>
                      <a:pt x="140" y="64"/>
                      <a:pt x="146" y="64"/>
                    </a:cubicBezTo>
                    <a:cubicBezTo>
                      <a:pt x="163" y="64"/>
                      <a:pt x="180" y="64"/>
                      <a:pt x="197" y="64"/>
                    </a:cubicBezTo>
                    <a:cubicBezTo>
                      <a:pt x="203" y="64"/>
                      <a:pt x="209" y="64"/>
                      <a:pt x="214" y="64"/>
                    </a:cubicBezTo>
                    <a:cubicBezTo>
                      <a:pt x="228" y="67"/>
                      <a:pt x="234" y="79"/>
                      <a:pt x="242" y="88"/>
                    </a:cubicBezTo>
                    <a:cubicBezTo>
                      <a:pt x="246" y="92"/>
                      <a:pt x="250" y="95"/>
                      <a:pt x="254" y="98"/>
                    </a:cubicBezTo>
                    <a:cubicBezTo>
                      <a:pt x="261" y="106"/>
                      <a:pt x="269" y="114"/>
                      <a:pt x="277" y="123"/>
                    </a:cubicBezTo>
                    <a:cubicBezTo>
                      <a:pt x="281" y="126"/>
                      <a:pt x="284" y="129"/>
                      <a:pt x="288" y="133"/>
                    </a:cubicBezTo>
                    <a:cubicBezTo>
                      <a:pt x="296" y="141"/>
                      <a:pt x="304" y="149"/>
                      <a:pt x="312" y="157"/>
                    </a:cubicBezTo>
                    <a:cubicBezTo>
                      <a:pt x="315" y="160"/>
                      <a:pt x="319" y="164"/>
                      <a:pt x="322" y="168"/>
                    </a:cubicBezTo>
                    <a:cubicBezTo>
                      <a:pt x="328" y="184"/>
                      <a:pt x="324" y="200"/>
                      <a:pt x="325" y="217"/>
                    </a:cubicBezTo>
                    <a:cubicBezTo>
                      <a:pt x="325" y="223"/>
                      <a:pt x="325" y="228"/>
                      <a:pt x="325" y="234"/>
                    </a:cubicBezTo>
                    <a:cubicBezTo>
                      <a:pt x="325" y="251"/>
                      <a:pt x="325" y="268"/>
                      <a:pt x="325" y="285"/>
                    </a:cubicBezTo>
                    <a:cubicBezTo>
                      <a:pt x="325" y="291"/>
                      <a:pt x="325" y="297"/>
                      <a:pt x="325" y="303"/>
                    </a:cubicBezTo>
                    <a:cubicBezTo>
                      <a:pt x="325" y="320"/>
                      <a:pt x="325" y="337"/>
                      <a:pt x="325" y="355"/>
                    </a:cubicBezTo>
                    <a:cubicBezTo>
                      <a:pt x="325" y="361"/>
                      <a:pt x="325" y="366"/>
                      <a:pt x="325" y="372"/>
                    </a:cubicBezTo>
                    <a:cubicBezTo>
                      <a:pt x="325" y="390"/>
                      <a:pt x="325" y="407"/>
                      <a:pt x="325" y="424"/>
                    </a:cubicBezTo>
                    <a:cubicBezTo>
                      <a:pt x="325" y="430"/>
                      <a:pt x="325" y="436"/>
                      <a:pt x="325" y="442"/>
                    </a:cubicBezTo>
                    <a:cubicBezTo>
                      <a:pt x="325" y="459"/>
                      <a:pt x="325" y="476"/>
                      <a:pt x="325" y="493"/>
                    </a:cubicBezTo>
                    <a:cubicBezTo>
                      <a:pt x="325" y="499"/>
                      <a:pt x="325" y="505"/>
                      <a:pt x="325" y="510"/>
                    </a:cubicBezTo>
                    <a:cubicBezTo>
                      <a:pt x="325" y="527"/>
                      <a:pt x="325" y="545"/>
                      <a:pt x="325" y="562"/>
                    </a:cubicBezTo>
                    <a:cubicBezTo>
                      <a:pt x="325" y="568"/>
                      <a:pt x="325" y="574"/>
                      <a:pt x="325" y="580"/>
                    </a:cubicBezTo>
                    <a:cubicBezTo>
                      <a:pt x="325" y="597"/>
                      <a:pt x="325" y="614"/>
                      <a:pt x="325" y="631"/>
                    </a:cubicBezTo>
                    <a:cubicBezTo>
                      <a:pt x="325" y="637"/>
                      <a:pt x="325" y="643"/>
                      <a:pt x="325" y="649"/>
                    </a:cubicBezTo>
                    <a:cubicBezTo>
                      <a:pt x="325" y="657"/>
                      <a:pt x="325" y="666"/>
                      <a:pt x="325" y="675"/>
                    </a:cubicBezTo>
                    <a:cubicBezTo>
                      <a:pt x="310" y="682"/>
                      <a:pt x="300" y="698"/>
                      <a:pt x="300" y="716"/>
                    </a:cubicBezTo>
                    <a:cubicBezTo>
                      <a:pt x="300" y="742"/>
                      <a:pt x="320" y="762"/>
                      <a:pt x="345" y="762"/>
                    </a:cubicBezTo>
                    <a:cubicBezTo>
                      <a:pt x="369" y="762"/>
                      <a:pt x="389" y="742"/>
                      <a:pt x="389" y="716"/>
                    </a:cubicBezTo>
                    <a:cubicBezTo>
                      <a:pt x="389" y="699"/>
                      <a:pt x="380" y="685"/>
                      <a:pt x="367" y="677"/>
                    </a:cubicBezTo>
                    <a:close/>
                    <a:moveTo>
                      <a:pt x="46" y="70"/>
                    </a:moveTo>
                    <a:cubicBezTo>
                      <a:pt x="31" y="70"/>
                      <a:pt x="19" y="58"/>
                      <a:pt x="19" y="44"/>
                    </a:cubicBezTo>
                    <a:cubicBezTo>
                      <a:pt x="19" y="30"/>
                      <a:pt x="31" y="19"/>
                      <a:pt x="46" y="19"/>
                    </a:cubicBezTo>
                    <a:cubicBezTo>
                      <a:pt x="60" y="19"/>
                      <a:pt x="72" y="30"/>
                      <a:pt x="72" y="44"/>
                    </a:cubicBezTo>
                    <a:cubicBezTo>
                      <a:pt x="72" y="58"/>
                      <a:pt x="60" y="70"/>
                      <a:pt x="46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1" name="Freeform 9"/>
              <p:cNvSpPr>
                <a:spLocks noEditPoints="1"/>
              </p:cNvSpPr>
              <p:nvPr/>
            </p:nvSpPr>
            <p:spPr bwMode="gray">
              <a:xfrm>
                <a:off x="4734" y="1147"/>
                <a:ext cx="923" cy="734"/>
              </a:xfrm>
              <a:custGeom>
                <a:avLst/>
                <a:gdLst>
                  <a:gd name="T0" fmla="*/ 282 w 390"/>
                  <a:gd name="T1" fmla="*/ 90 h 310"/>
                  <a:gd name="T2" fmla="*/ 292 w 390"/>
                  <a:gd name="T3" fmla="*/ 89 h 310"/>
                  <a:gd name="T4" fmla="*/ 307 w 390"/>
                  <a:gd name="T5" fmla="*/ 104 h 310"/>
                  <a:gd name="T6" fmla="*/ 320 w 390"/>
                  <a:gd name="T7" fmla="*/ 118 h 310"/>
                  <a:gd name="T8" fmla="*/ 341 w 390"/>
                  <a:gd name="T9" fmla="*/ 139 h 310"/>
                  <a:gd name="T10" fmla="*/ 347 w 390"/>
                  <a:gd name="T11" fmla="*/ 160 h 310"/>
                  <a:gd name="T12" fmla="*/ 346 w 390"/>
                  <a:gd name="T13" fmla="*/ 211 h 310"/>
                  <a:gd name="T14" fmla="*/ 314 w 390"/>
                  <a:gd name="T15" fmla="*/ 242 h 310"/>
                  <a:gd name="T16" fmla="*/ 262 w 390"/>
                  <a:gd name="T17" fmla="*/ 242 h 310"/>
                  <a:gd name="T18" fmla="*/ 194 w 390"/>
                  <a:gd name="T19" fmla="*/ 242 h 310"/>
                  <a:gd name="T20" fmla="*/ 176 w 390"/>
                  <a:gd name="T21" fmla="*/ 242 h 310"/>
                  <a:gd name="T22" fmla="*/ 124 w 390"/>
                  <a:gd name="T23" fmla="*/ 242 h 310"/>
                  <a:gd name="T24" fmla="*/ 107 w 390"/>
                  <a:gd name="T25" fmla="*/ 242 h 310"/>
                  <a:gd name="T26" fmla="*/ 83 w 390"/>
                  <a:gd name="T27" fmla="*/ 242 h 310"/>
                  <a:gd name="T28" fmla="*/ 45 w 390"/>
                  <a:gd name="T29" fmla="*/ 220 h 310"/>
                  <a:gd name="T30" fmla="*/ 0 w 390"/>
                  <a:gd name="T31" fmla="*/ 265 h 310"/>
                  <a:gd name="T32" fmla="*/ 45 w 390"/>
                  <a:gd name="T33" fmla="*/ 310 h 310"/>
                  <a:gd name="T34" fmla="*/ 86 w 390"/>
                  <a:gd name="T35" fmla="*/ 283 h 310"/>
                  <a:gd name="T36" fmla="*/ 127 w 390"/>
                  <a:gd name="T37" fmla="*/ 285 h 310"/>
                  <a:gd name="T38" fmla="*/ 145 w 390"/>
                  <a:gd name="T39" fmla="*/ 286 h 310"/>
                  <a:gd name="T40" fmla="*/ 197 w 390"/>
                  <a:gd name="T41" fmla="*/ 285 h 310"/>
                  <a:gd name="T42" fmla="*/ 214 w 390"/>
                  <a:gd name="T43" fmla="*/ 286 h 310"/>
                  <a:gd name="T44" fmla="*/ 265 w 390"/>
                  <a:gd name="T45" fmla="*/ 285 h 310"/>
                  <a:gd name="T46" fmla="*/ 283 w 390"/>
                  <a:gd name="T47" fmla="*/ 286 h 310"/>
                  <a:gd name="T48" fmla="*/ 334 w 390"/>
                  <a:gd name="T49" fmla="*/ 285 h 310"/>
                  <a:gd name="T50" fmla="*/ 355 w 390"/>
                  <a:gd name="T51" fmla="*/ 282 h 310"/>
                  <a:gd name="T52" fmla="*/ 386 w 390"/>
                  <a:gd name="T53" fmla="*/ 252 h 310"/>
                  <a:gd name="T54" fmla="*/ 390 w 390"/>
                  <a:gd name="T55" fmla="*/ 231 h 310"/>
                  <a:gd name="T56" fmla="*/ 390 w 390"/>
                  <a:gd name="T57" fmla="*/ 180 h 310"/>
                  <a:gd name="T58" fmla="*/ 390 w 390"/>
                  <a:gd name="T59" fmla="*/ 163 h 310"/>
                  <a:gd name="T60" fmla="*/ 382 w 390"/>
                  <a:gd name="T61" fmla="*/ 121 h 310"/>
                  <a:gd name="T62" fmla="*/ 376 w 390"/>
                  <a:gd name="T63" fmla="*/ 112 h 310"/>
                  <a:gd name="T64" fmla="*/ 348 w 390"/>
                  <a:gd name="T65" fmla="*/ 84 h 310"/>
                  <a:gd name="T66" fmla="*/ 341 w 390"/>
                  <a:gd name="T67" fmla="*/ 77 h 310"/>
                  <a:gd name="T68" fmla="*/ 324 w 390"/>
                  <a:gd name="T69" fmla="*/ 62 h 310"/>
                  <a:gd name="T70" fmla="*/ 327 w 390"/>
                  <a:gd name="T71" fmla="*/ 45 h 310"/>
                  <a:gd name="T72" fmla="*/ 282 w 390"/>
                  <a:gd name="T73" fmla="*/ 0 h 310"/>
                  <a:gd name="T74" fmla="*/ 237 w 390"/>
                  <a:gd name="T75" fmla="*/ 45 h 310"/>
                  <a:gd name="T76" fmla="*/ 282 w 390"/>
                  <a:gd name="T77" fmla="*/ 90 h 310"/>
                  <a:gd name="T78" fmla="*/ 282 w 390"/>
                  <a:gd name="T79" fmla="*/ 19 h 310"/>
                  <a:gd name="T80" fmla="*/ 307 w 390"/>
                  <a:gd name="T81" fmla="*/ 45 h 310"/>
                  <a:gd name="T82" fmla="*/ 282 w 390"/>
                  <a:gd name="T83" fmla="*/ 70 h 310"/>
                  <a:gd name="T84" fmla="*/ 257 w 390"/>
                  <a:gd name="T85" fmla="*/ 45 h 310"/>
                  <a:gd name="T86" fmla="*/ 282 w 390"/>
                  <a:gd name="T87" fmla="*/ 1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0" h="310">
                    <a:moveTo>
                      <a:pt x="282" y="90"/>
                    </a:moveTo>
                    <a:cubicBezTo>
                      <a:pt x="285" y="90"/>
                      <a:pt x="288" y="89"/>
                      <a:pt x="292" y="89"/>
                    </a:cubicBezTo>
                    <a:cubicBezTo>
                      <a:pt x="297" y="93"/>
                      <a:pt x="302" y="98"/>
                      <a:pt x="307" y="104"/>
                    </a:cubicBezTo>
                    <a:cubicBezTo>
                      <a:pt x="312" y="108"/>
                      <a:pt x="317" y="113"/>
                      <a:pt x="320" y="118"/>
                    </a:cubicBezTo>
                    <a:cubicBezTo>
                      <a:pt x="327" y="125"/>
                      <a:pt x="334" y="132"/>
                      <a:pt x="341" y="139"/>
                    </a:cubicBezTo>
                    <a:cubicBezTo>
                      <a:pt x="348" y="144"/>
                      <a:pt x="348" y="152"/>
                      <a:pt x="347" y="160"/>
                    </a:cubicBezTo>
                    <a:cubicBezTo>
                      <a:pt x="348" y="177"/>
                      <a:pt x="348" y="194"/>
                      <a:pt x="346" y="211"/>
                    </a:cubicBezTo>
                    <a:cubicBezTo>
                      <a:pt x="350" y="240"/>
                      <a:pt x="346" y="244"/>
                      <a:pt x="314" y="242"/>
                    </a:cubicBezTo>
                    <a:cubicBezTo>
                      <a:pt x="297" y="242"/>
                      <a:pt x="279" y="242"/>
                      <a:pt x="262" y="242"/>
                    </a:cubicBezTo>
                    <a:cubicBezTo>
                      <a:pt x="239" y="242"/>
                      <a:pt x="216" y="242"/>
                      <a:pt x="194" y="242"/>
                    </a:cubicBezTo>
                    <a:cubicBezTo>
                      <a:pt x="188" y="242"/>
                      <a:pt x="182" y="242"/>
                      <a:pt x="176" y="242"/>
                    </a:cubicBezTo>
                    <a:cubicBezTo>
                      <a:pt x="159" y="242"/>
                      <a:pt x="142" y="242"/>
                      <a:pt x="124" y="242"/>
                    </a:cubicBezTo>
                    <a:cubicBezTo>
                      <a:pt x="118" y="242"/>
                      <a:pt x="113" y="242"/>
                      <a:pt x="107" y="242"/>
                    </a:cubicBezTo>
                    <a:cubicBezTo>
                      <a:pt x="99" y="242"/>
                      <a:pt x="91" y="242"/>
                      <a:pt x="83" y="242"/>
                    </a:cubicBezTo>
                    <a:cubicBezTo>
                      <a:pt x="75" y="229"/>
                      <a:pt x="61" y="220"/>
                      <a:pt x="45" y="220"/>
                    </a:cubicBezTo>
                    <a:cubicBezTo>
                      <a:pt x="20" y="220"/>
                      <a:pt x="0" y="240"/>
                      <a:pt x="0" y="265"/>
                    </a:cubicBezTo>
                    <a:cubicBezTo>
                      <a:pt x="0" y="290"/>
                      <a:pt x="20" y="310"/>
                      <a:pt x="45" y="310"/>
                    </a:cubicBezTo>
                    <a:cubicBezTo>
                      <a:pt x="63" y="310"/>
                      <a:pt x="79" y="299"/>
                      <a:pt x="86" y="283"/>
                    </a:cubicBezTo>
                    <a:cubicBezTo>
                      <a:pt x="100" y="284"/>
                      <a:pt x="114" y="284"/>
                      <a:pt x="127" y="285"/>
                    </a:cubicBezTo>
                    <a:cubicBezTo>
                      <a:pt x="133" y="284"/>
                      <a:pt x="139" y="284"/>
                      <a:pt x="145" y="286"/>
                    </a:cubicBezTo>
                    <a:cubicBezTo>
                      <a:pt x="163" y="283"/>
                      <a:pt x="180" y="284"/>
                      <a:pt x="197" y="285"/>
                    </a:cubicBezTo>
                    <a:cubicBezTo>
                      <a:pt x="202" y="284"/>
                      <a:pt x="208" y="284"/>
                      <a:pt x="214" y="286"/>
                    </a:cubicBezTo>
                    <a:cubicBezTo>
                      <a:pt x="231" y="283"/>
                      <a:pt x="248" y="284"/>
                      <a:pt x="265" y="285"/>
                    </a:cubicBezTo>
                    <a:cubicBezTo>
                      <a:pt x="271" y="284"/>
                      <a:pt x="277" y="284"/>
                      <a:pt x="283" y="286"/>
                    </a:cubicBezTo>
                    <a:cubicBezTo>
                      <a:pt x="300" y="283"/>
                      <a:pt x="318" y="284"/>
                      <a:pt x="334" y="285"/>
                    </a:cubicBezTo>
                    <a:cubicBezTo>
                      <a:pt x="341" y="284"/>
                      <a:pt x="348" y="283"/>
                      <a:pt x="355" y="282"/>
                    </a:cubicBezTo>
                    <a:cubicBezTo>
                      <a:pt x="368" y="275"/>
                      <a:pt x="378" y="265"/>
                      <a:pt x="386" y="252"/>
                    </a:cubicBezTo>
                    <a:cubicBezTo>
                      <a:pt x="388" y="245"/>
                      <a:pt x="388" y="239"/>
                      <a:pt x="390" y="231"/>
                    </a:cubicBezTo>
                    <a:cubicBezTo>
                      <a:pt x="390" y="214"/>
                      <a:pt x="390" y="197"/>
                      <a:pt x="390" y="180"/>
                    </a:cubicBezTo>
                    <a:cubicBezTo>
                      <a:pt x="390" y="174"/>
                      <a:pt x="390" y="169"/>
                      <a:pt x="390" y="163"/>
                    </a:cubicBezTo>
                    <a:cubicBezTo>
                      <a:pt x="390" y="149"/>
                      <a:pt x="389" y="135"/>
                      <a:pt x="382" y="121"/>
                    </a:cubicBezTo>
                    <a:cubicBezTo>
                      <a:pt x="380" y="118"/>
                      <a:pt x="378" y="115"/>
                      <a:pt x="376" y="112"/>
                    </a:cubicBezTo>
                    <a:cubicBezTo>
                      <a:pt x="365" y="104"/>
                      <a:pt x="356" y="94"/>
                      <a:pt x="348" y="84"/>
                    </a:cubicBezTo>
                    <a:cubicBezTo>
                      <a:pt x="346" y="82"/>
                      <a:pt x="343" y="79"/>
                      <a:pt x="341" y="77"/>
                    </a:cubicBezTo>
                    <a:cubicBezTo>
                      <a:pt x="335" y="72"/>
                      <a:pt x="329" y="67"/>
                      <a:pt x="324" y="62"/>
                    </a:cubicBezTo>
                    <a:cubicBezTo>
                      <a:pt x="326" y="56"/>
                      <a:pt x="327" y="51"/>
                      <a:pt x="327" y="45"/>
                    </a:cubicBezTo>
                    <a:cubicBezTo>
                      <a:pt x="327" y="20"/>
                      <a:pt x="307" y="0"/>
                      <a:pt x="282" y="0"/>
                    </a:cubicBezTo>
                    <a:cubicBezTo>
                      <a:pt x="257" y="0"/>
                      <a:pt x="237" y="20"/>
                      <a:pt x="237" y="45"/>
                    </a:cubicBezTo>
                    <a:cubicBezTo>
                      <a:pt x="237" y="70"/>
                      <a:pt x="257" y="90"/>
                      <a:pt x="282" y="90"/>
                    </a:cubicBezTo>
                    <a:close/>
                    <a:moveTo>
                      <a:pt x="282" y="19"/>
                    </a:moveTo>
                    <a:cubicBezTo>
                      <a:pt x="296" y="19"/>
                      <a:pt x="307" y="31"/>
                      <a:pt x="307" y="45"/>
                    </a:cubicBezTo>
                    <a:cubicBezTo>
                      <a:pt x="307" y="59"/>
                      <a:pt x="296" y="70"/>
                      <a:pt x="282" y="70"/>
                    </a:cubicBezTo>
                    <a:cubicBezTo>
                      <a:pt x="268" y="70"/>
                      <a:pt x="257" y="59"/>
                      <a:pt x="257" y="45"/>
                    </a:cubicBezTo>
                    <a:cubicBezTo>
                      <a:pt x="257" y="31"/>
                      <a:pt x="268" y="19"/>
                      <a:pt x="28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2" name="Freeform 10"/>
              <p:cNvSpPr>
                <a:spLocks noEditPoints="1"/>
              </p:cNvSpPr>
              <p:nvPr/>
            </p:nvSpPr>
            <p:spPr bwMode="gray">
              <a:xfrm>
                <a:off x="2368" y="293"/>
                <a:ext cx="700" cy="527"/>
              </a:xfrm>
              <a:custGeom>
                <a:avLst/>
                <a:gdLst>
                  <a:gd name="T0" fmla="*/ 45 w 296"/>
                  <a:gd name="T1" fmla="*/ 223 h 223"/>
                  <a:gd name="T2" fmla="*/ 90 w 296"/>
                  <a:gd name="T3" fmla="*/ 178 h 223"/>
                  <a:gd name="T4" fmla="*/ 88 w 296"/>
                  <a:gd name="T5" fmla="*/ 166 h 223"/>
                  <a:gd name="T6" fmla="*/ 94 w 296"/>
                  <a:gd name="T7" fmla="*/ 160 h 223"/>
                  <a:gd name="T8" fmla="*/ 127 w 296"/>
                  <a:gd name="T9" fmla="*/ 149 h 223"/>
                  <a:gd name="T10" fmla="*/ 179 w 296"/>
                  <a:gd name="T11" fmla="*/ 142 h 223"/>
                  <a:gd name="T12" fmla="*/ 239 w 296"/>
                  <a:gd name="T13" fmla="*/ 86 h 223"/>
                  <a:gd name="T14" fmla="*/ 251 w 296"/>
                  <a:gd name="T15" fmla="*/ 88 h 223"/>
                  <a:gd name="T16" fmla="*/ 296 w 296"/>
                  <a:gd name="T17" fmla="*/ 44 h 223"/>
                  <a:gd name="T18" fmla="*/ 251 w 296"/>
                  <a:gd name="T19" fmla="*/ 0 h 223"/>
                  <a:gd name="T20" fmla="*/ 206 w 296"/>
                  <a:gd name="T21" fmla="*/ 44 h 223"/>
                  <a:gd name="T22" fmla="*/ 208 w 296"/>
                  <a:gd name="T23" fmla="*/ 57 h 223"/>
                  <a:gd name="T24" fmla="*/ 191 w 296"/>
                  <a:gd name="T25" fmla="*/ 74 h 223"/>
                  <a:gd name="T26" fmla="*/ 106 w 296"/>
                  <a:gd name="T27" fmla="*/ 106 h 223"/>
                  <a:gd name="T28" fmla="*/ 82 w 296"/>
                  <a:gd name="T29" fmla="*/ 114 h 223"/>
                  <a:gd name="T30" fmla="*/ 78 w 296"/>
                  <a:gd name="T31" fmla="*/ 117 h 223"/>
                  <a:gd name="T32" fmla="*/ 72 w 296"/>
                  <a:gd name="T33" fmla="*/ 121 h 223"/>
                  <a:gd name="T34" fmla="*/ 68 w 296"/>
                  <a:gd name="T35" fmla="*/ 125 h 223"/>
                  <a:gd name="T36" fmla="*/ 65 w 296"/>
                  <a:gd name="T37" fmla="*/ 128 h 223"/>
                  <a:gd name="T38" fmla="*/ 65 w 296"/>
                  <a:gd name="T39" fmla="*/ 127 h 223"/>
                  <a:gd name="T40" fmla="*/ 62 w 296"/>
                  <a:gd name="T41" fmla="*/ 131 h 223"/>
                  <a:gd name="T42" fmla="*/ 58 w 296"/>
                  <a:gd name="T43" fmla="*/ 135 h 223"/>
                  <a:gd name="T44" fmla="*/ 57 w 296"/>
                  <a:gd name="T45" fmla="*/ 135 h 223"/>
                  <a:gd name="T46" fmla="*/ 45 w 296"/>
                  <a:gd name="T47" fmla="*/ 134 h 223"/>
                  <a:gd name="T48" fmla="*/ 0 w 296"/>
                  <a:gd name="T49" fmla="*/ 178 h 223"/>
                  <a:gd name="T50" fmla="*/ 45 w 296"/>
                  <a:gd name="T51" fmla="*/ 223 h 223"/>
                  <a:gd name="T52" fmla="*/ 251 w 296"/>
                  <a:gd name="T53" fmla="*/ 20 h 223"/>
                  <a:gd name="T54" fmla="*/ 276 w 296"/>
                  <a:gd name="T55" fmla="*/ 44 h 223"/>
                  <a:gd name="T56" fmla="*/ 251 w 296"/>
                  <a:gd name="T57" fmla="*/ 68 h 223"/>
                  <a:gd name="T58" fmla="*/ 225 w 296"/>
                  <a:gd name="T59" fmla="*/ 44 h 223"/>
                  <a:gd name="T60" fmla="*/ 251 w 296"/>
                  <a:gd name="T61" fmla="*/ 20 h 223"/>
                  <a:gd name="T62" fmla="*/ 45 w 296"/>
                  <a:gd name="T63" fmla="*/ 153 h 223"/>
                  <a:gd name="T64" fmla="*/ 70 w 296"/>
                  <a:gd name="T65" fmla="*/ 178 h 223"/>
                  <a:gd name="T66" fmla="*/ 45 w 296"/>
                  <a:gd name="T67" fmla="*/ 204 h 223"/>
                  <a:gd name="T68" fmla="*/ 20 w 296"/>
                  <a:gd name="T69" fmla="*/ 178 h 223"/>
                  <a:gd name="T70" fmla="*/ 45 w 296"/>
                  <a:gd name="T71" fmla="*/ 1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6" h="223">
                    <a:moveTo>
                      <a:pt x="45" y="223"/>
                    </a:moveTo>
                    <a:cubicBezTo>
                      <a:pt x="70" y="223"/>
                      <a:pt x="90" y="203"/>
                      <a:pt x="90" y="178"/>
                    </a:cubicBezTo>
                    <a:cubicBezTo>
                      <a:pt x="90" y="174"/>
                      <a:pt x="89" y="170"/>
                      <a:pt x="88" y="166"/>
                    </a:cubicBezTo>
                    <a:cubicBezTo>
                      <a:pt x="90" y="164"/>
                      <a:pt x="92" y="162"/>
                      <a:pt x="94" y="160"/>
                    </a:cubicBezTo>
                    <a:cubicBezTo>
                      <a:pt x="103" y="149"/>
                      <a:pt x="114" y="145"/>
                      <a:pt x="127" y="149"/>
                    </a:cubicBezTo>
                    <a:cubicBezTo>
                      <a:pt x="144" y="146"/>
                      <a:pt x="162" y="150"/>
                      <a:pt x="179" y="142"/>
                    </a:cubicBezTo>
                    <a:cubicBezTo>
                      <a:pt x="201" y="126"/>
                      <a:pt x="219" y="106"/>
                      <a:pt x="239" y="86"/>
                    </a:cubicBezTo>
                    <a:cubicBezTo>
                      <a:pt x="243" y="87"/>
                      <a:pt x="247" y="88"/>
                      <a:pt x="251" y="88"/>
                    </a:cubicBezTo>
                    <a:cubicBezTo>
                      <a:pt x="275" y="88"/>
                      <a:pt x="296" y="68"/>
                      <a:pt x="296" y="44"/>
                    </a:cubicBezTo>
                    <a:cubicBezTo>
                      <a:pt x="296" y="20"/>
                      <a:pt x="275" y="0"/>
                      <a:pt x="251" y="0"/>
                    </a:cubicBezTo>
                    <a:cubicBezTo>
                      <a:pt x="226" y="0"/>
                      <a:pt x="206" y="20"/>
                      <a:pt x="206" y="44"/>
                    </a:cubicBezTo>
                    <a:cubicBezTo>
                      <a:pt x="206" y="49"/>
                      <a:pt x="207" y="53"/>
                      <a:pt x="208" y="57"/>
                    </a:cubicBezTo>
                    <a:cubicBezTo>
                      <a:pt x="202" y="63"/>
                      <a:pt x="195" y="68"/>
                      <a:pt x="191" y="74"/>
                    </a:cubicBezTo>
                    <a:cubicBezTo>
                      <a:pt x="169" y="104"/>
                      <a:pt x="141" y="112"/>
                      <a:pt x="106" y="106"/>
                    </a:cubicBezTo>
                    <a:cubicBezTo>
                      <a:pt x="98" y="109"/>
                      <a:pt x="90" y="112"/>
                      <a:pt x="82" y="114"/>
                    </a:cubicBezTo>
                    <a:cubicBezTo>
                      <a:pt x="80" y="115"/>
                      <a:pt x="79" y="116"/>
                      <a:pt x="78" y="117"/>
                    </a:cubicBezTo>
                    <a:cubicBezTo>
                      <a:pt x="77" y="120"/>
                      <a:pt x="75" y="121"/>
                      <a:pt x="72" y="121"/>
                    </a:cubicBezTo>
                    <a:cubicBezTo>
                      <a:pt x="71" y="122"/>
                      <a:pt x="70" y="123"/>
                      <a:pt x="68" y="125"/>
                    </a:cubicBezTo>
                    <a:cubicBezTo>
                      <a:pt x="68" y="125"/>
                      <a:pt x="66" y="127"/>
                      <a:pt x="65" y="128"/>
                    </a:cubicBezTo>
                    <a:cubicBezTo>
                      <a:pt x="65" y="127"/>
                      <a:pt x="65" y="127"/>
                      <a:pt x="65" y="127"/>
                    </a:cubicBezTo>
                    <a:cubicBezTo>
                      <a:pt x="64" y="129"/>
                      <a:pt x="63" y="130"/>
                      <a:pt x="62" y="131"/>
                    </a:cubicBezTo>
                    <a:cubicBezTo>
                      <a:pt x="61" y="133"/>
                      <a:pt x="59" y="133"/>
                      <a:pt x="58" y="135"/>
                    </a:cubicBezTo>
                    <a:cubicBezTo>
                      <a:pt x="58" y="135"/>
                      <a:pt x="58" y="135"/>
                      <a:pt x="57" y="135"/>
                    </a:cubicBezTo>
                    <a:cubicBezTo>
                      <a:pt x="53" y="134"/>
                      <a:pt x="49" y="134"/>
                      <a:pt x="45" y="134"/>
                    </a:cubicBezTo>
                    <a:cubicBezTo>
                      <a:pt x="20" y="134"/>
                      <a:pt x="0" y="154"/>
                      <a:pt x="0" y="178"/>
                    </a:cubicBezTo>
                    <a:cubicBezTo>
                      <a:pt x="0" y="203"/>
                      <a:pt x="20" y="223"/>
                      <a:pt x="45" y="223"/>
                    </a:cubicBezTo>
                    <a:close/>
                    <a:moveTo>
                      <a:pt x="251" y="20"/>
                    </a:moveTo>
                    <a:cubicBezTo>
                      <a:pt x="265" y="20"/>
                      <a:pt x="276" y="31"/>
                      <a:pt x="276" y="44"/>
                    </a:cubicBezTo>
                    <a:cubicBezTo>
                      <a:pt x="276" y="57"/>
                      <a:pt x="265" y="68"/>
                      <a:pt x="251" y="68"/>
                    </a:cubicBezTo>
                    <a:cubicBezTo>
                      <a:pt x="237" y="68"/>
                      <a:pt x="225" y="57"/>
                      <a:pt x="225" y="44"/>
                    </a:cubicBezTo>
                    <a:cubicBezTo>
                      <a:pt x="225" y="31"/>
                      <a:pt x="237" y="20"/>
                      <a:pt x="251" y="20"/>
                    </a:cubicBezTo>
                    <a:close/>
                    <a:moveTo>
                      <a:pt x="45" y="153"/>
                    </a:moveTo>
                    <a:cubicBezTo>
                      <a:pt x="59" y="153"/>
                      <a:pt x="70" y="164"/>
                      <a:pt x="70" y="178"/>
                    </a:cubicBezTo>
                    <a:cubicBezTo>
                      <a:pt x="70" y="192"/>
                      <a:pt x="59" y="204"/>
                      <a:pt x="45" y="204"/>
                    </a:cubicBezTo>
                    <a:cubicBezTo>
                      <a:pt x="31" y="204"/>
                      <a:pt x="20" y="192"/>
                      <a:pt x="20" y="178"/>
                    </a:cubicBezTo>
                    <a:cubicBezTo>
                      <a:pt x="20" y="164"/>
                      <a:pt x="31" y="153"/>
                      <a:pt x="45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3" name="Freeform 11"/>
              <p:cNvSpPr>
                <a:spLocks noEditPoints="1"/>
              </p:cNvSpPr>
              <p:nvPr/>
            </p:nvSpPr>
            <p:spPr bwMode="gray">
              <a:xfrm>
                <a:off x="4036" y="219"/>
                <a:ext cx="1637" cy="3931"/>
              </a:xfrm>
              <a:custGeom>
                <a:avLst/>
                <a:gdLst>
                  <a:gd name="T0" fmla="*/ 412 w 692"/>
                  <a:gd name="T1" fmla="*/ 899 h 1661"/>
                  <a:gd name="T2" fmla="*/ 154 w 692"/>
                  <a:gd name="T3" fmla="*/ 899 h 1661"/>
                  <a:gd name="T4" fmla="*/ 135 w 692"/>
                  <a:gd name="T5" fmla="*/ 483 h 1661"/>
                  <a:gd name="T6" fmla="*/ 95 w 692"/>
                  <a:gd name="T7" fmla="*/ 404 h 1661"/>
                  <a:gd name="T8" fmla="*/ 51 w 692"/>
                  <a:gd name="T9" fmla="*/ 359 h 1661"/>
                  <a:gd name="T10" fmla="*/ 84 w 692"/>
                  <a:gd name="T11" fmla="*/ 92 h 1661"/>
                  <a:gd name="T12" fmla="*/ 98 w 692"/>
                  <a:gd name="T13" fmla="*/ 0 h 1661"/>
                  <a:gd name="T14" fmla="*/ 42 w 692"/>
                  <a:gd name="T15" fmla="*/ 73 h 1661"/>
                  <a:gd name="T16" fmla="*/ 20 w 692"/>
                  <a:gd name="T17" fmla="*/ 390 h 1661"/>
                  <a:gd name="T18" fmla="*/ 65 w 692"/>
                  <a:gd name="T19" fmla="*/ 434 h 1661"/>
                  <a:gd name="T20" fmla="*/ 92 w 692"/>
                  <a:gd name="T21" fmla="*/ 531 h 1661"/>
                  <a:gd name="T22" fmla="*/ 92 w 692"/>
                  <a:gd name="T23" fmla="*/ 617 h 1661"/>
                  <a:gd name="T24" fmla="*/ 92 w 692"/>
                  <a:gd name="T25" fmla="*/ 738 h 1661"/>
                  <a:gd name="T26" fmla="*/ 92 w 692"/>
                  <a:gd name="T27" fmla="*/ 824 h 1661"/>
                  <a:gd name="T28" fmla="*/ 106 w 692"/>
                  <a:gd name="T29" fmla="*/ 924 h 1661"/>
                  <a:gd name="T30" fmla="*/ 175 w 692"/>
                  <a:gd name="T31" fmla="*/ 942 h 1661"/>
                  <a:gd name="T32" fmla="*/ 298 w 692"/>
                  <a:gd name="T33" fmla="*/ 942 h 1661"/>
                  <a:gd name="T34" fmla="*/ 381 w 692"/>
                  <a:gd name="T35" fmla="*/ 942 h 1661"/>
                  <a:gd name="T36" fmla="*/ 505 w 692"/>
                  <a:gd name="T37" fmla="*/ 942 h 1661"/>
                  <a:gd name="T38" fmla="*/ 515 w 692"/>
                  <a:gd name="T39" fmla="*/ 969 h 1661"/>
                  <a:gd name="T40" fmla="*/ 429 w 692"/>
                  <a:gd name="T41" fmla="*/ 968 h 1661"/>
                  <a:gd name="T42" fmla="*/ 342 w 692"/>
                  <a:gd name="T43" fmla="*/ 968 h 1661"/>
                  <a:gd name="T44" fmla="*/ 222 w 692"/>
                  <a:gd name="T45" fmla="*/ 968 h 1661"/>
                  <a:gd name="T46" fmla="*/ 88 w 692"/>
                  <a:gd name="T47" fmla="*/ 1037 h 1661"/>
                  <a:gd name="T48" fmla="*/ 106 w 692"/>
                  <a:gd name="T49" fmla="*/ 1661 h 1661"/>
                  <a:gd name="T50" fmla="*/ 125 w 692"/>
                  <a:gd name="T51" fmla="*/ 1332 h 1661"/>
                  <a:gd name="T52" fmla="*/ 210 w 692"/>
                  <a:gd name="T53" fmla="*/ 1298 h 1661"/>
                  <a:gd name="T54" fmla="*/ 249 w 692"/>
                  <a:gd name="T55" fmla="*/ 1196 h 1661"/>
                  <a:gd name="T56" fmla="*/ 284 w 692"/>
                  <a:gd name="T57" fmla="*/ 1093 h 1661"/>
                  <a:gd name="T58" fmla="*/ 375 w 692"/>
                  <a:gd name="T59" fmla="*/ 1118 h 1661"/>
                  <a:gd name="T60" fmla="*/ 335 w 692"/>
                  <a:gd name="T61" fmla="*/ 1049 h 1661"/>
                  <a:gd name="T62" fmla="*/ 263 w 692"/>
                  <a:gd name="T63" fmla="*/ 1048 h 1661"/>
                  <a:gd name="T64" fmla="*/ 206 w 692"/>
                  <a:gd name="T65" fmla="*/ 1176 h 1661"/>
                  <a:gd name="T66" fmla="*/ 167 w 692"/>
                  <a:gd name="T67" fmla="*/ 1268 h 1661"/>
                  <a:gd name="T68" fmla="*/ 125 w 692"/>
                  <a:gd name="T69" fmla="*/ 1131 h 1661"/>
                  <a:gd name="T70" fmla="*/ 167 w 692"/>
                  <a:gd name="T71" fmla="*/ 1017 h 1661"/>
                  <a:gd name="T72" fmla="*/ 515 w 692"/>
                  <a:gd name="T73" fmla="*/ 1012 h 1661"/>
                  <a:gd name="T74" fmla="*/ 566 w 692"/>
                  <a:gd name="T75" fmla="*/ 1033 h 1661"/>
                  <a:gd name="T76" fmla="*/ 486 w 692"/>
                  <a:gd name="T77" fmla="*/ 1049 h 1661"/>
                  <a:gd name="T78" fmla="*/ 394 w 692"/>
                  <a:gd name="T79" fmla="*/ 1123 h 1661"/>
                  <a:gd name="T80" fmla="*/ 380 w 692"/>
                  <a:gd name="T81" fmla="*/ 1210 h 1661"/>
                  <a:gd name="T82" fmla="*/ 468 w 692"/>
                  <a:gd name="T83" fmla="*/ 1107 h 1661"/>
                  <a:gd name="T84" fmla="*/ 595 w 692"/>
                  <a:gd name="T85" fmla="*/ 1116 h 1661"/>
                  <a:gd name="T86" fmla="*/ 588 w 692"/>
                  <a:gd name="T87" fmla="*/ 1022 h 1661"/>
                  <a:gd name="T88" fmla="*/ 607 w 692"/>
                  <a:gd name="T89" fmla="*/ 940 h 1661"/>
                  <a:gd name="T90" fmla="*/ 647 w 692"/>
                  <a:gd name="T91" fmla="*/ 874 h 1661"/>
                  <a:gd name="T92" fmla="*/ 98 w 692"/>
                  <a:gd name="T93" fmla="*/ 75 h 1661"/>
                  <a:gd name="T94" fmla="*/ 167 w 692"/>
                  <a:gd name="T95" fmla="*/ 1288 h 1661"/>
                  <a:gd name="T96" fmla="*/ 140 w 692"/>
                  <a:gd name="T97" fmla="*/ 1313 h 1661"/>
                  <a:gd name="T98" fmla="*/ 106 w 692"/>
                  <a:gd name="T99" fmla="*/ 1641 h 1661"/>
                  <a:gd name="T100" fmla="*/ 133 w 692"/>
                  <a:gd name="T101" fmla="*/ 1613 h 1661"/>
                  <a:gd name="T102" fmla="*/ 595 w 692"/>
                  <a:gd name="T103" fmla="*/ 1097 h 1661"/>
                  <a:gd name="T104" fmla="*/ 586 w 692"/>
                  <a:gd name="T105" fmla="*/ 984 h 1661"/>
                  <a:gd name="T106" fmla="*/ 559 w 692"/>
                  <a:gd name="T107" fmla="*/ 954 h 1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2" h="1661">
                    <a:moveTo>
                      <a:pt x="647" y="874"/>
                    </a:moveTo>
                    <a:cubicBezTo>
                      <a:pt x="630" y="874"/>
                      <a:pt x="614" y="885"/>
                      <a:pt x="607" y="900"/>
                    </a:cubicBezTo>
                    <a:cubicBezTo>
                      <a:pt x="594" y="900"/>
                      <a:pt x="418" y="899"/>
                      <a:pt x="412" y="899"/>
                    </a:cubicBezTo>
                    <a:cubicBezTo>
                      <a:pt x="395" y="899"/>
                      <a:pt x="378" y="899"/>
                      <a:pt x="361" y="899"/>
                    </a:cubicBezTo>
                    <a:cubicBezTo>
                      <a:pt x="355" y="899"/>
                      <a:pt x="349" y="899"/>
                      <a:pt x="343" y="899"/>
                    </a:cubicBezTo>
                    <a:cubicBezTo>
                      <a:pt x="326" y="899"/>
                      <a:pt x="171" y="899"/>
                      <a:pt x="154" y="899"/>
                    </a:cubicBezTo>
                    <a:cubicBezTo>
                      <a:pt x="149" y="900"/>
                      <a:pt x="144" y="901"/>
                      <a:pt x="140" y="897"/>
                    </a:cubicBezTo>
                    <a:cubicBezTo>
                      <a:pt x="127" y="880"/>
                      <a:pt x="136" y="862"/>
                      <a:pt x="135" y="845"/>
                    </a:cubicBezTo>
                    <a:cubicBezTo>
                      <a:pt x="133" y="839"/>
                      <a:pt x="133" y="489"/>
                      <a:pt x="135" y="483"/>
                    </a:cubicBezTo>
                    <a:cubicBezTo>
                      <a:pt x="133" y="468"/>
                      <a:pt x="135" y="452"/>
                      <a:pt x="128" y="438"/>
                    </a:cubicBezTo>
                    <a:cubicBezTo>
                      <a:pt x="126" y="436"/>
                      <a:pt x="124" y="434"/>
                      <a:pt x="123" y="432"/>
                    </a:cubicBezTo>
                    <a:cubicBezTo>
                      <a:pt x="113" y="423"/>
                      <a:pt x="104" y="414"/>
                      <a:pt x="95" y="404"/>
                    </a:cubicBezTo>
                    <a:cubicBezTo>
                      <a:pt x="91" y="401"/>
                      <a:pt x="87" y="398"/>
                      <a:pt x="85" y="393"/>
                    </a:cubicBezTo>
                    <a:cubicBezTo>
                      <a:pt x="79" y="387"/>
                      <a:pt x="71" y="380"/>
                      <a:pt x="65" y="373"/>
                    </a:cubicBezTo>
                    <a:cubicBezTo>
                      <a:pt x="59" y="369"/>
                      <a:pt x="54" y="364"/>
                      <a:pt x="51" y="359"/>
                    </a:cubicBezTo>
                    <a:cubicBezTo>
                      <a:pt x="37" y="348"/>
                      <a:pt x="44" y="168"/>
                      <a:pt x="44" y="162"/>
                    </a:cubicBezTo>
                    <a:cubicBezTo>
                      <a:pt x="39" y="143"/>
                      <a:pt x="45" y="126"/>
                      <a:pt x="62" y="113"/>
                    </a:cubicBezTo>
                    <a:cubicBezTo>
                      <a:pt x="70" y="107"/>
                      <a:pt x="77" y="99"/>
                      <a:pt x="84" y="92"/>
                    </a:cubicBezTo>
                    <a:cubicBezTo>
                      <a:pt x="88" y="93"/>
                      <a:pt x="93" y="94"/>
                      <a:pt x="98" y="94"/>
                    </a:cubicBezTo>
                    <a:cubicBezTo>
                      <a:pt x="124" y="94"/>
                      <a:pt x="145" y="73"/>
                      <a:pt x="145" y="47"/>
                    </a:cubicBezTo>
                    <a:cubicBezTo>
                      <a:pt x="145" y="21"/>
                      <a:pt x="124" y="0"/>
                      <a:pt x="98" y="0"/>
                    </a:cubicBezTo>
                    <a:cubicBezTo>
                      <a:pt x="72" y="0"/>
                      <a:pt x="51" y="21"/>
                      <a:pt x="51" y="47"/>
                    </a:cubicBezTo>
                    <a:cubicBezTo>
                      <a:pt x="51" y="53"/>
                      <a:pt x="52" y="58"/>
                      <a:pt x="53" y="63"/>
                    </a:cubicBezTo>
                    <a:cubicBezTo>
                      <a:pt x="50" y="66"/>
                      <a:pt x="46" y="70"/>
                      <a:pt x="42" y="73"/>
                    </a:cubicBezTo>
                    <a:cubicBezTo>
                      <a:pt x="23" y="93"/>
                      <a:pt x="0" y="110"/>
                      <a:pt x="0" y="142"/>
                    </a:cubicBezTo>
                    <a:cubicBezTo>
                      <a:pt x="2" y="148"/>
                      <a:pt x="2" y="358"/>
                      <a:pt x="2" y="362"/>
                    </a:cubicBezTo>
                    <a:cubicBezTo>
                      <a:pt x="6" y="373"/>
                      <a:pt x="13" y="381"/>
                      <a:pt x="20" y="390"/>
                    </a:cubicBezTo>
                    <a:cubicBezTo>
                      <a:pt x="25" y="394"/>
                      <a:pt x="29" y="399"/>
                      <a:pt x="34" y="404"/>
                    </a:cubicBezTo>
                    <a:cubicBezTo>
                      <a:pt x="41" y="410"/>
                      <a:pt x="48" y="418"/>
                      <a:pt x="54" y="424"/>
                    </a:cubicBezTo>
                    <a:cubicBezTo>
                      <a:pt x="58" y="428"/>
                      <a:pt x="61" y="431"/>
                      <a:pt x="65" y="434"/>
                    </a:cubicBezTo>
                    <a:cubicBezTo>
                      <a:pt x="74" y="441"/>
                      <a:pt x="81" y="450"/>
                      <a:pt x="89" y="459"/>
                    </a:cubicBezTo>
                    <a:cubicBezTo>
                      <a:pt x="95" y="465"/>
                      <a:pt x="92" y="473"/>
                      <a:pt x="92" y="479"/>
                    </a:cubicBezTo>
                    <a:cubicBezTo>
                      <a:pt x="92" y="497"/>
                      <a:pt x="92" y="514"/>
                      <a:pt x="92" y="531"/>
                    </a:cubicBezTo>
                    <a:cubicBezTo>
                      <a:pt x="92" y="537"/>
                      <a:pt x="92" y="543"/>
                      <a:pt x="92" y="549"/>
                    </a:cubicBezTo>
                    <a:cubicBezTo>
                      <a:pt x="92" y="566"/>
                      <a:pt x="92" y="583"/>
                      <a:pt x="92" y="600"/>
                    </a:cubicBezTo>
                    <a:cubicBezTo>
                      <a:pt x="92" y="606"/>
                      <a:pt x="92" y="611"/>
                      <a:pt x="92" y="617"/>
                    </a:cubicBezTo>
                    <a:cubicBezTo>
                      <a:pt x="92" y="634"/>
                      <a:pt x="92" y="652"/>
                      <a:pt x="92" y="669"/>
                    </a:cubicBezTo>
                    <a:cubicBezTo>
                      <a:pt x="92" y="675"/>
                      <a:pt x="92" y="681"/>
                      <a:pt x="92" y="687"/>
                    </a:cubicBezTo>
                    <a:cubicBezTo>
                      <a:pt x="92" y="704"/>
                      <a:pt x="92" y="720"/>
                      <a:pt x="92" y="738"/>
                    </a:cubicBezTo>
                    <a:cubicBezTo>
                      <a:pt x="92" y="743"/>
                      <a:pt x="92" y="749"/>
                      <a:pt x="92" y="755"/>
                    </a:cubicBezTo>
                    <a:cubicBezTo>
                      <a:pt x="92" y="772"/>
                      <a:pt x="92" y="790"/>
                      <a:pt x="92" y="807"/>
                    </a:cubicBezTo>
                    <a:cubicBezTo>
                      <a:pt x="92" y="813"/>
                      <a:pt x="92" y="819"/>
                      <a:pt x="92" y="824"/>
                    </a:cubicBezTo>
                    <a:cubicBezTo>
                      <a:pt x="92" y="841"/>
                      <a:pt x="92" y="858"/>
                      <a:pt x="92" y="875"/>
                    </a:cubicBezTo>
                    <a:cubicBezTo>
                      <a:pt x="92" y="881"/>
                      <a:pt x="92" y="887"/>
                      <a:pt x="92" y="893"/>
                    </a:cubicBezTo>
                    <a:cubicBezTo>
                      <a:pt x="95" y="904"/>
                      <a:pt x="98" y="914"/>
                      <a:pt x="106" y="924"/>
                    </a:cubicBezTo>
                    <a:cubicBezTo>
                      <a:pt x="109" y="927"/>
                      <a:pt x="112" y="931"/>
                      <a:pt x="116" y="934"/>
                    </a:cubicBezTo>
                    <a:cubicBezTo>
                      <a:pt x="130" y="941"/>
                      <a:pt x="146" y="942"/>
                      <a:pt x="160" y="942"/>
                    </a:cubicBezTo>
                    <a:cubicBezTo>
                      <a:pt x="165" y="942"/>
                      <a:pt x="170" y="942"/>
                      <a:pt x="175" y="942"/>
                    </a:cubicBezTo>
                    <a:cubicBezTo>
                      <a:pt x="193" y="942"/>
                      <a:pt x="211" y="942"/>
                      <a:pt x="230" y="942"/>
                    </a:cubicBezTo>
                    <a:cubicBezTo>
                      <a:pt x="234" y="942"/>
                      <a:pt x="239" y="942"/>
                      <a:pt x="244" y="942"/>
                    </a:cubicBezTo>
                    <a:cubicBezTo>
                      <a:pt x="262" y="942"/>
                      <a:pt x="280" y="942"/>
                      <a:pt x="298" y="942"/>
                    </a:cubicBezTo>
                    <a:cubicBezTo>
                      <a:pt x="303" y="942"/>
                      <a:pt x="308" y="942"/>
                      <a:pt x="312" y="942"/>
                    </a:cubicBezTo>
                    <a:cubicBezTo>
                      <a:pt x="331" y="942"/>
                      <a:pt x="349" y="942"/>
                      <a:pt x="367" y="942"/>
                    </a:cubicBezTo>
                    <a:cubicBezTo>
                      <a:pt x="372" y="942"/>
                      <a:pt x="376" y="942"/>
                      <a:pt x="381" y="942"/>
                    </a:cubicBezTo>
                    <a:cubicBezTo>
                      <a:pt x="400" y="942"/>
                      <a:pt x="418" y="942"/>
                      <a:pt x="436" y="942"/>
                    </a:cubicBezTo>
                    <a:cubicBezTo>
                      <a:pt x="441" y="942"/>
                      <a:pt x="446" y="942"/>
                      <a:pt x="450" y="942"/>
                    </a:cubicBezTo>
                    <a:cubicBezTo>
                      <a:pt x="468" y="942"/>
                      <a:pt x="487" y="942"/>
                      <a:pt x="505" y="942"/>
                    </a:cubicBezTo>
                    <a:cubicBezTo>
                      <a:pt x="510" y="942"/>
                      <a:pt x="514" y="942"/>
                      <a:pt x="519" y="942"/>
                    </a:cubicBezTo>
                    <a:cubicBezTo>
                      <a:pt x="525" y="942"/>
                      <a:pt x="530" y="941"/>
                      <a:pt x="536" y="941"/>
                    </a:cubicBezTo>
                    <a:cubicBezTo>
                      <a:pt x="526" y="948"/>
                      <a:pt x="519" y="957"/>
                      <a:pt x="515" y="969"/>
                    </a:cubicBezTo>
                    <a:cubicBezTo>
                      <a:pt x="510" y="969"/>
                      <a:pt x="504" y="968"/>
                      <a:pt x="498" y="968"/>
                    </a:cubicBezTo>
                    <a:cubicBezTo>
                      <a:pt x="492" y="968"/>
                      <a:pt x="486" y="968"/>
                      <a:pt x="480" y="968"/>
                    </a:cubicBezTo>
                    <a:cubicBezTo>
                      <a:pt x="463" y="968"/>
                      <a:pt x="446" y="968"/>
                      <a:pt x="429" y="968"/>
                    </a:cubicBezTo>
                    <a:cubicBezTo>
                      <a:pt x="423" y="968"/>
                      <a:pt x="417" y="968"/>
                      <a:pt x="412" y="968"/>
                    </a:cubicBezTo>
                    <a:cubicBezTo>
                      <a:pt x="394" y="968"/>
                      <a:pt x="377" y="968"/>
                      <a:pt x="360" y="968"/>
                    </a:cubicBezTo>
                    <a:cubicBezTo>
                      <a:pt x="354" y="968"/>
                      <a:pt x="348" y="968"/>
                      <a:pt x="342" y="968"/>
                    </a:cubicBezTo>
                    <a:cubicBezTo>
                      <a:pt x="325" y="968"/>
                      <a:pt x="308" y="968"/>
                      <a:pt x="290" y="968"/>
                    </a:cubicBezTo>
                    <a:cubicBezTo>
                      <a:pt x="285" y="968"/>
                      <a:pt x="279" y="968"/>
                      <a:pt x="273" y="968"/>
                    </a:cubicBezTo>
                    <a:cubicBezTo>
                      <a:pt x="256" y="968"/>
                      <a:pt x="239" y="968"/>
                      <a:pt x="222" y="968"/>
                    </a:cubicBezTo>
                    <a:cubicBezTo>
                      <a:pt x="216" y="968"/>
                      <a:pt x="210" y="968"/>
                      <a:pt x="204" y="968"/>
                    </a:cubicBezTo>
                    <a:cubicBezTo>
                      <a:pt x="187" y="970"/>
                      <a:pt x="169" y="966"/>
                      <a:pt x="153" y="973"/>
                    </a:cubicBezTo>
                    <a:cubicBezTo>
                      <a:pt x="128" y="992"/>
                      <a:pt x="108" y="1015"/>
                      <a:pt x="88" y="1037"/>
                    </a:cubicBezTo>
                    <a:cubicBezTo>
                      <a:pt x="80" y="1056"/>
                      <a:pt x="82" y="1557"/>
                      <a:pt x="82" y="1574"/>
                    </a:cubicBezTo>
                    <a:cubicBezTo>
                      <a:pt x="69" y="1582"/>
                      <a:pt x="60" y="1597"/>
                      <a:pt x="60" y="1613"/>
                    </a:cubicBezTo>
                    <a:cubicBezTo>
                      <a:pt x="60" y="1639"/>
                      <a:pt x="81" y="1661"/>
                      <a:pt x="106" y="1661"/>
                    </a:cubicBezTo>
                    <a:cubicBezTo>
                      <a:pt x="132" y="1661"/>
                      <a:pt x="152" y="1639"/>
                      <a:pt x="152" y="1613"/>
                    </a:cubicBezTo>
                    <a:cubicBezTo>
                      <a:pt x="152" y="1594"/>
                      <a:pt x="141" y="1578"/>
                      <a:pt x="125" y="1570"/>
                    </a:cubicBezTo>
                    <a:cubicBezTo>
                      <a:pt x="125" y="1562"/>
                      <a:pt x="125" y="1351"/>
                      <a:pt x="125" y="1332"/>
                    </a:cubicBezTo>
                    <a:cubicBezTo>
                      <a:pt x="132" y="1347"/>
                      <a:pt x="148" y="1358"/>
                      <a:pt x="167" y="1358"/>
                    </a:cubicBezTo>
                    <a:cubicBezTo>
                      <a:pt x="192" y="1358"/>
                      <a:pt x="213" y="1338"/>
                      <a:pt x="213" y="1313"/>
                    </a:cubicBezTo>
                    <a:cubicBezTo>
                      <a:pt x="213" y="1308"/>
                      <a:pt x="212" y="1303"/>
                      <a:pt x="210" y="1298"/>
                    </a:cubicBezTo>
                    <a:cubicBezTo>
                      <a:pt x="220" y="1288"/>
                      <a:pt x="230" y="1278"/>
                      <a:pt x="240" y="1268"/>
                    </a:cubicBezTo>
                    <a:cubicBezTo>
                      <a:pt x="250" y="1251"/>
                      <a:pt x="247" y="1232"/>
                      <a:pt x="249" y="1213"/>
                    </a:cubicBezTo>
                    <a:cubicBezTo>
                      <a:pt x="249" y="1208"/>
                      <a:pt x="249" y="1202"/>
                      <a:pt x="249" y="1196"/>
                    </a:cubicBezTo>
                    <a:cubicBezTo>
                      <a:pt x="249" y="1180"/>
                      <a:pt x="249" y="1162"/>
                      <a:pt x="249" y="1145"/>
                    </a:cubicBezTo>
                    <a:cubicBezTo>
                      <a:pt x="249" y="1139"/>
                      <a:pt x="249" y="1133"/>
                      <a:pt x="249" y="1127"/>
                    </a:cubicBezTo>
                    <a:cubicBezTo>
                      <a:pt x="247" y="1091"/>
                      <a:pt x="247" y="1091"/>
                      <a:pt x="284" y="1093"/>
                    </a:cubicBezTo>
                    <a:cubicBezTo>
                      <a:pt x="290" y="1093"/>
                      <a:pt x="296" y="1093"/>
                      <a:pt x="301" y="1093"/>
                    </a:cubicBezTo>
                    <a:cubicBezTo>
                      <a:pt x="312" y="1093"/>
                      <a:pt x="323" y="1092"/>
                      <a:pt x="334" y="1091"/>
                    </a:cubicBezTo>
                    <a:cubicBezTo>
                      <a:pt x="341" y="1107"/>
                      <a:pt x="357" y="1118"/>
                      <a:pt x="375" y="1118"/>
                    </a:cubicBezTo>
                    <a:cubicBezTo>
                      <a:pt x="400" y="1118"/>
                      <a:pt x="421" y="1097"/>
                      <a:pt x="421" y="1071"/>
                    </a:cubicBezTo>
                    <a:cubicBezTo>
                      <a:pt x="421" y="1045"/>
                      <a:pt x="400" y="1024"/>
                      <a:pt x="375" y="1024"/>
                    </a:cubicBezTo>
                    <a:cubicBezTo>
                      <a:pt x="358" y="1024"/>
                      <a:pt x="343" y="1034"/>
                      <a:pt x="335" y="1049"/>
                    </a:cubicBezTo>
                    <a:cubicBezTo>
                      <a:pt x="334" y="1048"/>
                      <a:pt x="333" y="1048"/>
                      <a:pt x="332" y="1048"/>
                    </a:cubicBezTo>
                    <a:cubicBezTo>
                      <a:pt x="315" y="1048"/>
                      <a:pt x="298" y="1048"/>
                      <a:pt x="280" y="1048"/>
                    </a:cubicBezTo>
                    <a:cubicBezTo>
                      <a:pt x="274" y="1048"/>
                      <a:pt x="269" y="1048"/>
                      <a:pt x="263" y="1048"/>
                    </a:cubicBezTo>
                    <a:cubicBezTo>
                      <a:pt x="224" y="1054"/>
                      <a:pt x="210" y="1068"/>
                      <a:pt x="206" y="1106"/>
                    </a:cubicBezTo>
                    <a:cubicBezTo>
                      <a:pt x="207" y="1112"/>
                      <a:pt x="207" y="1118"/>
                      <a:pt x="206" y="1124"/>
                    </a:cubicBezTo>
                    <a:cubicBezTo>
                      <a:pt x="206" y="1141"/>
                      <a:pt x="206" y="1158"/>
                      <a:pt x="206" y="1176"/>
                    </a:cubicBezTo>
                    <a:cubicBezTo>
                      <a:pt x="207" y="1182"/>
                      <a:pt x="207" y="1187"/>
                      <a:pt x="206" y="1193"/>
                    </a:cubicBezTo>
                    <a:cubicBezTo>
                      <a:pt x="210" y="1224"/>
                      <a:pt x="207" y="1251"/>
                      <a:pt x="179" y="1270"/>
                    </a:cubicBezTo>
                    <a:cubicBezTo>
                      <a:pt x="175" y="1269"/>
                      <a:pt x="171" y="1268"/>
                      <a:pt x="167" y="1268"/>
                    </a:cubicBezTo>
                    <a:cubicBezTo>
                      <a:pt x="148" y="1268"/>
                      <a:pt x="132" y="1279"/>
                      <a:pt x="125" y="1295"/>
                    </a:cubicBezTo>
                    <a:cubicBezTo>
                      <a:pt x="125" y="1288"/>
                      <a:pt x="125" y="1217"/>
                      <a:pt x="125" y="1200"/>
                    </a:cubicBezTo>
                    <a:cubicBezTo>
                      <a:pt x="125" y="1194"/>
                      <a:pt x="125" y="1148"/>
                      <a:pt x="125" y="1131"/>
                    </a:cubicBezTo>
                    <a:cubicBezTo>
                      <a:pt x="125" y="1125"/>
                      <a:pt x="125" y="1079"/>
                      <a:pt x="125" y="1062"/>
                    </a:cubicBezTo>
                    <a:cubicBezTo>
                      <a:pt x="125" y="1059"/>
                      <a:pt x="125" y="1057"/>
                      <a:pt x="128" y="1055"/>
                    </a:cubicBezTo>
                    <a:cubicBezTo>
                      <a:pt x="140" y="1041"/>
                      <a:pt x="153" y="1029"/>
                      <a:pt x="167" y="1017"/>
                    </a:cubicBezTo>
                    <a:cubicBezTo>
                      <a:pt x="168" y="1014"/>
                      <a:pt x="170" y="1013"/>
                      <a:pt x="173" y="1012"/>
                    </a:cubicBezTo>
                    <a:cubicBezTo>
                      <a:pt x="190" y="1008"/>
                      <a:pt x="483" y="1010"/>
                      <a:pt x="501" y="1011"/>
                    </a:cubicBezTo>
                    <a:cubicBezTo>
                      <a:pt x="505" y="1011"/>
                      <a:pt x="511" y="1012"/>
                      <a:pt x="515" y="1012"/>
                    </a:cubicBezTo>
                    <a:cubicBezTo>
                      <a:pt x="517" y="1011"/>
                      <a:pt x="519" y="1011"/>
                      <a:pt x="520" y="1011"/>
                    </a:cubicBezTo>
                    <a:cubicBezTo>
                      <a:pt x="529" y="1024"/>
                      <a:pt x="543" y="1034"/>
                      <a:pt x="559" y="1034"/>
                    </a:cubicBezTo>
                    <a:cubicBezTo>
                      <a:pt x="561" y="1034"/>
                      <a:pt x="563" y="1033"/>
                      <a:pt x="566" y="1033"/>
                    </a:cubicBezTo>
                    <a:cubicBezTo>
                      <a:pt x="561" y="1037"/>
                      <a:pt x="557" y="1043"/>
                      <a:pt x="554" y="1049"/>
                    </a:cubicBezTo>
                    <a:cubicBezTo>
                      <a:pt x="548" y="1048"/>
                      <a:pt x="543" y="1048"/>
                      <a:pt x="539" y="1048"/>
                    </a:cubicBezTo>
                    <a:cubicBezTo>
                      <a:pt x="521" y="1048"/>
                      <a:pt x="504" y="1049"/>
                      <a:pt x="486" y="1049"/>
                    </a:cubicBezTo>
                    <a:cubicBezTo>
                      <a:pt x="481" y="1050"/>
                      <a:pt x="475" y="1051"/>
                      <a:pt x="470" y="1052"/>
                    </a:cubicBezTo>
                    <a:cubicBezTo>
                      <a:pt x="467" y="1053"/>
                      <a:pt x="465" y="1055"/>
                      <a:pt x="463" y="1056"/>
                    </a:cubicBezTo>
                    <a:cubicBezTo>
                      <a:pt x="439" y="1078"/>
                      <a:pt x="416" y="1100"/>
                      <a:pt x="394" y="1123"/>
                    </a:cubicBezTo>
                    <a:cubicBezTo>
                      <a:pt x="390" y="1122"/>
                      <a:pt x="385" y="1121"/>
                      <a:pt x="380" y="1121"/>
                    </a:cubicBezTo>
                    <a:cubicBezTo>
                      <a:pt x="356" y="1121"/>
                      <a:pt x="336" y="1141"/>
                      <a:pt x="336" y="1166"/>
                    </a:cubicBezTo>
                    <a:cubicBezTo>
                      <a:pt x="336" y="1190"/>
                      <a:pt x="356" y="1210"/>
                      <a:pt x="380" y="1210"/>
                    </a:cubicBezTo>
                    <a:cubicBezTo>
                      <a:pt x="404" y="1210"/>
                      <a:pt x="423" y="1190"/>
                      <a:pt x="423" y="1166"/>
                    </a:cubicBezTo>
                    <a:cubicBezTo>
                      <a:pt x="423" y="1161"/>
                      <a:pt x="423" y="1157"/>
                      <a:pt x="421" y="1153"/>
                    </a:cubicBezTo>
                    <a:cubicBezTo>
                      <a:pt x="437" y="1137"/>
                      <a:pt x="453" y="1123"/>
                      <a:pt x="468" y="1107"/>
                    </a:cubicBezTo>
                    <a:cubicBezTo>
                      <a:pt x="480" y="1095"/>
                      <a:pt x="492" y="1089"/>
                      <a:pt x="508" y="1093"/>
                    </a:cubicBezTo>
                    <a:cubicBezTo>
                      <a:pt x="524" y="1093"/>
                      <a:pt x="540" y="1093"/>
                      <a:pt x="556" y="1093"/>
                    </a:cubicBezTo>
                    <a:cubicBezTo>
                      <a:pt x="564" y="1107"/>
                      <a:pt x="579" y="1116"/>
                      <a:pt x="595" y="1116"/>
                    </a:cubicBezTo>
                    <a:cubicBezTo>
                      <a:pt x="621" y="1116"/>
                      <a:pt x="641" y="1095"/>
                      <a:pt x="641" y="1069"/>
                    </a:cubicBezTo>
                    <a:cubicBezTo>
                      <a:pt x="641" y="1043"/>
                      <a:pt x="621" y="1022"/>
                      <a:pt x="595" y="1022"/>
                    </a:cubicBezTo>
                    <a:cubicBezTo>
                      <a:pt x="593" y="1022"/>
                      <a:pt x="590" y="1022"/>
                      <a:pt x="588" y="1022"/>
                    </a:cubicBezTo>
                    <a:cubicBezTo>
                      <a:pt x="598" y="1013"/>
                      <a:pt x="605" y="999"/>
                      <a:pt x="605" y="984"/>
                    </a:cubicBezTo>
                    <a:cubicBezTo>
                      <a:pt x="605" y="965"/>
                      <a:pt x="595" y="949"/>
                      <a:pt x="581" y="941"/>
                    </a:cubicBezTo>
                    <a:cubicBezTo>
                      <a:pt x="590" y="941"/>
                      <a:pt x="598" y="941"/>
                      <a:pt x="607" y="940"/>
                    </a:cubicBezTo>
                    <a:cubicBezTo>
                      <a:pt x="615" y="955"/>
                      <a:pt x="630" y="966"/>
                      <a:pt x="647" y="966"/>
                    </a:cubicBezTo>
                    <a:cubicBezTo>
                      <a:pt x="672" y="966"/>
                      <a:pt x="692" y="945"/>
                      <a:pt x="692" y="920"/>
                    </a:cubicBezTo>
                    <a:cubicBezTo>
                      <a:pt x="692" y="894"/>
                      <a:pt x="672" y="874"/>
                      <a:pt x="647" y="874"/>
                    </a:cubicBezTo>
                    <a:close/>
                    <a:moveTo>
                      <a:pt x="98" y="19"/>
                    </a:moveTo>
                    <a:cubicBezTo>
                      <a:pt x="113" y="19"/>
                      <a:pt x="126" y="32"/>
                      <a:pt x="126" y="47"/>
                    </a:cubicBezTo>
                    <a:cubicBezTo>
                      <a:pt x="126" y="62"/>
                      <a:pt x="113" y="75"/>
                      <a:pt x="98" y="75"/>
                    </a:cubicBezTo>
                    <a:cubicBezTo>
                      <a:pt x="82" y="75"/>
                      <a:pt x="70" y="62"/>
                      <a:pt x="70" y="47"/>
                    </a:cubicBezTo>
                    <a:cubicBezTo>
                      <a:pt x="70" y="32"/>
                      <a:pt x="82" y="19"/>
                      <a:pt x="98" y="19"/>
                    </a:cubicBezTo>
                    <a:close/>
                    <a:moveTo>
                      <a:pt x="167" y="1288"/>
                    </a:moveTo>
                    <a:cubicBezTo>
                      <a:pt x="181" y="1288"/>
                      <a:pt x="193" y="1299"/>
                      <a:pt x="193" y="1313"/>
                    </a:cubicBezTo>
                    <a:cubicBezTo>
                      <a:pt x="193" y="1327"/>
                      <a:pt x="181" y="1339"/>
                      <a:pt x="167" y="1339"/>
                    </a:cubicBezTo>
                    <a:cubicBezTo>
                      <a:pt x="152" y="1339"/>
                      <a:pt x="140" y="1327"/>
                      <a:pt x="140" y="1313"/>
                    </a:cubicBezTo>
                    <a:cubicBezTo>
                      <a:pt x="140" y="1299"/>
                      <a:pt x="152" y="1288"/>
                      <a:pt x="167" y="1288"/>
                    </a:cubicBezTo>
                    <a:close/>
                    <a:moveTo>
                      <a:pt x="133" y="1613"/>
                    </a:moveTo>
                    <a:cubicBezTo>
                      <a:pt x="133" y="1629"/>
                      <a:pt x="121" y="1641"/>
                      <a:pt x="106" y="1641"/>
                    </a:cubicBezTo>
                    <a:cubicBezTo>
                      <a:pt x="92" y="1641"/>
                      <a:pt x="80" y="1629"/>
                      <a:pt x="80" y="1613"/>
                    </a:cubicBezTo>
                    <a:cubicBezTo>
                      <a:pt x="80" y="1598"/>
                      <a:pt x="92" y="1586"/>
                      <a:pt x="106" y="1586"/>
                    </a:cubicBezTo>
                    <a:cubicBezTo>
                      <a:pt x="121" y="1586"/>
                      <a:pt x="133" y="1598"/>
                      <a:pt x="133" y="1613"/>
                    </a:cubicBezTo>
                    <a:close/>
                    <a:moveTo>
                      <a:pt x="595" y="1041"/>
                    </a:moveTo>
                    <a:cubicBezTo>
                      <a:pt x="610" y="1041"/>
                      <a:pt x="622" y="1053"/>
                      <a:pt x="622" y="1069"/>
                    </a:cubicBezTo>
                    <a:cubicBezTo>
                      <a:pt x="622" y="1084"/>
                      <a:pt x="610" y="1097"/>
                      <a:pt x="595" y="1097"/>
                    </a:cubicBezTo>
                    <a:cubicBezTo>
                      <a:pt x="581" y="1097"/>
                      <a:pt x="569" y="1084"/>
                      <a:pt x="569" y="1069"/>
                    </a:cubicBezTo>
                    <a:cubicBezTo>
                      <a:pt x="569" y="1053"/>
                      <a:pt x="581" y="1041"/>
                      <a:pt x="595" y="1041"/>
                    </a:cubicBezTo>
                    <a:close/>
                    <a:moveTo>
                      <a:pt x="586" y="984"/>
                    </a:moveTo>
                    <a:cubicBezTo>
                      <a:pt x="586" y="1001"/>
                      <a:pt x="574" y="1014"/>
                      <a:pt x="559" y="1014"/>
                    </a:cubicBezTo>
                    <a:cubicBezTo>
                      <a:pt x="544" y="1014"/>
                      <a:pt x="532" y="1001"/>
                      <a:pt x="532" y="984"/>
                    </a:cubicBezTo>
                    <a:cubicBezTo>
                      <a:pt x="532" y="967"/>
                      <a:pt x="544" y="954"/>
                      <a:pt x="559" y="954"/>
                    </a:cubicBezTo>
                    <a:cubicBezTo>
                      <a:pt x="574" y="954"/>
                      <a:pt x="586" y="967"/>
                      <a:pt x="586" y="9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4" name="Freeform 12"/>
              <p:cNvSpPr>
                <a:spLocks/>
              </p:cNvSpPr>
              <p:nvPr/>
            </p:nvSpPr>
            <p:spPr bwMode="gray">
              <a:xfrm>
                <a:off x="3000" y="2420"/>
                <a:ext cx="807" cy="440"/>
              </a:xfrm>
              <a:custGeom>
                <a:avLst/>
                <a:gdLst>
                  <a:gd name="T0" fmla="*/ 296 w 341"/>
                  <a:gd name="T1" fmla="*/ 96 h 186"/>
                  <a:gd name="T2" fmla="*/ 256 w 341"/>
                  <a:gd name="T3" fmla="*/ 122 h 186"/>
                  <a:gd name="T4" fmla="*/ 234 w 341"/>
                  <a:gd name="T5" fmla="*/ 121 h 186"/>
                  <a:gd name="T6" fmla="*/ 216 w 341"/>
                  <a:gd name="T7" fmla="*/ 121 h 186"/>
                  <a:gd name="T8" fmla="*/ 164 w 341"/>
                  <a:gd name="T9" fmla="*/ 121 h 186"/>
                  <a:gd name="T10" fmla="*/ 146 w 341"/>
                  <a:gd name="T11" fmla="*/ 115 h 186"/>
                  <a:gd name="T12" fmla="*/ 126 w 341"/>
                  <a:gd name="T13" fmla="*/ 94 h 186"/>
                  <a:gd name="T14" fmla="*/ 116 w 341"/>
                  <a:gd name="T15" fmla="*/ 83 h 186"/>
                  <a:gd name="T16" fmla="*/ 88 w 341"/>
                  <a:gd name="T17" fmla="*/ 56 h 186"/>
                  <a:gd name="T18" fmla="*/ 87 w 341"/>
                  <a:gd name="T19" fmla="*/ 56 h 186"/>
                  <a:gd name="T20" fmla="*/ 89 w 341"/>
                  <a:gd name="T21" fmla="*/ 44 h 186"/>
                  <a:gd name="T22" fmla="*/ 44 w 341"/>
                  <a:gd name="T23" fmla="*/ 0 h 186"/>
                  <a:gd name="T24" fmla="*/ 0 w 341"/>
                  <a:gd name="T25" fmla="*/ 44 h 186"/>
                  <a:gd name="T26" fmla="*/ 44 w 341"/>
                  <a:gd name="T27" fmla="*/ 89 h 186"/>
                  <a:gd name="T28" fmla="*/ 57 w 341"/>
                  <a:gd name="T29" fmla="*/ 87 h 186"/>
                  <a:gd name="T30" fmla="*/ 61 w 341"/>
                  <a:gd name="T31" fmla="*/ 91 h 186"/>
                  <a:gd name="T32" fmla="*/ 81 w 341"/>
                  <a:gd name="T33" fmla="*/ 111 h 186"/>
                  <a:gd name="T34" fmla="*/ 95 w 341"/>
                  <a:gd name="T35" fmla="*/ 124 h 186"/>
                  <a:gd name="T36" fmla="*/ 116 w 341"/>
                  <a:gd name="T37" fmla="*/ 145 h 186"/>
                  <a:gd name="T38" fmla="*/ 126 w 341"/>
                  <a:gd name="T39" fmla="*/ 155 h 186"/>
                  <a:gd name="T40" fmla="*/ 168 w 341"/>
                  <a:gd name="T41" fmla="*/ 163 h 186"/>
                  <a:gd name="T42" fmla="*/ 182 w 341"/>
                  <a:gd name="T43" fmla="*/ 164 h 186"/>
                  <a:gd name="T44" fmla="*/ 236 w 341"/>
                  <a:gd name="T45" fmla="*/ 163 h 186"/>
                  <a:gd name="T46" fmla="*/ 254 w 341"/>
                  <a:gd name="T47" fmla="*/ 164 h 186"/>
                  <a:gd name="T48" fmla="*/ 258 w 341"/>
                  <a:gd name="T49" fmla="*/ 164 h 186"/>
                  <a:gd name="T50" fmla="*/ 296 w 341"/>
                  <a:gd name="T51" fmla="*/ 186 h 186"/>
                  <a:gd name="T52" fmla="*/ 341 w 341"/>
                  <a:gd name="T53" fmla="*/ 141 h 186"/>
                  <a:gd name="T54" fmla="*/ 296 w 341"/>
                  <a:gd name="T55" fmla="*/ 9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1" h="186">
                    <a:moveTo>
                      <a:pt x="296" y="96"/>
                    </a:moveTo>
                    <a:cubicBezTo>
                      <a:pt x="278" y="96"/>
                      <a:pt x="263" y="107"/>
                      <a:pt x="256" y="122"/>
                    </a:cubicBezTo>
                    <a:cubicBezTo>
                      <a:pt x="248" y="121"/>
                      <a:pt x="241" y="121"/>
                      <a:pt x="234" y="121"/>
                    </a:cubicBezTo>
                    <a:cubicBezTo>
                      <a:pt x="228" y="121"/>
                      <a:pt x="222" y="121"/>
                      <a:pt x="216" y="121"/>
                    </a:cubicBezTo>
                    <a:cubicBezTo>
                      <a:pt x="199" y="121"/>
                      <a:pt x="182" y="121"/>
                      <a:pt x="164" y="121"/>
                    </a:cubicBezTo>
                    <a:cubicBezTo>
                      <a:pt x="157" y="122"/>
                      <a:pt x="151" y="122"/>
                      <a:pt x="146" y="115"/>
                    </a:cubicBezTo>
                    <a:cubicBezTo>
                      <a:pt x="140" y="108"/>
                      <a:pt x="133" y="101"/>
                      <a:pt x="126" y="94"/>
                    </a:cubicBezTo>
                    <a:cubicBezTo>
                      <a:pt x="121" y="91"/>
                      <a:pt x="118" y="88"/>
                      <a:pt x="116" y="83"/>
                    </a:cubicBezTo>
                    <a:cubicBezTo>
                      <a:pt x="105" y="76"/>
                      <a:pt x="96" y="66"/>
                      <a:pt x="88" y="56"/>
                    </a:cubicBezTo>
                    <a:cubicBezTo>
                      <a:pt x="88" y="56"/>
                      <a:pt x="88" y="56"/>
                      <a:pt x="87" y="56"/>
                    </a:cubicBezTo>
                    <a:cubicBezTo>
                      <a:pt x="88" y="52"/>
                      <a:pt x="89" y="48"/>
                      <a:pt x="89" y="44"/>
                    </a:cubicBezTo>
                    <a:cubicBezTo>
                      <a:pt x="89" y="20"/>
                      <a:pt x="69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4" y="89"/>
                    </a:cubicBezTo>
                    <a:cubicBezTo>
                      <a:pt x="49" y="89"/>
                      <a:pt x="53" y="88"/>
                      <a:pt x="57" y="87"/>
                    </a:cubicBezTo>
                    <a:cubicBezTo>
                      <a:pt x="59" y="88"/>
                      <a:pt x="60" y="89"/>
                      <a:pt x="61" y="91"/>
                    </a:cubicBezTo>
                    <a:cubicBezTo>
                      <a:pt x="67" y="97"/>
                      <a:pt x="75" y="104"/>
                      <a:pt x="81" y="111"/>
                    </a:cubicBezTo>
                    <a:cubicBezTo>
                      <a:pt x="86" y="116"/>
                      <a:pt x="90" y="120"/>
                      <a:pt x="95" y="124"/>
                    </a:cubicBezTo>
                    <a:cubicBezTo>
                      <a:pt x="102" y="132"/>
                      <a:pt x="109" y="138"/>
                      <a:pt x="116" y="145"/>
                    </a:cubicBezTo>
                    <a:cubicBezTo>
                      <a:pt x="119" y="149"/>
                      <a:pt x="123" y="152"/>
                      <a:pt x="126" y="155"/>
                    </a:cubicBezTo>
                    <a:cubicBezTo>
                      <a:pt x="139" y="162"/>
                      <a:pt x="153" y="163"/>
                      <a:pt x="168" y="163"/>
                    </a:cubicBezTo>
                    <a:cubicBezTo>
                      <a:pt x="172" y="163"/>
                      <a:pt x="177" y="163"/>
                      <a:pt x="182" y="164"/>
                    </a:cubicBezTo>
                    <a:cubicBezTo>
                      <a:pt x="200" y="163"/>
                      <a:pt x="218" y="163"/>
                      <a:pt x="236" y="163"/>
                    </a:cubicBezTo>
                    <a:cubicBezTo>
                      <a:pt x="242" y="163"/>
                      <a:pt x="248" y="163"/>
                      <a:pt x="254" y="164"/>
                    </a:cubicBezTo>
                    <a:cubicBezTo>
                      <a:pt x="255" y="164"/>
                      <a:pt x="257" y="164"/>
                      <a:pt x="258" y="164"/>
                    </a:cubicBezTo>
                    <a:cubicBezTo>
                      <a:pt x="265" y="177"/>
                      <a:pt x="280" y="186"/>
                      <a:pt x="296" y="186"/>
                    </a:cubicBezTo>
                    <a:cubicBezTo>
                      <a:pt x="321" y="186"/>
                      <a:pt x="341" y="166"/>
                      <a:pt x="341" y="141"/>
                    </a:cubicBezTo>
                    <a:cubicBezTo>
                      <a:pt x="341" y="116"/>
                      <a:pt x="321" y="96"/>
                      <a:pt x="2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5" name="Freeform 13"/>
              <p:cNvSpPr>
                <a:spLocks noEditPoints="1"/>
              </p:cNvSpPr>
              <p:nvPr/>
            </p:nvSpPr>
            <p:spPr bwMode="gray">
              <a:xfrm>
                <a:off x="1973" y="1045"/>
                <a:ext cx="217" cy="784"/>
              </a:xfrm>
              <a:custGeom>
                <a:avLst/>
                <a:gdLst>
                  <a:gd name="T0" fmla="*/ 92 w 92"/>
                  <a:gd name="T1" fmla="*/ 44 h 331"/>
                  <a:gd name="T2" fmla="*/ 47 w 92"/>
                  <a:gd name="T3" fmla="*/ 0 h 331"/>
                  <a:gd name="T4" fmla="*/ 3 w 92"/>
                  <a:gd name="T5" fmla="*/ 44 h 331"/>
                  <a:gd name="T6" fmla="*/ 25 w 92"/>
                  <a:gd name="T7" fmla="*/ 83 h 331"/>
                  <a:gd name="T8" fmla="*/ 24 w 92"/>
                  <a:gd name="T9" fmla="*/ 85 h 331"/>
                  <a:gd name="T10" fmla="*/ 24 w 92"/>
                  <a:gd name="T11" fmla="*/ 242 h 331"/>
                  <a:gd name="T12" fmla="*/ 25 w 92"/>
                  <a:gd name="T13" fmla="*/ 245 h 331"/>
                  <a:gd name="T14" fmla="*/ 0 w 92"/>
                  <a:gd name="T15" fmla="*/ 285 h 331"/>
                  <a:gd name="T16" fmla="*/ 46 w 92"/>
                  <a:gd name="T17" fmla="*/ 331 h 331"/>
                  <a:gd name="T18" fmla="*/ 92 w 92"/>
                  <a:gd name="T19" fmla="*/ 285 h 331"/>
                  <a:gd name="T20" fmla="*/ 69 w 92"/>
                  <a:gd name="T21" fmla="*/ 246 h 331"/>
                  <a:gd name="T22" fmla="*/ 70 w 92"/>
                  <a:gd name="T23" fmla="*/ 245 h 331"/>
                  <a:gd name="T24" fmla="*/ 69 w 92"/>
                  <a:gd name="T25" fmla="*/ 83 h 331"/>
                  <a:gd name="T26" fmla="*/ 92 w 92"/>
                  <a:gd name="T27" fmla="*/ 44 h 331"/>
                  <a:gd name="T28" fmla="*/ 73 w 92"/>
                  <a:gd name="T29" fmla="*/ 285 h 331"/>
                  <a:gd name="T30" fmla="*/ 46 w 92"/>
                  <a:gd name="T31" fmla="*/ 312 h 331"/>
                  <a:gd name="T32" fmla="*/ 20 w 92"/>
                  <a:gd name="T33" fmla="*/ 285 h 331"/>
                  <a:gd name="T34" fmla="*/ 46 w 92"/>
                  <a:gd name="T35" fmla="*/ 259 h 331"/>
                  <a:gd name="T36" fmla="*/ 73 w 92"/>
                  <a:gd name="T37" fmla="*/ 285 h 331"/>
                  <a:gd name="T38" fmla="*/ 47 w 92"/>
                  <a:gd name="T39" fmla="*/ 70 h 331"/>
                  <a:gd name="T40" fmla="*/ 22 w 92"/>
                  <a:gd name="T41" fmla="*/ 44 h 331"/>
                  <a:gd name="T42" fmla="*/ 47 w 92"/>
                  <a:gd name="T43" fmla="*/ 19 h 331"/>
                  <a:gd name="T44" fmla="*/ 73 w 92"/>
                  <a:gd name="T45" fmla="*/ 44 h 331"/>
                  <a:gd name="T46" fmla="*/ 47 w 92"/>
                  <a:gd name="T47" fmla="*/ 7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2" h="331">
                    <a:moveTo>
                      <a:pt x="92" y="44"/>
                    </a:moveTo>
                    <a:cubicBezTo>
                      <a:pt x="92" y="20"/>
                      <a:pt x="72" y="0"/>
                      <a:pt x="47" y="0"/>
                    </a:cubicBezTo>
                    <a:cubicBezTo>
                      <a:pt x="23" y="0"/>
                      <a:pt x="3" y="20"/>
                      <a:pt x="3" y="44"/>
                    </a:cubicBezTo>
                    <a:cubicBezTo>
                      <a:pt x="3" y="61"/>
                      <a:pt x="12" y="75"/>
                      <a:pt x="25" y="83"/>
                    </a:cubicBezTo>
                    <a:cubicBezTo>
                      <a:pt x="25" y="84"/>
                      <a:pt x="25" y="85"/>
                      <a:pt x="24" y="85"/>
                    </a:cubicBezTo>
                    <a:cubicBezTo>
                      <a:pt x="24" y="91"/>
                      <a:pt x="24" y="236"/>
                      <a:pt x="24" y="242"/>
                    </a:cubicBezTo>
                    <a:cubicBezTo>
                      <a:pt x="25" y="243"/>
                      <a:pt x="25" y="244"/>
                      <a:pt x="25" y="245"/>
                    </a:cubicBezTo>
                    <a:cubicBezTo>
                      <a:pt x="10" y="253"/>
                      <a:pt x="0" y="268"/>
                      <a:pt x="0" y="285"/>
                    </a:cubicBezTo>
                    <a:cubicBezTo>
                      <a:pt x="0" y="311"/>
                      <a:pt x="21" y="331"/>
                      <a:pt x="46" y="331"/>
                    </a:cubicBezTo>
                    <a:cubicBezTo>
                      <a:pt x="72" y="331"/>
                      <a:pt x="92" y="311"/>
                      <a:pt x="92" y="285"/>
                    </a:cubicBezTo>
                    <a:cubicBezTo>
                      <a:pt x="92" y="268"/>
                      <a:pt x="83" y="254"/>
                      <a:pt x="69" y="246"/>
                    </a:cubicBezTo>
                    <a:cubicBezTo>
                      <a:pt x="69" y="245"/>
                      <a:pt x="70" y="245"/>
                      <a:pt x="70" y="245"/>
                    </a:cubicBezTo>
                    <a:cubicBezTo>
                      <a:pt x="68" y="227"/>
                      <a:pt x="69" y="91"/>
                      <a:pt x="69" y="83"/>
                    </a:cubicBezTo>
                    <a:cubicBezTo>
                      <a:pt x="83" y="76"/>
                      <a:pt x="92" y="61"/>
                      <a:pt x="92" y="44"/>
                    </a:cubicBezTo>
                    <a:close/>
                    <a:moveTo>
                      <a:pt x="73" y="285"/>
                    </a:moveTo>
                    <a:cubicBezTo>
                      <a:pt x="73" y="300"/>
                      <a:pt x="61" y="312"/>
                      <a:pt x="46" y="312"/>
                    </a:cubicBezTo>
                    <a:cubicBezTo>
                      <a:pt x="32" y="312"/>
                      <a:pt x="20" y="300"/>
                      <a:pt x="20" y="285"/>
                    </a:cubicBezTo>
                    <a:cubicBezTo>
                      <a:pt x="20" y="271"/>
                      <a:pt x="32" y="259"/>
                      <a:pt x="46" y="259"/>
                    </a:cubicBezTo>
                    <a:cubicBezTo>
                      <a:pt x="61" y="259"/>
                      <a:pt x="73" y="271"/>
                      <a:pt x="73" y="285"/>
                    </a:cubicBezTo>
                    <a:close/>
                    <a:moveTo>
                      <a:pt x="47" y="70"/>
                    </a:moveTo>
                    <a:cubicBezTo>
                      <a:pt x="33" y="70"/>
                      <a:pt x="22" y="58"/>
                      <a:pt x="22" y="44"/>
                    </a:cubicBezTo>
                    <a:cubicBezTo>
                      <a:pt x="22" y="30"/>
                      <a:pt x="33" y="19"/>
                      <a:pt x="47" y="19"/>
                    </a:cubicBezTo>
                    <a:cubicBezTo>
                      <a:pt x="61" y="19"/>
                      <a:pt x="73" y="30"/>
                      <a:pt x="73" y="44"/>
                    </a:cubicBezTo>
                    <a:cubicBezTo>
                      <a:pt x="73" y="58"/>
                      <a:pt x="61" y="70"/>
                      <a:pt x="47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6" name="Freeform 14"/>
              <p:cNvSpPr>
                <a:spLocks noEditPoints="1"/>
              </p:cNvSpPr>
              <p:nvPr/>
            </p:nvSpPr>
            <p:spPr bwMode="gray">
              <a:xfrm>
                <a:off x="4195" y="470"/>
                <a:ext cx="350" cy="701"/>
              </a:xfrm>
              <a:custGeom>
                <a:avLst/>
                <a:gdLst>
                  <a:gd name="T0" fmla="*/ 45 w 148"/>
                  <a:gd name="T1" fmla="*/ 0 h 296"/>
                  <a:gd name="T2" fmla="*/ 0 w 148"/>
                  <a:gd name="T3" fmla="*/ 45 h 296"/>
                  <a:gd name="T4" fmla="*/ 45 w 148"/>
                  <a:gd name="T5" fmla="*/ 90 h 296"/>
                  <a:gd name="T6" fmla="*/ 58 w 148"/>
                  <a:gd name="T7" fmla="*/ 88 h 296"/>
                  <a:gd name="T8" fmla="*/ 69 w 148"/>
                  <a:gd name="T9" fmla="*/ 100 h 296"/>
                  <a:gd name="T10" fmla="*/ 79 w 148"/>
                  <a:gd name="T11" fmla="*/ 115 h 296"/>
                  <a:gd name="T12" fmla="*/ 79 w 148"/>
                  <a:gd name="T13" fmla="*/ 211 h 296"/>
                  <a:gd name="T14" fmla="*/ 54 w 148"/>
                  <a:gd name="T15" fmla="*/ 251 h 296"/>
                  <a:gd name="T16" fmla="*/ 101 w 148"/>
                  <a:gd name="T17" fmla="*/ 296 h 296"/>
                  <a:gd name="T18" fmla="*/ 148 w 148"/>
                  <a:gd name="T19" fmla="*/ 251 h 296"/>
                  <a:gd name="T20" fmla="*/ 121 w 148"/>
                  <a:gd name="T21" fmla="*/ 211 h 296"/>
                  <a:gd name="T22" fmla="*/ 122 w 148"/>
                  <a:gd name="T23" fmla="*/ 118 h 296"/>
                  <a:gd name="T24" fmla="*/ 111 w 148"/>
                  <a:gd name="T25" fmla="*/ 80 h 296"/>
                  <a:gd name="T26" fmla="*/ 100 w 148"/>
                  <a:gd name="T27" fmla="*/ 69 h 296"/>
                  <a:gd name="T28" fmla="*/ 88 w 148"/>
                  <a:gd name="T29" fmla="*/ 58 h 296"/>
                  <a:gd name="T30" fmla="*/ 90 w 148"/>
                  <a:gd name="T31" fmla="*/ 45 h 296"/>
                  <a:gd name="T32" fmla="*/ 45 w 148"/>
                  <a:gd name="T33" fmla="*/ 0 h 296"/>
                  <a:gd name="T34" fmla="*/ 129 w 148"/>
                  <a:gd name="T35" fmla="*/ 251 h 296"/>
                  <a:gd name="T36" fmla="*/ 101 w 148"/>
                  <a:gd name="T37" fmla="*/ 276 h 296"/>
                  <a:gd name="T38" fmla="*/ 73 w 148"/>
                  <a:gd name="T39" fmla="*/ 251 h 296"/>
                  <a:gd name="T40" fmla="*/ 101 w 148"/>
                  <a:gd name="T41" fmla="*/ 226 h 296"/>
                  <a:gd name="T42" fmla="*/ 129 w 148"/>
                  <a:gd name="T43" fmla="*/ 251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8" h="296">
                    <a:moveTo>
                      <a:pt x="45" y="0"/>
                    </a:moveTo>
                    <a:cubicBezTo>
                      <a:pt x="21" y="0"/>
                      <a:pt x="0" y="21"/>
                      <a:pt x="0" y="45"/>
                    </a:cubicBezTo>
                    <a:cubicBezTo>
                      <a:pt x="0" y="70"/>
                      <a:pt x="21" y="90"/>
                      <a:pt x="45" y="90"/>
                    </a:cubicBezTo>
                    <a:cubicBezTo>
                      <a:pt x="50" y="90"/>
                      <a:pt x="54" y="89"/>
                      <a:pt x="58" y="88"/>
                    </a:cubicBezTo>
                    <a:cubicBezTo>
                      <a:pt x="62" y="92"/>
                      <a:pt x="66" y="96"/>
                      <a:pt x="69" y="100"/>
                    </a:cubicBezTo>
                    <a:cubicBezTo>
                      <a:pt x="74" y="104"/>
                      <a:pt x="79" y="107"/>
                      <a:pt x="79" y="115"/>
                    </a:cubicBezTo>
                    <a:cubicBezTo>
                      <a:pt x="78" y="132"/>
                      <a:pt x="79" y="202"/>
                      <a:pt x="79" y="211"/>
                    </a:cubicBezTo>
                    <a:cubicBezTo>
                      <a:pt x="64" y="219"/>
                      <a:pt x="54" y="234"/>
                      <a:pt x="54" y="251"/>
                    </a:cubicBezTo>
                    <a:cubicBezTo>
                      <a:pt x="54" y="276"/>
                      <a:pt x="75" y="296"/>
                      <a:pt x="101" y="296"/>
                    </a:cubicBezTo>
                    <a:cubicBezTo>
                      <a:pt x="127" y="296"/>
                      <a:pt x="148" y="276"/>
                      <a:pt x="148" y="251"/>
                    </a:cubicBezTo>
                    <a:cubicBezTo>
                      <a:pt x="148" y="233"/>
                      <a:pt x="137" y="218"/>
                      <a:pt x="121" y="211"/>
                    </a:cubicBezTo>
                    <a:cubicBezTo>
                      <a:pt x="121" y="206"/>
                      <a:pt x="122" y="124"/>
                      <a:pt x="122" y="118"/>
                    </a:cubicBezTo>
                    <a:cubicBezTo>
                      <a:pt x="122" y="104"/>
                      <a:pt x="117" y="92"/>
                      <a:pt x="111" y="80"/>
                    </a:cubicBezTo>
                    <a:cubicBezTo>
                      <a:pt x="107" y="77"/>
                      <a:pt x="103" y="73"/>
                      <a:pt x="100" y="69"/>
                    </a:cubicBezTo>
                    <a:cubicBezTo>
                      <a:pt x="96" y="66"/>
                      <a:pt x="92" y="62"/>
                      <a:pt x="88" y="58"/>
                    </a:cubicBezTo>
                    <a:cubicBezTo>
                      <a:pt x="89" y="54"/>
                      <a:pt x="90" y="50"/>
                      <a:pt x="90" y="45"/>
                    </a:cubicBezTo>
                    <a:cubicBezTo>
                      <a:pt x="90" y="21"/>
                      <a:pt x="70" y="0"/>
                      <a:pt x="45" y="0"/>
                    </a:cubicBezTo>
                    <a:close/>
                    <a:moveTo>
                      <a:pt x="129" y="251"/>
                    </a:moveTo>
                    <a:cubicBezTo>
                      <a:pt x="129" y="265"/>
                      <a:pt x="116" y="276"/>
                      <a:pt x="101" y="276"/>
                    </a:cubicBezTo>
                    <a:cubicBezTo>
                      <a:pt x="86" y="276"/>
                      <a:pt x="73" y="265"/>
                      <a:pt x="73" y="251"/>
                    </a:cubicBezTo>
                    <a:cubicBezTo>
                      <a:pt x="73" y="237"/>
                      <a:pt x="86" y="226"/>
                      <a:pt x="101" y="226"/>
                    </a:cubicBezTo>
                    <a:cubicBezTo>
                      <a:pt x="116" y="226"/>
                      <a:pt x="129" y="237"/>
                      <a:pt x="129" y="2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7" name="Freeform 15"/>
              <p:cNvSpPr>
                <a:spLocks noEditPoints="1"/>
              </p:cNvSpPr>
              <p:nvPr/>
            </p:nvSpPr>
            <p:spPr bwMode="gray">
              <a:xfrm>
                <a:off x="3198" y="203"/>
                <a:ext cx="826" cy="1803"/>
              </a:xfrm>
              <a:custGeom>
                <a:avLst/>
                <a:gdLst>
                  <a:gd name="T0" fmla="*/ 192 w 349"/>
                  <a:gd name="T1" fmla="*/ 104 h 762"/>
                  <a:gd name="T2" fmla="*/ 192 w 349"/>
                  <a:gd name="T3" fmla="*/ 173 h 762"/>
                  <a:gd name="T4" fmla="*/ 181 w 349"/>
                  <a:gd name="T5" fmla="*/ 212 h 762"/>
                  <a:gd name="T6" fmla="*/ 19 w 349"/>
                  <a:gd name="T7" fmla="*/ 413 h 762"/>
                  <a:gd name="T8" fmla="*/ 0 w 349"/>
                  <a:gd name="T9" fmla="*/ 717 h 762"/>
                  <a:gd name="T10" fmla="*/ 90 w 349"/>
                  <a:gd name="T11" fmla="*/ 717 h 762"/>
                  <a:gd name="T12" fmla="*/ 63 w 349"/>
                  <a:gd name="T13" fmla="*/ 657 h 762"/>
                  <a:gd name="T14" fmla="*/ 63 w 349"/>
                  <a:gd name="T15" fmla="*/ 588 h 762"/>
                  <a:gd name="T16" fmla="*/ 63 w 349"/>
                  <a:gd name="T17" fmla="*/ 520 h 762"/>
                  <a:gd name="T18" fmla="*/ 63 w 349"/>
                  <a:gd name="T19" fmla="*/ 451 h 762"/>
                  <a:gd name="T20" fmla="*/ 89 w 349"/>
                  <a:gd name="T21" fmla="*/ 363 h 762"/>
                  <a:gd name="T22" fmla="*/ 234 w 349"/>
                  <a:gd name="T23" fmla="*/ 207 h 762"/>
                  <a:gd name="T24" fmla="*/ 235 w 349"/>
                  <a:gd name="T25" fmla="*/ 142 h 762"/>
                  <a:gd name="T26" fmla="*/ 234 w 349"/>
                  <a:gd name="T27" fmla="*/ 93 h 762"/>
                  <a:gd name="T28" fmla="*/ 283 w 349"/>
                  <a:gd name="T29" fmla="*/ 88 h 762"/>
                  <a:gd name="T30" fmla="*/ 283 w 349"/>
                  <a:gd name="T31" fmla="*/ 372 h 762"/>
                  <a:gd name="T32" fmla="*/ 271 w 349"/>
                  <a:gd name="T33" fmla="*/ 457 h 762"/>
                  <a:gd name="T34" fmla="*/ 129 w 349"/>
                  <a:gd name="T35" fmla="*/ 578 h 762"/>
                  <a:gd name="T36" fmla="*/ 129 w 349"/>
                  <a:gd name="T37" fmla="*/ 668 h 762"/>
                  <a:gd name="T38" fmla="*/ 173 w 349"/>
                  <a:gd name="T39" fmla="*/ 614 h 762"/>
                  <a:gd name="T40" fmla="*/ 321 w 349"/>
                  <a:gd name="T41" fmla="*/ 465 h 762"/>
                  <a:gd name="T42" fmla="*/ 326 w 349"/>
                  <a:gd name="T43" fmla="*/ 100 h 762"/>
                  <a:gd name="T44" fmla="*/ 349 w 349"/>
                  <a:gd name="T45" fmla="*/ 47 h 762"/>
                  <a:gd name="T46" fmla="*/ 260 w 349"/>
                  <a:gd name="T47" fmla="*/ 39 h 762"/>
                  <a:gd name="T48" fmla="*/ 172 w 349"/>
                  <a:gd name="T49" fmla="*/ 51 h 762"/>
                  <a:gd name="T50" fmla="*/ 70 w 349"/>
                  <a:gd name="T51" fmla="*/ 717 h 762"/>
                  <a:gd name="T52" fmla="*/ 20 w 349"/>
                  <a:gd name="T53" fmla="*/ 717 h 762"/>
                  <a:gd name="T54" fmla="*/ 70 w 349"/>
                  <a:gd name="T55" fmla="*/ 717 h 762"/>
                  <a:gd name="T56" fmla="*/ 102 w 349"/>
                  <a:gd name="T57" fmla="*/ 623 h 762"/>
                  <a:gd name="T58" fmla="*/ 155 w 349"/>
                  <a:gd name="T59" fmla="*/ 623 h 762"/>
                  <a:gd name="T60" fmla="*/ 217 w 349"/>
                  <a:gd name="T61" fmla="*/ 24 h 762"/>
                  <a:gd name="T62" fmla="*/ 217 w 349"/>
                  <a:gd name="T63" fmla="*/ 77 h 762"/>
                  <a:gd name="T64" fmla="*/ 217 w 349"/>
                  <a:gd name="T65" fmla="*/ 24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9" h="762">
                    <a:moveTo>
                      <a:pt x="192" y="89"/>
                    </a:moveTo>
                    <a:cubicBezTo>
                      <a:pt x="192" y="94"/>
                      <a:pt x="192" y="99"/>
                      <a:pt x="192" y="104"/>
                    </a:cubicBezTo>
                    <a:cubicBezTo>
                      <a:pt x="192" y="110"/>
                      <a:pt x="192" y="115"/>
                      <a:pt x="192" y="121"/>
                    </a:cubicBezTo>
                    <a:cubicBezTo>
                      <a:pt x="192" y="138"/>
                      <a:pt x="192" y="156"/>
                      <a:pt x="192" y="173"/>
                    </a:cubicBezTo>
                    <a:cubicBezTo>
                      <a:pt x="193" y="179"/>
                      <a:pt x="194" y="185"/>
                      <a:pt x="191" y="190"/>
                    </a:cubicBezTo>
                    <a:cubicBezTo>
                      <a:pt x="193" y="200"/>
                      <a:pt x="187" y="206"/>
                      <a:pt x="181" y="212"/>
                    </a:cubicBezTo>
                    <a:cubicBezTo>
                      <a:pt x="138" y="255"/>
                      <a:pt x="96" y="299"/>
                      <a:pt x="51" y="341"/>
                    </a:cubicBezTo>
                    <a:cubicBezTo>
                      <a:pt x="30" y="362"/>
                      <a:pt x="17" y="384"/>
                      <a:pt x="19" y="413"/>
                    </a:cubicBezTo>
                    <a:cubicBezTo>
                      <a:pt x="22" y="419"/>
                      <a:pt x="20" y="666"/>
                      <a:pt x="19" y="681"/>
                    </a:cubicBezTo>
                    <a:cubicBezTo>
                      <a:pt x="8" y="689"/>
                      <a:pt x="0" y="702"/>
                      <a:pt x="0" y="717"/>
                    </a:cubicBezTo>
                    <a:cubicBezTo>
                      <a:pt x="0" y="742"/>
                      <a:pt x="20" y="762"/>
                      <a:pt x="45" y="762"/>
                    </a:cubicBezTo>
                    <a:cubicBezTo>
                      <a:pt x="70" y="762"/>
                      <a:pt x="90" y="742"/>
                      <a:pt x="90" y="717"/>
                    </a:cubicBezTo>
                    <a:cubicBezTo>
                      <a:pt x="90" y="699"/>
                      <a:pt x="79" y="683"/>
                      <a:pt x="62" y="676"/>
                    </a:cubicBezTo>
                    <a:cubicBezTo>
                      <a:pt x="63" y="670"/>
                      <a:pt x="63" y="664"/>
                      <a:pt x="63" y="657"/>
                    </a:cubicBezTo>
                    <a:cubicBezTo>
                      <a:pt x="63" y="652"/>
                      <a:pt x="63" y="646"/>
                      <a:pt x="63" y="640"/>
                    </a:cubicBezTo>
                    <a:cubicBezTo>
                      <a:pt x="63" y="623"/>
                      <a:pt x="63" y="606"/>
                      <a:pt x="63" y="588"/>
                    </a:cubicBezTo>
                    <a:cubicBezTo>
                      <a:pt x="63" y="583"/>
                      <a:pt x="63" y="577"/>
                      <a:pt x="63" y="571"/>
                    </a:cubicBezTo>
                    <a:cubicBezTo>
                      <a:pt x="63" y="554"/>
                      <a:pt x="63" y="537"/>
                      <a:pt x="63" y="520"/>
                    </a:cubicBezTo>
                    <a:cubicBezTo>
                      <a:pt x="63" y="514"/>
                      <a:pt x="63" y="508"/>
                      <a:pt x="63" y="503"/>
                    </a:cubicBezTo>
                    <a:cubicBezTo>
                      <a:pt x="63" y="485"/>
                      <a:pt x="63" y="468"/>
                      <a:pt x="63" y="451"/>
                    </a:cubicBezTo>
                    <a:cubicBezTo>
                      <a:pt x="63" y="446"/>
                      <a:pt x="63" y="440"/>
                      <a:pt x="63" y="434"/>
                    </a:cubicBezTo>
                    <a:cubicBezTo>
                      <a:pt x="58" y="405"/>
                      <a:pt x="66" y="384"/>
                      <a:pt x="89" y="363"/>
                    </a:cubicBezTo>
                    <a:cubicBezTo>
                      <a:pt x="130" y="326"/>
                      <a:pt x="168" y="285"/>
                      <a:pt x="209" y="245"/>
                    </a:cubicBezTo>
                    <a:cubicBezTo>
                      <a:pt x="220" y="234"/>
                      <a:pt x="228" y="222"/>
                      <a:pt x="234" y="207"/>
                    </a:cubicBezTo>
                    <a:cubicBezTo>
                      <a:pt x="234" y="202"/>
                      <a:pt x="234" y="198"/>
                      <a:pt x="235" y="193"/>
                    </a:cubicBezTo>
                    <a:cubicBezTo>
                      <a:pt x="235" y="176"/>
                      <a:pt x="235" y="159"/>
                      <a:pt x="235" y="142"/>
                    </a:cubicBezTo>
                    <a:cubicBezTo>
                      <a:pt x="235" y="136"/>
                      <a:pt x="235" y="130"/>
                      <a:pt x="235" y="125"/>
                    </a:cubicBezTo>
                    <a:cubicBezTo>
                      <a:pt x="235" y="114"/>
                      <a:pt x="234" y="104"/>
                      <a:pt x="234" y="93"/>
                    </a:cubicBezTo>
                    <a:cubicBezTo>
                      <a:pt x="248" y="87"/>
                      <a:pt x="258" y="74"/>
                      <a:pt x="261" y="59"/>
                    </a:cubicBezTo>
                    <a:cubicBezTo>
                      <a:pt x="264" y="72"/>
                      <a:pt x="272" y="82"/>
                      <a:pt x="283" y="88"/>
                    </a:cubicBezTo>
                    <a:cubicBezTo>
                      <a:pt x="283" y="91"/>
                      <a:pt x="283" y="94"/>
                      <a:pt x="283" y="96"/>
                    </a:cubicBezTo>
                    <a:cubicBezTo>
                      <a:pt x="283" y="114"/>
                      <a:pt x="283" y="366"/>
                      <a:pt x="283" y="372"/>
                    </a:cubicBezTo>
                    <a:cubicBezTo>
                      <a:pt x="283" y="390"/>
                      <a:pt x="283" y="407"/>
                      <a:pt x="283" y="424"/>
                    </a:cubicBezTo>
                    <a:cubicBezTo>
                      <a:pt x="286" y="438"/>
                      <a:pt x="280" y="448"/>
                      <a:pt x="271" y="457"/>
                    </a:cubicBezTo>
                    <a:cubicBezTo>
                      <a:pt x="229" y="499"/>
                      <a:pt x="188" y="540"/>
                      <a:pt x="146" y="582"/>
                    </a:cubicBezTo>
                    <a:cubicBezTo>
                      <a:pt x="141" y="580"/>
                      <a:pt x="135" y="578"/>
                      <a:pt x="129" y="578"/>
                    </a:cubicBezTo>
                    <a:cubicBezTo>
                      <a:pt x="103" y="578"/>
                      <a:pt x="83" y="598"/>
                      <a:pt x="83" y="623"/>
                    </a:cubicBezTo>
                    <a:cubicBezTo>
                      <a:pt x="83" y="648"/>
                      <a:pt x="103" y="668"/>
                      <a:pt x="129" y="668"/>
                    </a:cubicBezTo>
                    <a:cubicBezTo>
                      <a:pt x="154" y="668"/>
                      <a:pt x="175" y="648"/>
                      <a:pt x="175" y="623"/>
                    </a:cubicBezTo>
                    <a:cubicBezTo>
                      <a:pt x="175" y="620"/>
                      <a:pt x="174" y="617"/>
                      <a:pt x="173" y="614"/>
                    </a:cubicBezTo>
                    <a:cubicBezTo>
                      <a:pt x="196" y="594"/>
                      <a:pt x="216" y="572"/>
                      <a:pt x="237" y="551"/>
                    </a:cubicBezTo>
                    <a:cubicBezTo>
                      <a:pt x="265" y="523"/>
                      <a:pt x="295" y="496"/>
                      <a:pt x="321" y="465"/>
                    </a:cubicBezTo>
                    <a:cubicBezTo>
                      <a:pt x="323" y="458"/>
                      <a:pt x="325" y="451"/>
                      <a:pt x="326" y="445"/>
                    </a:cubicBezTo>
                    <a:cubicBezTo>
                      <a:pt x="326" y="428"/>
                      <a:pt x="326" y="104"/>
                      <a:pt x="326" y="100"/>
                    </a:cubicBezTo>
                    <a:cubicBezTo>
                      <a:pt x="326" y="96"/>
                      <a:pt x="326" y="92"/>
                      <a:pt x="326" y="88"/>
                    </a:cubicBezTo>
                    <a:cubicBezTo>
                      <a:pt x="339" y="80"/>
                      <a:pt x="349" y="65"/>
                      <a:pt x="349" y="47"/>
                    </a:cubicBezTo>
                    <a:cubicBezTo>
                      <a:pt x="349" y="21"/>
                      <a:pt x="329" y="0"/>
                      <a:pt x="304" y="0"/>
                    </a:cubicBezTo>
                    <a:cubicBezTo>
                      <a:pt x="282" y="0"/>
                      <a:pt x="264" y="17"/>
                      <a:pt x="260" y="39"/>
                    </a:cubicBezTo>
                    <a:cubicBezTo>
                      <a:pt x="255" y="19"/>
                      <a:pt x="238" y="5"/>
                      <a:pt x="217" y="5"/>
                    </a:cubicBezTo>
                    <a:cubicBezTo>
                      <a:pt x="192" y="5"/>
                      <a:pt x="172" y="25"/>
                      <a:pt x="172" y="51"/>
                    </a:cubicBezTo>
                    <a:cubicBezTo>
                      <a:pt x="172" y="66"/>
                      <a:pt x="180" y="81"/>
                      <a:pt x="192" y="89"/>
                    </a:cubicBezTo>
                    <a:close/>
                    <a:moveTo>
                      <a:pt x="70" y="717"/>
                    </a:moveTo>
                    <a:cubicBezTo>
                      <a:pt x="70" y="731"/>
                      <a:pt x="59" y="743"/>
                      <a:pt x="45" y="743"/>
                    </a:cubicBezTo>
                    <a:cubicBezTo>
                      <a:pt x="31" y="743"/>
                      <a:pt x="20" y="731"/>
                      <a:pt x="20" y="717"/>
                    </a:cubicBezTo>
                    <a:cubicBezTo>
                      <a:pt x="20" y="703"/>
                      <a:pt x="31" y="692"/>
                      <a:pt x="45" y="692"/>
                    </a:cubicBezTo>
                    <a:cubicBezTo>
                      <a:pt x="59" y="692"/>
                      <a:pt x="70" y="703"/>
                      <a:pt x="70" y="717"/>
                    </a:cubicBezTo>
                    <a:close/>
                    <a:moveTo>
                      <a:pt x="129" y="648"/>
                    </a:moveTo>
                    <a:cubicBezTo>
                      <a:pt x="114" y="648"/>
                      <a:pt x="102" y="637"/>
                      <a:pt x="102" y="623"/>
                    </a:cubicBezTo>
                    <a:cubicBezTo>
                      <a:pt x="102" y="609"/>
                      <a:pt x="114" y="598"/>
                      <a:pt x="129" y="598"/>
                    </a:cubicBezTo>
                    <a:cubicBezTo>
                      <a:pt x="143" y="598"/>
                      <a:pt x="155" y="609"/>
                      <a:pt x="155" y="623"/>
                    </a:cubicBezTo>
                    <a:cubicBezTo>
                      <a:pt x="155" y="637"/>
                      <a:pt x="143" y="648"/>
                      <a:pt x="129" y="648"/>
                    </a:cubicBezTo>
                    <a:close/>
                    <a:moveTo>
                      <a:pt x="217" y="24"/>
                    </a:moveTo>
                    <a:cubicBezTo>
                      <a:pt x="231" y="24"/>
                      <a:pt x="242" y="36"/>
                      <a:pt x="242" y="51"/>
                    </a:cubicBezTo>
                    <a:cubicBezTo>
                      <a:pt x="242" y="65"/>
                      <a:pt x="231" y="77"/>
                      <a:pt x="217" y="77"/>
                    </a:cubicBezTo>
                    <a:cubicBezTo>
                      <a:pt x="203" y="77"/>
                      <a:pt x="192" y="65"/>
                      <a:pt x="192" y="51"/>
                    </a:cubicBezTo>
                    <a:cubicBezTo>
                      <a:pt x="192" y="36"/>
                      <a:pt x="203" y="24"/>
                      <a:pt x="2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8" name="Freeform 16"/>
              <p:cNvSpPr>
                <a:spLocks noEditPoints="1"/>
              </p:cNvSpPr>
              <p:nvPr/>
            </p:nvSpPr>
            <p:spPr bwMode="gray">
              <a:xfrm>
                <a:off x="5044" y="756"/>
                <a:ext cx="424" cy="952"/>
              </a:xfrm>
              <a:custGeom>
                <a:avLst/>
                <a:gdLst>
                  <a:gd name="T0" fmla="*/ 24 w 179"/>
                  <a:gd name="T1" fmla="*/ 87 h 402"/>
                  <a:gd name="T2" fmla="*/ 24 w 179"/>
                  <a:gd name="T3" fmla="*/ 101 h 402"/>
                  <a:gd name="T4" fmla="*/ 24 w 179"/>
                  <a:gd name="T5" fmla="*/ 153 h 402"/>
                  <a:gd name="T6" fmla="*/ 24 w 179"/>
                  <a:gd name="T7" fmla="*/ 170 h 402"/>
                  <a:gd name="T8" fmla="*/ 24 w 179"/>
                  <a:gd name="T9" fmla="*/ 221 h 402"/>
                  <a:gd name="T10" fmla="*/ 24 w 179"/>
                  <a:gd name="T11" fmla="*/ 238 h 402"/>
                  <a:gd name="T12" fmla="*/ 31 w 179"/>
                  <a:gd name="T13" fmla="*/ 283 h 402"/>
                  <a:gd name="T14" fmla="*/ 41 w 179"/>
                  <a:gd name="T15" fmla="*/ 293 h 402"/>
                  <a:gd name="T16" fmla="*/ 66 w 179"/>
                  <a:gd name="T17" fmla="*/ 320 h 402"/>
                  <a:gd name="T18" fmla="*/ 68 w 179"/>
                  <a:gd name="T19" fmla="*/ 323 h 402"/>
                  <a:gd name="T20" fmla="*/ 91 w 179"/>
                  <a:gd name="T21" fmla="*/ 343 h 402"/>
                  <a:gd name="T22" fmla="*/ 89 w 179"/>
                  <a:gd name="T23" fmla="*/ 356 h 402"/>
                  <a:gd name="T24" fmla="*/ 134 w 179"/>
                  <a:gd name="T25" fmla="*/ 402 h 402"/>
                  <a:gd name="T26" fmla="*/ 179 w 179"/>
                  <a:gd name="T27" fmla="*/ 356 h 402"/>
                  <a:gd name="T28" fmla="*/ 134 w 179"/>
                  <a:gd name="T29" fmla="*/ 310 h 402"/>
                  <a:gd name="T30" fmla="*/ 119 w 179"/>
                  <a:gd name="T31" fmla="*/ 313 h 402"/>
                  <a:gd name="T32" fmla="*/ 102 w 179"/>
                  <a:gd name="T33" fmla="*/ 294 h 402"/>
                  <a:gd name="T34" fmla="*/ 95 w 179"/>
                  <a:gd name="T35" fmla="*/ 287 h 402"/>
                  <a:gd name="T36" fmla="*/ 68 w 179"/>
                  <a:gd name="T37" fmla="*/ 259 h 402"/>
                  <a:gd name="T38" fmla="*/ 68 w 179"/>
                  <a:gd name="T39" fmla="*/ 242 h 402"/>
                  <a:gd name="T40" fmla="*/ 68 w 179"/>
                  <a:gd name="T41" fmla="*/ 190 h 402"/>
                  <a:gd name="T42" fmla="*/ 68 w 179"/>
                  <a:gd name="T43" fmla="*/ 173 h 402"/>
                  <a:gd name="T44" fmla="*/ 68 w 179"/>
                  <a:gd name="T45" fmla="*/ 122 h 402"/>
                  <a:gd name="T46" fmla="*/ 68 w 179"/>
                  <a:gd name="T47" fmla="*/ 104 h 402"/>
                  <a:gd name="T48" fmla="*/ 67 w 179"/>
                  <a:gd name="T49" fmla="*/ 86 h 402"/>
                  <a:gd name="T50" fmla="*/ 89 w 179"/>
                  <a:gd name="T51" fmla="*/ 46 h 402"/>
                  <a:gd name="T52" fmla="*/ 45 w 179"/>
                  <a:gd name="T53" fmla="*/ 0 h 402"/>
                  <a:gd name="T54" fmla="*/ 0 w 179"/>
                  <a:gd name="T55" fmla="*/ 46 h 402"/>
                  <a:gd name="T56" fmla="*/ 24 w 179"/>
                  <a:gd name="T57" fmla="*/ 87 h 402"/>
                  <a:gd name="T58" fmla="*/ 134 w 179"/>
                  <a:gd name="T59" fmla="*/ 330 h 402"/>
                  <a:gd name="T60" fmla="*/ 160 w 179"/>
                  <a:gd name="T61" fmla="*/ 356 h 402"/>
                  <a:gd name="T62" fmla="*/ 134 w 179"/>
                  <a:gd name="T63" fmla="*/ 383 h 402"/>
                  <a:gd name="T64" fmla="*/ 109 w 179"/>
                  <a:gd name="T65" fmla="*/ 356 h 402"/>
                  <a:gd name="T66" fmla="*/ 134 w 179"/>
                  <a:gd name="T67" fmla="*/ 330 h 402"/>
                  <a:gd name="T68" fmla="*/ 45 w 179"/>
                  <a:gd name="T69" fmla="*/ 20 h 402"/>
                  <a:gd name="T70" fmla="*/ 70 w 179"/>
                  <a:gd name="T71" fmla="*/ 46 h 402"/>
                  <a:gd name="T72" fmla="*/ 45 w 179"/>
                  <a:gd name="T73" fmla="*/ 73 h 402"/>
                  <a:gd name="T74" fmla="*/ 19 w 179"/>
                  <a:gd name="T75" fmla="*/ 46 h 402"/>
                  <a:gd name="T76" fmla="*/ 45 w 179"/>
                  <a:gd name="T77" fmla="*/ 2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9" h="402">
                    <a:moveTo>
                      <a:pt x="24" y="87"/>
                    </a:moveTo>
                    <a:cubicBezTo>
                      <a:pt x="24" y="92"/>
                      <a:pt x="24" y="96"/>
                      <a:pt x="24" y="101"/>
                    </a:cubicBezTo>
                    <a:cubicBezTo>
                      <a:pt x="24" y="118"/>
                      <a:pt x="24" y="135"/>
                      <a:pt x="24" y="153"/>
                    </a:cubicBezTo>
                    <a:cubicBezTo>
                      <a:pt x="24" y="158"/>
                      <a:pt x="24" y="164"/>
                      <a:pt x="24" y="170"/>
                    </a:cubicBezTo>
                    <a:cubicBezTo>
                      <a:pt x="24" y="186"/>
                      <a:pt x="24" y="204"/>
                      <a:pt x="24" y="221"/>
                    </a:cubicBezTo>
                    <a:cubicBezTo>
                      <a:pt x="24" y="227"/>
                      <a:pt x="24" y="233"/>
                      <a:pt x="24" y="238"/>
                    </a:cubicBezTo>
                    <a:cubicBezTo>
                      <a:pt x="24" y="253"/>
                      <a:pt x="25" y="269"/>
                      <a:pt x="31" y="283"/>
                    </a:cubicBezTo>
                    <a:cubicBezTo>
                      <a:pt x="34" y="287"/>
                      <a:pt x="38" y="289"/>
                      <a:pt x="41" y="293"/>
                    </a:cubicBezTo>
                    <a:cubicBezTo>
                      <a:pt x="49" y="303"/>
                      <a:pt x="57" y="312"/>
                      <a:pt x="66" y="320"/>
                    </a:cubicBezTo>
                    <a:cubicBezTo>
                      <a:pt x="67" y="321"/>
                      <a:pt x="68" y="322"/>
                      <a:pt x="68" y="323"/>
                    </a:cubicBezTo>
                    <a:cubicBezTo>
                      <a:pt x="76" y="329"/>
                      <a:pt x="84" y="336"/>
                      <a:pt x="91" y="343"/>
                    </a:cubicBezTo>
                    <a:cubicBezTo>
                      <a:pt x="90" y="347"/>
                      <a:pt x="89" y="352"/>
                      <a:pt x="89" y="356"/>
                    </a:cubicBezTo>
                    <a:cubicBezTo>
                      <a:pt x="89" y="382"/>
                      <a:pt x="109" y="402"/>
                      <a:pt x="134" y="402"/>
                    </a:cubicBezTo>
                    <a:cubicBezTo>
                      <a:pt x="159" y="402"/>
                      <a:pt x="179" y="382"/>
                      <a:pt x="179" y="356"/>
                    </a:cubicBezTo>
                    <a:cubicBezTo>
                      <a:pt x="179" y="331"/>
                      <a:pt x="159" y="310"/>
                      <a:pt x="134" y="310"/>
                    </a:cubicBezTo>
                    <a:cubicBezTo>
                      <a:pt x="129" y="310"/>
                      <a:pt x="124" y="312"/>
                      <a:pt x="119" y="313"/>
                    </a:cubicBezTo>
                    <a:cubicBezTo>
                      <a:pt x="113" y="307"/>
                      <a:pt x="107" y="300"/>
                      <a:pt x="102" y="294"/>
                    </a:cubicBezTo>
                    <a:cubicBezTo>
                      <a:pt x="99" y="292"/>
                      <a:pt x="97" y="289"/>
                      <a:pt x="95" y="287"/>
                    </a:cubicBezTo>
                    <a:cubicBezTo>
                      <a:pt x="85" y="278"/>
                      <a:pt x="76" y="270"/>
                      <a:pt x="68" y="259"/>
                    </a:cubicBezTo>
                    <a:cubicBezTo>
                      <a:pt x="65" y="253"/>
                      <a:pt x="65" y="248"/>
                      <a:pt x="68" y="242"/>
                    </a:cubicBezTo>
                    <a:cubicBezTo>
                      <a:pt x="68" y="225"/>
                      <a:pt x="68" y="208"/>
                      <a:pt x="68" y="190"/>
                    </a:cubicBezTo>
                    <a:cubicBezTo>
                      <a:pt x="65" y="184"/>
                      <a:pt x="65" y="179"/>
                      <a:pt x="68" y="173"/>
                    </a:cubicBezTo>
                    <a:cubicBezTo>
                      <a:pt x="68" y="156"/>
                      <a:pt x="68" y="139"/>
                      <a:pt x="68" y="122"/>
                    </a:cubicBezTo>
                    <a:cubicBezTo>
                      <a:pt x="65" y="116"/>
                      <a:pt x="65" y="110"/>
                      <a:pt x="68" y="104"/>
                    </a:cubicBezTo>
                    <a:cubicBezTo>
                      <a:pt x="66" y="98"/>
                      <a:pt x="67" y="92"/>
                      <a:pt x="67" y="86"/>
                    </a:cubicBezTo>
                    <a:cubicBezTo>
                      <a:pt x="80" y="78"/>
                      <a:pt x="89" y="63"/>
                      <a:pt x="89" y="46"/>
                    </a:cubicBezTo>
                    <a:cubicBezTo>
                      <a:pt x="89" y="21"/>
                      <a:pt x="69" y="0"/>
                      <a:pt x="45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64"/>
                      <a:pt x="10" y="79"/>
                      <a:pt x="24" y="87"/>
                    </a:cubicBezTo>
                    <a:close/>
                    <a:moveTo>
                      <a:pt x="134" y="330"/>
                    </a:moveTo>
                    <a:cubicBezTo>
                      <a:pt x="148" y="330"/>
                      <a:pt x="160" y="342"/>
                      <a:pt x="160" y="356"/>
                    </a:cubicBezTo>
                    <a:cubicBezTo>
                      <a:pt x="160" y="371"/>
                      <a:pt x="148" y="383"/>
                      <a:pt x="134" y="383"/>
                    </a:cubicBezTo>
                    <a:cubicBezTo>
                      <a:pt x="120" y="383"/>
                      <a:pt x="109" y="371"/>
                      <a:pt x="109" y="356"/>
                    </a:cubicBezTo>
                    <a:cubicBezTo>
                      <a:pt x="109" y="342"/>
                      <a:pt x="120" y="330"/>
                      <a:pt x="134" y="330"/>
                    </a:cubicBezTo>
                    <a:close/>
                    <a:moveTo>
                      <a:pt x="45" y="20"/>
                    </a:moveTo>
                    <a:cubicBezTo>
                      <a:pt x="59" y="20"/>
                      <a:pt x="70" y="32"/>
                      <a:pt x="70" y="46"/>
                    </a:cubicBezTo>
                    <a:cubicBezTo>
                      <a:pt x="70" y="61"/>
                      <a:pt x="59" y="73"/>
                      <a:pt x="45" y="73"/>
                    </a:cubicBezTo>
                    <a:cubicBezTo>
                      <a:pt x="31" y="73"/>
                      <a:pt x="19" y="61"/>
                      <a:pt x="19" y="46"/>
                    </a:cubicBezTo>
                    <a:cubicBezTo>
                      <a:pt x="19" y="32"/>
                      <a:pt x="31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59" name="Freeform 17"/>
              <p:cNvSpPr>
                <a:spLocks noEditPoints="1"/>
              </p:cNvSpPr>
              <p:nvPr/>
            </p:nvSpPr>
            <p:spPr bwMode="gray">
              <a:xfrm>
                <a:off x="2179" y="747"/>
                <a:ext cx="378" cy="1384"/>
              </a:xfrm>
              <a:custGeom>
                <a:avLst/>
                <a:gdLst>
                  <a:gd name="T0" fmla="*/ 115 w 160"/>
                  <a:gd name="T1" fmla="*/ 496 h 585"/>
                  <a:gd name="T2" fmla="*/ 109 w 160"/>
                  <a:gd name="T3" fmla="*/ 497 h 585"/>
                  <a:gd name="T4" fmla="*/ 95 w 160"/>
                  <a:gd name="T5" fmla="*/ 481 h 585"/>
                  <a:gd name="T6" fmla="*/ 88 w 160"/>
                  <a:gd name="T7" fmla="*/ 474 h 585"/>
                  <a:gd name="T8" fmla="*/ 68 w 160"/>
                  <a:gd name="T9" fmla="*/ 440 h 585"/>
                  <a:gd name="T10" fmla="*/ 68 w 160"/>
                  <a:gd name="T11" fmla="*/ 88 h 585"/>
                  <a:gd name="T12" fmla="*/ 92 w 160"/>
                  <a:gd name="T13" fmla="*/ 47 h 585"/>
                  <a:gd name="T14" fmla="*/ 46 w 160"/>
                  <a:gd name="T15" fmla="*/ 0 h 585"/>
                  <a:gd name="T16" fmla="*/ 0 w 160"/>
                  <a:gd name="T17" fmla="*/ 47 h 585"/>
                  <a:gd name="T18" fmla="*/ 25 w 160"/>
                  <a:gd name="T19" fmla="*/ 88 h 585"/>
                  <a:gd name="T20" fmla="*/ 27 w 160"/>
                  <a:gd name="T21" fmla="*/ 466 h 585"/>
                  <a:gd name="T22" fmla="*/ 35 w 160"/>
                  <a:gd name="T23" fmla="*/ 481 h 585"/>
                  <a:gd name="T24" fmla="*/ 57 w 160"/>
                  <a:gd name="T25" fmla="*/ 505 h 585"/>
                  <a:gd name="T26" fmla="*/ 67 w 160"/>
                  <a:gd name="T27" fmla="*/ 515 h 585"/>
                  <a:gd name="T28" fmla="*/ 75 w 160"/>
                  <a:gd name="T29" fmla="*/ 522 h 585"/>
                  <a:gd name="T30" fmla="*/ 71 w 160"/>
                  <a:gd name="T31" fmla="*/ 541 h 585"/>
                  <a:gd name="T32" fmla="*/ 115 w 160"/>
                  <a:gd name="T33" fmla="*/ 585 h 585"/>
                  <a:gd name="T34" fmla="*/ 160 w 160"/>
                  <a:gd name="T35" fmla="*/ 541 h 585"/>
                  <a:gd name="T36" fmla="*/ 115 w 160"/>
                  <a:gd name="T37" fmla="*/ 496 h 585"/>
                  <a:gd name="T38" fmla="*/ 20 w 160"/>
                  <a:gd name="T39" fmla="*/ 47 h 585"/>
                  <a:gd name="T40" fmla="*/ 46 w 160"/>
                  <a:gd name="T41" fmla="*/ 19 h 585"/>
                  <a:gd name="T42" fmla="*/ 73 w 160"/>
                  <a:gd name="T43" fmla="*/ 47 h 585"/>
                  <a:gd name="T44" fmla="*/ 46 w 160"/>
                  <a:gd name="T45" fmla="*/ 75 h 585"/>
                  <a:gd name="T46" fmla="*/ 20 w 160"/>
                  <a:gd name="T47" fmla="*/ 47 h 585"/>
                  <a:gd name="T48" fmla="*/ 115 w 160"/>
                  <a:gd name="T49" fmla="*/ 566 h 585"/>
                  <a:gd name="T50" fmla="*/ 90 w 160"/>
                  <a:gd name="T51" fmla="*/ 541 h 585"/>
                  <a:gd name="T52" fmla="*/ 115 w 160"/>
                  <a:gd name="T53" fmla="*/ 515 h 585"/>
                  <a:gd name="T54" fmla="*/ 141 w 160"/>
                  <a:gd name="T55" fmla="*/ 541 h 585"/>
                  <a:gd name="T56" fmla="*/ 115 w 160"/>
                  <a:gd name="T57" fmla="*/ 566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585">
                    <a:moveTo>
                      <a:pt x="115" y="496"/>
                    </a:moveTo>
                    <a:cubicBezTo>
                      <a:pt x="113" y="496"/>
                      <a:pt x="111" y="496"/>
                      <a:pt x="109" y="497"/>
                    </a:cubicBezTo>
                    <a:cubicBezTo>
                      <a:pt x="104" y="491"/>
                      <a:pt x="100" y="486"/>
                      <a:pt x="95" y="481"/>
                    </a:cubicBezTo>
                    <a:cubicBezTo>
                      <a:pt x="91" y="480"/>
                      <a:pt x="89" y="477"/>
                      <a:pt x="88" y="474"/>
                    </a:cubicBezTo>
                    <a:cubicBezTo>
                      <a:pt x="77" y="465"/>
                      <a:pt x="63" y="457"/>
                      <a:pt x="68" y="440"/>
                    </a:cubicBezTo>
                    <a:cubicBezTo>
                      <a:pt x="67" y="434"/>
                      <a:pt x="68" y="91"/>
                      <a:pt x="68" y="88"/>
                    </a:cubicBezTo>
                    <a:cubicBezTo>
                      <a:pt x="82" y="80"/>
                      <a:pt x="92" y="65"/>
                      <a:pt x="92" y="47"/>
                    </a:cubicBezTo>
                    <a:cubicBezTo>
                      <a:pt x="92" y="21"/>
                      <a:pt x="72" y="0"/>
                      <a:pt x="46" y="0"/>
                    </a:cubicBezTo>
                    <a:cubicBezTo>
                      <a:pt x="21" y="0"/>
                      <a:pt x="0" y="21"/>
                      <a:pt x="0" y="47"/>
                    </a:cubicBezTo>
                    <a:cubicBezTo>
                      <a:pt x="0" y="65"/>
                      <a:pt x="10" y="80"/>
                      <a:pt x="25" y="88"/>
                    </a:cubicBezTo>
                    <a:cubicBezTo>
                      <a:pt x="25" y="101"/>
                      <a:pt x="26" y="450"/>
                      <a:pt x="27" y="466"/>
                    </a:cubicBezTo>
                    <a:cubicBezTo>
                      <a:pt x="30" y="471"/>
                      <a:pt x="32" y="476"/>
                      <a:pt x="35" y="481"/>
                    </a:cubicBezTo>
                    <a:cubicBezTo>
                      <a:pt x="42" y="489"/>
                      <a:pt x="49" y="497"/>
                      <a:pt x="57" y="505"/>
                    </a:cubicBezTo>
                    <a:cubicBezTo>
                      <a:pt x="60" y="508"/>
                      <a:pt x="63" y="512"/>
                      <a:pt x="67" y="515"/>
                    </a:cubicBezTo>
                    <a:cubicBezTo>
                      <a:pt x="69" y="518"/>
                      <a:pt x="72" y="520"/>
                      <a:pt x="75" y="522"/>
                    </a:cubicBezTo>
                    <a:cubicBezTo>
                      <a:pt x="72" y="528"/>
                      <a:pt x="71" y="534"/>
                      <a:pt x="71" y="541"/>
                    </a:cubicBezTo>
                    <a:cubicBezTo>
                      <a:pt x="71" y="565"/>
                      <a:pt x="91" y="585"/>
                      <a:pt x="115" y="585"/>
                    </a:cubicBezTo>
                    <a:cubicBezTo>
                      <a:pt x="140" y="585"/>
                      <a:pt x="160" y="565"/>
                      <a:pt x="160" y="541"/>
                    </a:cubicBezTo>
                    <a:cubicBezTo>
                      <a:pt x="160" y="516"/>
                      <a:pt x="140" y="496"/>
                      <a:pt x="115" y="496"/>
                    </a:cubicBezTo>
                    <a:close/>
                    <a:moveTo>
                      <a:pt x="20" y="47"/>
                    </a:moveTo>
                    <a:cubicBezTo>
                      <a:pt x="20" y="32"/>
                      <a:pt x="32" y="19"/>
                      <a:pt x="46" y="19"/>
                    </a:cubicBezTo>
                    <a:cubicBezTo>
                      <a:pt x="61" y="19"/>
                      <a:pt x="73" y="32"/>
                      <a:pt x="73" y="47"/>
                    </a:cubicBezTo>
                    <a:cubicBezTo>
                      <a:pt x="73" y="62"/>
                      <a:pt x="61" y="75"/>
                      <a:pt x="46" y="75"/>
                    </a:cubicBezTo>
                    <a:cubicBezTo>
                      <a:pt x="32" y="75"/>
                      <a:pt x="20" y="62"/>
                      <a:pt x="20" y="47"/>
                    </a:cubicBezTo>
                    <a:close/>
                    <a:moveTo>
                      <a:pt x="115" y="566"/>
                    </a:moveTo>
                    <a:cubicBezTo>
                      <a:pt x="101" y="566"/>
                      <a:pt x="90" y="555"/>
                      <a:pt x="90" y="541"/>
                    </a:cubicBezTo>
                    <a:cubicBezTo>
                      <a:pt x="90" y="527"/>
                      <a:pt x="101" y="515"/>
                      <a:pt x="115" y="515"/>
                    </a:cubicBezTo>
                    <a:cubicBezTo>
                      <a:pt x="129" y="515"/>
                      <a:pt x="141" y="527"/>
                      <a:pt x="141" y="541"/>
                    </a:cubicBezTo>
                    <a:cubicBezTo>
                      <a:pt x="141" y="555"/>
                      <a:pt x="129" y="566"/>
                      <a:pt x="115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0" name="Freeform 18"/>
              <p:cNvSpPr>
                <a:spLocks noEditPoints="1"/>
              </p:cNvSpPr>
              <p:nvPr/>
            </p:nvSpPr>
            <p:spPr bwMode="gray">
              <a:xfrm>
                <a:off x="2420" y="311"/>
                <a:ext cx="939" cy="1707"/>
              </a:xfrm>
              <a:custGeom>
                <a:avLst/>
                <a:gdLst>
                  <a:gd name="T0" fmla="*/ 162 w 397"/>
                  <a:gd name="T1" fmla="*/ 675 h 721"/>
                  <a:gd name="T2" fmla="*/ 137 w 397"/>
                  <a:gd name="T3" fmla="*/ 634 h 721"/>
                  <a:gd name="T4" fmla="*/ 137 w 397"/>
                  <a:gd name="T5" fmla="*/ 592 h 721"/>
                  <a:gd name="T6" fmla="*/ 135 w 397"/>
                  <a:gd name="T7" fmla="*/ 580 h 721"/>
                  <a:gd name="T8" fmla="*/ 111 w 397"/>
                  <a:gd name="T9" fmla="*/ 548 h 721"/>
                  <a:gd name="T10" fmla="*/ 104 w 397"/>
                  <a:gd name="T11" fmla="*/ 541 h 721"/>
                  <a:gd name="T12" fmla="*/ 76 w 397"/>
                  <a:gd name="T13" fmla="*/ 513 h 721"/>
                  <a:gd name="T14" fmla="*/ 70 w 397"/>
                  <a:gd name="T15" fmla="*/ 506 h 721"/>
                  <a:gd name="T16" fmla="*/ 46 w 397"/>
                  <a:gd name="T17" fmla="*/ 482 h 721"/>
                  <a:gd name="T18" fmla="*/ 44 w 397"/>
                  <a:gd name="T19" fmla="*/ 460 h 721"/>
                  <a:gd name="T20" fmla="*/ 44 w 397"/>
                  <a:gd name="T21" fmla="*/ 409 h 721"/>
                  <a:gd name="T22" fmla="*/ 44 w 397"/>
                  <a:gd name="T23" fmla="*/ 392 h 721"/>
                  <a:gd name="T24" fmla="*/ 44 w 397"/>
                  <a:gd name="T25" fmla="*/ 340 h 721"/>
                  <a:gd name="T26" fmla="*/ 43 w 397"/>
                  <a:gd name="T27" fmla="*/ 322 h 721"/>
                  <a:gd name="T28" fmla="*/ 43 w 397"/>
                  <a:gd name="T29" fmla="*/ 285 h 721"/>
                  <a:gd name="T30" fmla="*/ 61 w 397"/>
                  <a:gd name="T31" fmla="*/ 267 h 721"/>
                  <a:gd name="T32" fmla="*/ 95 w 397"/>
                  <a:gd name="T33" fmla="*/ 268 h 721"/>
                  <a:gd name="T34" fmla="*/ 112 w 397"/>
                  <a:gd name="T35" fmla="*/ 269 h 721"/>
                  <a:gd name="T36" fmla="*/ 167 w 397"/>
                  <a:gd name="T37" fmla="*/ 261 h 721"/>
                  <a:gd name="T38" fmla="*/ 343 w 397"/>
                  <a:gd name="T39" fmla="*/ 85 h 721"/>
                  <a:gd name="T40" fmla="*/ 353 w 397"/>
                  <a:gd name="T41" fmla="*/ 87 h 721"/>
                  <a:gd name="T42" fmla="*/ 397 w 397"/>
                  <a:gd name="T43" fmla="*/ 43 h 721"/>
                  <a:gd name="T44" fmla="*/ 353 w 397"/>
                  <a:gd name="T45" fmla="*/ 0 h 721"/>
                  <a:gd name="T46" fmla="*/ 310 w 397"/>
                  <a:gd name="T47" fmla="*/ 43 h 721"/>
                  <a:gd name="T48" fmla="*/ 313 w 397"/>
                  <a:gd name="T49" fmla="*/ 59 h 721"/>
                  <a:gd name="T50" fmla="*/ 179 w 397"/>
                  <a:gd name="T51" fmla="*/ 193 h 721"/>
                  <a:gd name="T52" fmla="*/ 91 w 397"/>
                  <a:gd name="T53" fmla="*/ 225 h 721"/>
                  <a:gd name="T54" fmla="*/ 74 w 397"/>
                  <a:gd name="T55" fmla="*/ 225 h 721"/>
                  <a:gd name="T56" fmla="*/ 57 w 397"/>
                  <a:gd name="T57" fmla="*/ 226 h 721"/>
                  <a:gd name="T58" fmla="*/ 1 w 397"/>
                  <a:gd name="T59" fmla="*/ 283 h 721"/>
                  <a:gd name="T60" fmla="*/ 0 w 397"/>
                  <a:gd name="T61" fmla="*/ 301 h 721"/>
                  <a:gd name="T62" fmla="*/ 1 w 397"/>
                  <a:gd name="T63" fmla="*/ 319 h 721"/>
                  <a:gd name="T64" fmla="*/ 0 w 397"/>
                  <a:gd name="T65" fmla="*/ 370 h 721"/>
                  <a:gd name="T66" fmla="*/ 1 w 397"/>
                  <a:gd name="T67" fmla="*/ 388 h 721"/>
                  <a:gd name="T68" fmla="*/ 0 w 397"/>
                  <a:gd name="T69" fmla="*/ 440 h 721"/>
                  <a:gd name="T70" fmla="*/ 1 w 397"/>
                  <a:gd name="T71" fmla="*/ 457 h 721"/>
                  <a:gd name="T72" fmla="*/ 7 w 397"/>
                  <a:gd name="T73" fmla="*/ 502 h 721"/>
                  <a:gd name="T74" fmla="*/ 15 w 397"/>
                  <a:gd name="T75" fmla="*/ 512 h 721"/>
                  <a:gd name="T76" fmla="*/ 36 w 397"/>
                  <a:gd name="T77" fmla="*/ 536 h 721"/>
                  <a:gd name="T78" fmla="*/ 47 w 397"/>
                  <a:gd name="T79" fmla="*/ 546 h 721"/>
                  <a:gd name="T80" fmla="*/ 71 w 397"/>
                  <a:gd name="T81" fmla="*/ 570 h 721"/>
                  <a:gd name="T82" fmla="*/ 82 w 397"/>
                  <a:gd name="T83" fmla="*/ 581 h 721"/>
                  <a:gd name="T84" fmla="*/ 95 w 397"/>
                  <a:gd name="T85" fmla="*/ 608 h 721"/>
                  <a:gd name="T86" fmla="*/ 94 w 397"/>
                  <a:gd name="T87" fmla="*/ 634 h 721"/>
                  <a:gd name="T88" fmla="*/ 68 w 397"/>
                  <a:gd name="T89" fmla="*/ 675 h 721"/>
                  <a:gd name="T90" fmla="*/ 115 w 397"/>
                  <a:gd name="T91" fmla="*/ 721 h 721"/>
                  <a:gd name="T92" fmla="*/ 162 w 397"/>
                  <a:gd name="T93" fmla="*/ 675 h 721"/>
                  <a:gd name="T94" fmla="*/ 353 w 397"/>
                  <a:gd name="T95" fmla="*/ 19 h 721"/>
                  <a:gd name="T96" fmla="*/ 378 w 397"/>
                  <a:gd name="T97" fmla="*/ 43 h 721"/>
                  <a:gd name="T98" fmla="*/ 353 w 397"/>
                  <a:gd name="T99" fmla="*/ 67 h 721"/>
                  <a:gd name="T100" fmla="*/ 329 w 397"/>
                  <a:gd name="T101" fmla="*/ 43 h 721"/>
                  <a:gd name="T102" fmla="*/ 353 w 397"/>
                  <a:gd name="T103" fmla="*/ 19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7" h="721">
                    <a:moveTo>
                      <a:pt x="162" y="675"/>
                    </a:moveTo>
                    <a:cubicBezTo>
                      <a:pt x="162" y="657"/>
                      <a:pt x="152" y="642"/>
                      <a:pt x="137" y="634"/>
                    </a:cubicBezTo>
                    <a:cubicBezTo>
                      <a:pt x="137" y="620"/>
                      <a:pt x="137" y="606"/>
                      <a:pt x="137" y="592"/>
                    </a:cubicBezTo>
                    <a:cubicBezTo>
                      <a:pt x="136" y="587"/>
                      <a:pt x="135" y="584"/>
                      <a:pt x="135" y="580"/>
                    </a:cubicBezTo>
                    <a:cubicBezTo>
                      <a:pt x="129" y="567"/>
                      <a:pt x="120" y="557"/>
                      <a:pt x="111" y="548"/>
                    </a:cubicBezTo>
                    <a:cubicBezTo>
                      <a:pt x="109" y="545"/>
                      <a:pt x="106" y="543"/>
                      <a:pt x="104" y="541"/>
                    </a:cubicBezTo>
                    <a:cubicBezTo>
                      <a:pt x="94" y="533"/>
                      <a:pt x="84" y="523"/>
                      <a:pt x="76" y="513"/>
                    </a:cubicBezTo>
                    <a:cubicBezTo>
                      <a:pt x="74" y="511"/>
                      <a:pt x="72" y="508"/>
                      <a:pt x="70" y="506"/>
                    </a:cubicBezTo>
                    <a:cubicBezTo>
                      <a:pt x="61" y="499"/>
                      <a:pt x="53" y="491"/>
                      <a:pt x="46" y="482"/>
                    </a:cubicBezTo>
                    <a:cubicBezTo>
                      <a:pt x="41" y="475"/>
                      <a:pt x="44" y="468"/>
                      <a:pt x="44" y="460"/>
                    </a:cubicBezTo>
                    <a:cubicBezTo>
                      <a:pt x="44" y="443"/>
                      <a:pt x="44" y="426"/>
                      <a:pt x="44" y="409"/>
                    </a:cubicBezTo>
                    <a:cubicBezTo>
                      <a:pt x="44" y="403"/>
                      <a:pt x="44" y="397"/>
                      <a:pt x="44" y="392"/>
                    </a:cubicBezTo>
                    <a:cubicBezTo>
                      <a:pt x="44" y="374"/>
                      <a:pt x="44" y="357"/>
                      <a:pt x="44" y="340"/>
                    </a:cubicBezTo>
                    <a:cubicBezTo>
                      <a:pt x="44" y="334"/>
                      <a:pt x="44" y="328"/>
                      <a:pt x="43" y="322"/>
                    </a:cubicBezTo>
                    <a:cubicBezTo>
                      <a:pt x="43" y="309"/>
                      <a:pt x="43" y="297"/>
                      <a:pt x="43" y="285"/>
                    </a:cubicBezTo>
                    <a:cubicBezTo>
                      <a:pt x="42" y="272"/>
                      <a:pt x="49" y="267"/>
                      <a:pt x="61" y="267"/>
                    </a:cubicBezTo>
                    <a:cubicBezTo>
                      <a:pt x="72" y="268"/>
                      <a:pt x="83" y="268"/>
                      <a:pt x="95" y="268"/>
                    </a:cubicBezTo>
                    <a:cubicBezTo>
                      <a:pt x="101" y="267"/>
                      <a:pt x="106" y="267"/>
                      <a:pt x="112" y="269"/>
                    </a:cubicBezTo>
                    <a:cubicBezTo>
                      <a:pt x="130" y="266"/>
                      <a:pt x="149" y="271"/>
                      <a:pt x="167" y="261"/>
                    </a:cubicBezTo>
                    <a:cubicBezTo>
                      <a:pt x="226" y="203"/>
                      <a:pt x="284" y="144"/>
                      <a:pt x="343" y="85"/>
                    </a:cubicBezTo>
                    <a:cubicBezTo>
                      <a:pt x="346" y="86"/>
                      <a:pt x="350" y="87"/>
                      <a:pt x="353" y="87"/>
                    </a:cubicBezTo>
                    <a:cubicBezTo>
                      <a:pt x="377" y="87"/>
                      <a:pt x="397" y="67"/>
                      <a:pt x="397" y="43"/>
                    </a:cubicBezTo>
                    <a:cubicBezTo>
                      <a:pt x="397" y="19"/>
                      <a:pt x="377" y="0"/>
                      <a:pt x="353" y="0"/>
                    </a:cubicBezTo>
                    <a:cubicBezTo>
                      <a:pt x="329" y="0"/>
                      <a:pt x="310" y="19"/>
                      <a:pt x="310" y="43"/>
                    </a:cubicBezTo>
                    <a:cubicBezTo>
                      <a:pt x="310" y="49"/>
                      <a:pt x="311" y="54"/>
                      <a:pt x="313" y="59"/>
                    </a:cubicBezTo>
                    <a:cubicBezTo>
                      <a:pt x="268" y="103"/>
                      <a:pt x="221" y="146"/>
                      <a:pt x="179" y="193"/>
                    </a:cubicBezTo>
                    <a:cubicBezTo>
                      <a:pt x="154" y="221"/>
                      <a:pt x="126" y="232"/>
                      <a:pt x="91" y="225"/>
                    </a:cubicBezTo>
                    <a:cubicBezTo>
                      <a:pt x="86" y="225"/>
                      <a:pt x="80" y="225"/>
                      <a:pt x="74" y="225"/>
                    </a:cubicBezTo>
                    <a:cubicBezTo>
                      <a:pt x="68" y="225"/>
                      <a:pt x="62" y="226"/>
                      <a:pt x="57" y="226"/>
                    </a:cubicBezTo>
                    <a:cubicBezTo>
                      <a:pt x="23" y="227"/>
                      <a:pt x="2" y="249"/>
                      <a:pt x="1" y="283"/>
                    </a:cubicBezTo>
                    <a:cubicBezTo>
                      <a:pt x="1" y="289"/>
                      <a:pt x="1" y="295"/>
                      <a:pt x="0" y="301"/>
                    </a:cubicBezTo>
                    <a:cubicBezTo>
                      <a:pt x="1" y="307"/>
                      <a:pt x="1" y="313"/>
                      <a:pt x="1" y="319"/>
                    </a:cubicBezTo>
                    <a:cubicBezTo>
                      <a:pt x="1" y="336"/>
                      <a:pt x="1" y="353"/>
                      <a:pt x="0" y="370"/>
                    </a:cubicBezTo>
                    <a:cubicBezTo>
                      <a:pt x="1" y="376"/>
                      <a:pt x="1" y="382"/>
                      <a:pt x="1" y="388"/>
                    </a:cubicBezTo>
                    <a:cubicBezTo>
                      <a:pt x="1" y="405"/>
                      <a:pt x="1" y="423"/>
                      <a:pt x="0" y="440"/>
                    </a:cubicBezTo>
                    <a:cubicBezTo>
                      <a:pt x="1" y="445"/>
                      <a:pt x="1" y="451"/>
                      <a:pt x="1" y="457"/>
                    </a:cubicBezTo>
                    <a:cubicBezTo>
                      <a:pt x="2" y="472"/>
                      <a:pt x="0" y="487"/>
                      <a:pt x="7" y="502"/>
                    </a:cubicBezTo>
                    <a:cubicBezTo>
                      <a:pt x="9" y="505"/>
                      <a:pt x="12" y="509"/>
                      <a:pt x="15" y="512"/>
                    </a:cubicBezTo>
                    <a:cubicBezTo>
                      <a:pt x="22" y="520"/>
                      <a:pt x="30" y="528"/>
                      <a:pt x="36" y="536"/>
                    </a:cubicBezTo>
                    <a:cubicBezTo>
                      <a:pt x="40" y="539"/>
                      <a:pt x="44" y="542"/>
                      <a:pt x="47" y="546"/>
                    </a:cubicBezTo>
                    <a:cubicBezTo>
                      <a:pt x="55" y="554"/>
                      <a:pt x="63" y="562"/>
                      <a:pt x="71" y="570"/>
                    </a:cubicBezTo>
                    <a:cubicBezTo>
                      <a:pt x="75" y="573"/>
                      <a:pt x="78" y="577"/>
                      <a:pt x="82" y="581"/>
                    </a:cubicBezTo>
                    <a:cubicBezTo>
                      <a:pt x="92" y="587"/>
                      <a:pt x="95" y="596"/>
                      <a:pt x="95" y="608"/>
                    </a:cubicBezTo>
                    <a:cubicBezTo>
                      <a:pt x="94" y="617"/>
                      <a:pt x="94" y="625"/>
                      <a:pt x="94" y="634"/>
                    </a:cubicBezTo>
                    <a:cubicBezTo>
                      <a:pt x="79" y="641"/>
                      <a:pt x="68" y="657"/>
                      <a:pt x="68" y="675"/>
                    </a:cubicBezTo>
                    <a:cubicBezTo>
                      <a:pt x="68" y="700"/>
                      <a:pt x="89" y="721"/>
                      <a:pt x="115" y="721"/>
                    </a:cubicBezTo>
                    <a:cubicBezTo>
                      <a:pt x="141" y="721"/>
                      <a:pt x="162" y="700"/>
                      <a:pt x="162" y="675"/>
                    </a:cubicBezTo>
                    <a:close/>
                    <a:moveTo>
                      <a:pt x="353" y="19"/>
                    </a:moveTo>
                    <a:cubicBezTo>
                      <a:pt x="367" y="19"/>
                      <a:pt x="378" y="30"/>
                      <a:pt x="378" y="43"/>
                    </a:cubicBezTo>
                    <a:cubicBezTo>
                      <a:pt x="378" y="57"/>
                      <a:pt x="367" y="67"/>
                      <a:pt x="353" y="67"/>
                    </a:cubicBezTo>
                    <a:cubicBezTo>
                      <a:pt x="340" y="67"/>
                      <a:pt x="329" y="57"/>
                      <a:pt x="329" y="43"/>
                    </a:cubicBezTo>
                    <a:cubicBezTo>
                      <a:pt x="329" y="30"/>
                      <a:pt x="340" y="19"/>
                      <a:pt x="35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1" name="Freeform 19"/>
              <p:cNvSpPr>
                <a:spLocks noEditPoints="1"/>
              </p:cNvSpPr>
              <p:nvPr/>
            </p:nvSpPr>
            <p:spPr bwMode="gray">
              <a:xfrm>
                <a:off x="2702" y="1279"/>
                <a:ext cx="1471" cy="1106"/>
              </a:xfrm>
              <a:custGeom>
                <a:avLst/>
                <a:gdLst>
                  <a:gd name="T0" fmla="*/ 527 w 622"/>
                  <a:gd name="T1" fmla="*/ 47 h 467"/>
                  <a:gd name="T2" fmla="*/ 554 w 622"/>
                  <a:gd name="T3" fmla="*/ 119 h 467"/>
                  <a:gd name="T4" fmla="*/ 554 w 622"/>
                  <a:gd name="T5" fmla="*/ 185 h 467"/>
                  <a:gd name="T6" fmla="*/ 554 w 622"/>
                  <a:gd name="T7" fmla="*/ 257 h 467"/>
                  <a:gd name="T8" fmla="*/ 535 w 622"/>
                  <a:gd name="T9" fmla="*/ 326 h 467"/>
                  <a:gd name="T10" fmla="*/ 424 w 622"/>
                  <a:gd name="T11" fmla="*/ 402 h 467"/>
                  <a:gd name="T12" fmla="*/ 356 w 622"/>
                  <a:gd name="T13" fmla="*/ 402 h 467"/>
                  <a:gd name="T14" fmla="*/ 287 w 622"/>
                  <a:gd name="T15" fmla="*/ 402 h 467"/>
                  <a:gd name="T16" fmla="*/ 217 w 622"/>
                  <a:gd name="T17" fmla="*/ 402 h 467"/>
                  <a:gd name="T18" fmla="*/ 149 w 622"/>
                  <a:gd name="T19" fmla="*/ 402 h 467"/>
                  <a:gd name="T20" fmla="*/ 127 w 622"/>
                  <a:gd name="T21" fmla="*/ 402 h 467"/>
                  <a:gd name="T22" fmla="*/ 71 w 622"/>
                  <a:gd name="T23" fmla="*/ 383 h 467"/>
                  <a:gd name="T24" fmla="*/ 107 w 622"/>
                  <a:gd name="T25" fmla="*/ 367 h 467"/>
                  <a:gd name="T26" fmla="*/ 176 w 622"/>
                  <a:gd name="T27" fmla="*/ 367 h 467"/>
                  <a:gd name="T28" fmla="*/ 245 w 622"/>
                  <a:gd name="T29" fmla="*/ 367 h 467"/>
                  <a:gd name="T30" fmla="*/ 314 w 622"/>
                  <a:gd name="T31" fmla="*/ 367 h 467"/>
                  <a:gd name="T32" fmla="*/ 378 w 622"/>
                  <a:gd name="T33" fmla="*/ 369 h 467"/>
                  <a:gd name="T34" fmla="*/ 418 w 622"/>
                  <a:gd name="T35" fmla="*/ 343 h 467"/>
                  <a:gd name="T36" fmla="*/ 493 w 622"/>
                  <a:gd name="T37" fmla="*/ 285 h 467"/>
                  <a:gd name="T38" fmla="*/ 493 w 622"/>
                  <a:gd name="T39" fmla="*/ 193 h 467"/>
                  <a:gd name="T40" fmla="*/ 450 w 622"/>
                  <a:gd name="T41" fmla="*/ 252 h 467"/>
                  <a:gd name="T42" fmla="*/ 362 w 622"/>
                  <a:gd name="T43" fmla="*/ 324 h 467"/>
                  <a:gd name="T44" fmla="*/ 293 w 622"/>
                  <a:gd name="T45" fmla="*/ 323 h 467"/>
                  <a:gd name="T46" fmla="*/ 224 w 622"/>
                  <a:gd name="T47" fmla="*/ 324 h 467"/>
                  <a:gd name="T48" fmla="*/ 155 w 622"/>
                  <a:gd name="T49" fmla="*/ 324 h 467"/>
                  <a:gd name="T50" fmla="*/ 86 w 622"/>
                  <a:gd name="T51" fmla="*/ 324 h 467"/>
                  <a:gd name="T52" fmla="*/ 44 w 622"/>
                  <a:gd name="T53" fmla="*/ 300 h 467"/>
                  <a:gd name="T54" fmla="*/ 44 w 622"/>
                  <a:gd name="T55" fmla="*/ 392 h 467"/>
                  <a:gd name="T56" fmla="*/ 41 w 622"/>
                  <a:gd name="T57" fmla="*/ 423 h 467"/>
                  <a:gd name="T58" fmla="*/ 127 w 622"/>
                  <a:gd name="T59" fmla="*/ 444 h 467"/>
                  <a:gd name="T60" fmla="*/ 170 w 622"/>
                  <a:gd name="T61" fmla="*/ 444 h 467"/>
                  <a:gd name="T62" fmla="*/ 238 w 622"/>
                  <a:gd name="T63" fmla="*/ 444 h 467"/>
                  <a:gd name="T64" fmla="*/ 307 w 622"/>
                  <a:gd name="T65" fmla="*/ 444 h 467"/>
                  <a:gd name="T66" fmla="*/ 376 w 622"/>
                  <a:gd name="T67" fmla="*/ 444 h 467"/>
                  <a:gd name="T68" fmla="*/ 445 w 622"/>
                  <a:gd name="T69" fmla="*/ 444 h 467"/>
                  <a:gd name="T70" fmla="*/ 572 w 622"/>
                  <a:gd name="T71" fmla="*/ 348 h 467"/>
                  <a:gd name="T72" fmla="*/ 598 w 622"/>
                  <a:gd name="T73" fmla="*/ 275 h 467"/>
                  <a:gd name="T74" fmla="*/ 598 w 622"/>
                  <a:gd name="T75" fmla="*/ 206 h 467"/>
                  <a:gd name="T76" fmla="*/ 598 w 622"/>
                  <a:gd name="T77" fmla="*/ 137 h 467"/>
                  <a:gd name="T78" fmla="*/ 622 w 622"/>
                  <a:gd name="T79" fmla="*/ 47 h 467"/>
                  <a:gd name="T80" fmla="*/ 44 w 622"/>
                  <a:gd name="T81" fmla="*/ 373 h 467"/>
                  <a:gd name="T82" fmla="*/ 44 w 622"/>
                  <a:gd name="T83" fmla="*/ 319 h 467"/>
                  <a:gd name="T84" fmla="*/ 44 w 622"/>
                  <a:gd name="T85" fmla="*/ 373 h 467"/>
                  <a:gd name="T86" fmla="*/ 547 w 622"/>
                  <a:gd name="T87" fmla="*/ 47 h 467"/>
                  <a:gd name="T88" fmla="*/ 602 w 622"/>
                  <a:gd name="T89" fmla="*/ 4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22" h="467">
                    <a:moveTo>
                      <a:pt x="575" y="0"/>
                    </a:moveTo>
                    <a:cubicBezTo>
                      <a:pt x="549" y="0"/>
                      <a:pt x="527" y="21"/>
                      <a:pt x="527" y="47"/>
                    </a:cubicBezTo>
                    <a:cubicBezTo>
                      <a:pt x="527" y="66"/>
                      <a:pt x="539" y="82"/>
                      <a:pt x="555" y="90"/>
                    </a:cubicBezTo>
                    <a:cubicBezTo>
                      <a:pt x="554" y="99"/>
                      <a:pt x="554" y="109"/>
                      <a:pt x="554" y="119"/>
                    </a:cubicBezTo>
                    <a:cubicBezTo>
                      <a:pt x="554" y="124"/>
                      <a:pt x="554" y="129"/>
                      <a:pt x="554" y="133"/>
                    </a:cubicBezTo>
                    <a:cubicBezTo>
                      <a:pt x="556" y="151"/>
                      <a:pt x="556" y="168"/>
                      <a:pt x="554" y="185"/>
                    </a:cubicBezTo>
                    <a:cubicBezTo>
                      <a:pt x="556" y="191"/>
                      <a:pt x="556" y="197"/>
                      <a:pt x="554" y="203"/>
                    </a:cubicBezTo>
                    <a:cubicBezTo>
                      <a:pt x="555" y="221"/>
                      <a:pt x="556" y="239"/>
                      <a:pt x="554" y="257"/>
                    </a:cubicBezTo>
                    <a:cubicBezTo>
                      <a:pt x="554" y="263"/>
                      <a:pt x="554" y="267"/>
                      <a:pt x="554" y="271"/>
                    </a:cubicBezTo>
                    <a:cubicBezTo>
                      <a:pt x="558" y="294"/>
                      <a:pt x="553" y="311"/>
                      <a:pt x="535" y="326"/>
                    </a:cubicBezTo>
                    <a:cubicBezTo>
                      <a:pt x="514" y="343"/>
                      <a:pt x="496" y="362"/>
                      <a:pt x="479" y="382"/>
                    </a:cubicBezTo>
                    <a:cubicBezTo>
                      <a:pt x="464" y="400"/>
                      <a:pt x="446" y="406"/>
                      <a:pt x="424" y="402"/>
                    </a:cubicBezTo>
                    <a:cubicBezTo>
                      <a:pt x="419" y="402"/>
                      <a:pt x="413" y="403"/>
                      <a:pt x="407" y="401"/>
                    </a:cubicBezTo>
                    <a:cubicBezTo>
                      <a:pt x="389" y="403"/>
                      <a:pt x="372" y="402"/>
                      <a:pt x="356" y="402"/>
                    </a:cubicBezTo>
                    <a:cubicBezTo>
                      <a:pt x="350" y="402"/>
                      <a:pt x="344" y="403"/>
                      <a:pt x="338" y="401"/>
                    </a:cubicBezTo>
                    <a:cubicBezTo>
                      <a:pt x="321" y="403"/>
                      <a:pt x="304" y="402"/>
                      <a:pt x="287" y="402"/>
                    </a:cubicBezTo>
                    <a:cubicBezTo>
                      <a:pt x="281" y="403"/>
                      <a:pt x="275" y="403"/>
                      <a:pt x="269" y="401"/>
                    </a:cubicBezTo>
                    <a:cubicBezTo>
                      <a:pt x="252" y="403"/>
                      <a:pt x="234" y="402"/>
                      <a:pt x="217" y="402"/>
                    </a:cubicBezTo>
                    <a:cubicBezTo>
                      <a:pt x="212" y="403"/>
                      <a:pt x="206" y="403"/>
                      <a:pt x="200" y="401"/>
                    </a:cubicBezTo>
                    <a:cubicBezTo>
                      <a:pt x="183" y="403"/>
                      <a:pt x="166" y="402"/>
                      <a:pt x="149" y="402"/>
                    </a:cubicBezTo>
                    <a:cubicBezTo>
                      <a:pt x="143" y="403"/>
                      <a:pt x="137" y="403"/>
                      <a:pt x="131" y="402"/>
                    </a:cubicBezTo>
                    <a:cubicBezTo>
                      <a:pt x="130" y="402"/>
                      <a:pt x="128" y="402"/>
                      <a:pt x="127" y="402"/>
                    </a:cubicBezTo>
                    <a:cubicBezTo>
                      <a:pt x="119" y="389"/>
                      <a:pt x="104" y="380"/>
                      <a:pt x="87" y="380"/>
                    </a:cubicBezTo>
                    <a:cubicBezTo>
                      <a:pt x="81" y="380"/>
                      <a:pt x="76" y="381"/>
                      <a:pt x="71" y="383"/>
                    </a:cubicBezTo>
                    <a:cubicBezTo>
                      <a:pt x="77" y="378"/>
                      <a:pt x="81" y="373"/>
                      <a:pt x="84" y="367"/>
                    </a:cubicBezTo>
                    <a:cubicBezTo>
                      <a:pt x="92" y="367"/>
                      <a:pt x="99" y="367"/>
                      <a:pt x="107" y="367"/>
                    </a:cubicBezTo>
                    <a:cubicBezTo>
                      <a:pt x="125" y="366"/>
                      <a:pt x="143" y="366"/>
                      <a:pt x="162" y="366"/>
                    </a:cubicBezTo>
                    <a:cubicBezTo>
                      <a:pt x="166" y="366"/>
                      <a:pt x="171" y="366"/>
                      <a:pt x="176" y="367"/>
                    </a:cubicBezTo>
                    <a:cubicBezTo>
                      <a:pt x="193" y="366"/>
                      <a:pt x="210" y="366"/>
                      <a:pt x="227" y="366"/>
                    </a:cubicBezTo>
                    <a:cubicBezTo>
                      <a:pt x="233" y="366"/>
                      <a:pt x="239" y="366"/>
                      <a:pt x="245" y="367"/>
                    </a:cubicBezTo>
                    <a:cubicBezTo>
                      <a:pt x="262" y="366"/>
                      <a:pt x="279" y="366"/>
                      <a:pt x="296" y="366"/>
                    </a:cubicBezTo>
                    <a:cubicBezTo>
                      <a:pt x="302" y="366"/>
                      <a:pt x="308" y="366"/>
                      <a:pt x="314" y="367"/>
                    </a:cubicBezTo>
                    <a:cubicBezTo>
                      <a:pt x="331" y="366"/>
                      <a:pt x="348" y="366"/>
                      <a:pt x="365" y="366"/>
                    </a:cubicBezTo>
                    <a:cubicBezTo>
                      <a:pt x="370" y="368"/>
                      <a:pt x="374" y="370"/>
                      <a:pt x="378" y="369"/>
                    </a:cubicBezTo>
                    <a:cubicBezTo>
                      <a:pt x="380" y="369"/>
                      <a:pt x="381" y="367"/>
                      <a:pt x="382" y="366"/>
                    </a:cubicBezTo>
                    <a:cubicBezTo>
                      <a:pt x="396" y="362"/>
                      <a:pt x="408" y="355"/>
                      <a:pt x="418" y="343"/>
                    </a:cubicBezTo>
                    <a:cubicBezTo>
                      <a:pt x="438" y="323"/>
                      <a:pt x="458" y="303"/>
                      <a:pt x="478" y="283"/>
                    </a:cubicBezTo>
                    <a:cubicBezTo>
                      <a:pt x="483" y="284"/>
                      <a:pt x="488" y="285"/>
                      <a:pt x="493" y="285"/>
                    </a:cubicBezTo>
                    <a:cubicBezTo>
                      <a:pt x="519" y="285"/>
                      <a:pt x="539" y="265"/>
                      <a:pt x="539" y="239"/>
                    </a:cubicBezTo>
                    <a:cubicBezTo>
                      <a:pt x="539" y="214"/>
                      <a:pt x="519" y="193"/>
                      <a:pt x="493" y="193"/>
                    </a:cubicBezTo>
                    <a:cubicBezTo>
                      <a:pt x="468" y="193"/>
                      <a:pt x="448" y="214"/>
                      <a:pt x="448" y="239"/>
                    </a:cubicBezTo>
                    <a:cubicBezTo>
                      <a:pt x="448" y="244"/>
                      <a:pt x="448" y="248"/>
                      <a:pt x="450" y="252"/>
                    </a:cubicBezTo>
                    <a:cubicBezTo>
                      <a:pt x="429" y="273"/>
                      <a:pt x="409" y="292"/>
                      <a:pt x="389" y="314"/>
                    </a:cubicBezTo>
                    <a:cubicBezTo>
                      <a:pt x="381" y="322"/>
                      <a:pt x="373" y="326"/>
                      <a:pt x="362" y="324"/>
                    </a:cubicBezTo>
                    <a:cubicBezTo>
                      <a:pt x="356" y="323"/>
                      <a:pt x="350" y="323"/>
                      <a:pt x="345" y="323"/>
                    </a:cubicBezTo>
                    <a:cubicBezTo>
                      <a:pt x="328" y="323"/>
                      <a:pt x="310" y="323"/>
                      <a:pt x="293" y="323"/>
                    </a:cubicBezTo>
                    <a:cubicBezTo>
                      <a:pt x="287" y="323"/>
                      <a:pt x="281" y="323"/>
                      <a:pt x="275" y="323"/>
                    </a:cubicBezTo>
                    <a:cubicBezTo>
                      <a:pt x="258" y="324"/>
                      <a:pt x="241" y="324"/>
                      <a:pt x="224" y="324"/>
                    </a:cubicBezTo>
                    <a:cubicBezTo>
                      <a:pt x="218" y="324"/>
                      <a:pt x="212" y="324"/>
                      <a:pt x="207" y="324"/>
                    </a:cubicBezTo>
                    <a:cubicBezTo>
                      <a:pt x="190" y="324"/>
                      <a:pt x="172" y="324"/>
                      <a:pt x="155" y="324"/>
                    </a:cubicBezTo>
                    <a:cubicBezTo>
                      <a:pt x="149" y="323"/>
                      <a:pt x="143" y="323"/>
                      <a:pt x="138" y="323"/>
                    </a:cubicBezTo>
                    <a:cubicBezTo>
                      <a:pt x="120" y="323"/>
                      <a:pt x="103" y="323"/>
                      <a:pt x="86" y="324"/>
                    </a:cubicBezTo>
                    <a:cubicBezTo>
                      <a:pt x="85" y="324"/>
                      <a:pt x="85" y="324"/>
                      <a:pt x="84" y="324"/>
                    </a:cubicBezTo>
                    <a:cubicBezTo>
                      <a:pt x="76" y="310"/>
                      <a:pt x="61" y="300"/>
                      <a:pt x="44" y="300"/>
                    </a:cubicBezTo>
                    <a:cubicBezTo>
                      <a:pt x="20" y="300"/>
                      <a:pt x="0" y="321"/>
                      <a:pt x="0" y="346"/>
                    </a:cubicBezTo>
                    <a:cubicBezTo>
                      <a:pt x="0" y="371"/>
                      <a:pt x="20" y="392"/>
                      <a:pt x="44" y="392"/>
                    </a:cubicBezTo>
                    <a:cubicBezTo>
                      <a:pt x="49" y="392"/>
                      <a:pt x="54" y="391"/>
                      <a:pt x="58" y="389"/>
                    </a:cubicBezTo>
                    <a:cubicBezTo>
                      <a:pt x="48" y="397"/>
                      <a:pt x="41" y="410"/>
                      <a:pt x="41" y="423"/>
                    </a:cubicBezTo>
                    <a:cubicBezTo>
                      <a:pt x="41" y="447"/>
                      <a:pt x="61" y="467"/>
                      <a:pt x="87" y="467"/>
                    </a:cubicBezTo>
                    <a:cubicBezTo>
                      <a:pt x="104" y="467"/>
                      <a:pt x="119" y="458"/>
                      <a:pt x="127" y="444"/>
                    </a:cubicBezTo>
                    <a:cubicBezTo>
                      <a:pt x="135" y="444"/>
                      <a:pt x="144" y="444"/>
                      <a:pt x="152" y="444"/>
                    </a:cubicBezTo>
                    <a:cubicBezTo>
                      <a:pt x="158" y="444"/>
                      <a:pt x="164" y="444"/>
                      <a:pt x="170" y="444"/>
                    </a:cubicBezTo>
                    <a:cubicBezTo>
                      <a:pt x="186" y="444"/>
                      <a:pt x="203" y="444"/>
                      <a:pt x="220" y="444"/>
                    </a:cubicBezTo>
                    <a:cubicBezTo>
                      <a:pt x="226" y="444"/>
                      <a:pt x="232" y="444"/>
                      <a:pt x="238" y="444"/>
                    </a:cubicBezTo>
                    <a:cubicBezTo>
                      <a:pt x="255" y="444"/>
                      <a:pt x="273" y="444"/>
                      <a:pt x="290" y="444"/>
                    </a:cubicBezTo>
                    <a:cubicBezTo>
                      <a:pt x="296" y="444"/>
                      <a:pt x="302" y="444"/>
                      <a:pt x="307" y="444"/>
                    </a:cubicBezTo>
                    <a:cubicBezTo>
                      <a:pt x="325" y="444"/>
                      <a:pt x="341" y="444"/>
                      <a:pt x="358" y="444"/>
                    </a:cubicBezTo>
                    <a:cubicBezTo>
                      <a:pt x="364" y="444"/>
                      <a:pt x="370" y="444"/>
                      <a:pt x="376" y="444"/>
                    </a:cubicBezTo>
                    <a:cubicBezTo>
                      <a:pt x="393" y="444"/>
                      <a:pt x="410" y="444"/>
                      <a:pt x="428" y="444"/>
                    </a:cubicBezTo>
                    <a:cubicBezTo>
                      <a:pt x="434" y="444"/>
                      <a:pt x="439" y="444"/>
                      <a:pt x="445" y="444"/>
                    </a:cubicBezTo>
                    <a:cubicBezTo>
                      <a:pt x="468" y="445"/>
                      <a:pt x="485" y="436"/>
                      <a:pt x="501" y="419"/>
                    </a:cubicBezTo>
                    <a:cubicBezTo>
                      <a:pt x="524" y="395"/>
                      <a:pt x="547" y="371"/>
                      <a:pt x="572" y="348"/>
                    </a:cubicBezTo>
                    <a:cubicBezTo>
                      <a:pt x="589" y="333"/>
                      <a:pt x="598" y="315"/>
                      <a:pt x="598" y="292"/>
                    </a:cubicBezTo>
                    <a:cubicBezTo>
                      <a:pt x="598" y="286"/>
                      <a:pt x="598" y="280"/>
                      <a:pt x="598" y="275"/>
                    </a:cubicBezTo>
                    <a:cubicBezTo>
                      <a:pt x="598" y="257"/>
                      <a:pt x="598" y="240"/>
                      <a:pt x="598" y="223"/>
                    </a:cubicBezTo>
                    <a:cubicBezTo>
                      <a:pt x="598" y="218"/>
                      <a:pt x="598" y="212"/>
                      <a:pt x="598" y="206"/>
                    </a:cubicBezTo>
                    <a:cubicBezTo>
                      <a:pt x="598" y="189"/>
                      <a:pt x="598" y="172"/>
                      <a:pt x="598" y="154"/>
                    </a:cubicBezTo>
                    <a:cubicBezTo>
                      <a:pt x="598" y="148"/>
                      <a:pt x="598" y="143"/>
                      <a:pt x="598" y="137"/>
                    </a:cubicBezTo>
                    <a:cubicBezTo>
                      <a:pt x="598" y="120"/>
                      <a:pt x="598" y="104"/>
                      <a:pt x="598" y="88"/>
                    </a:cubicBezTo>
                    <a:cubicBezTo>
                      <a:pt x="612" y="80"/>
                      <a:pt x="622" y="65"/>
                      <a:pt x="622" y="47"/>
                    </a:cubicBezTo>
                    <a:cubicBezTo>
                      <a:pt x="622" y="21"/>
                      <a:pt x="601" y="0"/>
                      <a:pt x="575" y="0"/>
                    </a:cubicBezTo>
                    <a:close/>
                    <a:moveTo>
                      <a:pt x="44" y="373"/>
                    </a:moveTo>
                    <a:cubicBezTo>
                      <a:pt x="30" y="373"/>
                      <a:pt x="19" y="361"/>
                      <a:pt x="19" y="346"/>
                    </a:cubicBezTo>
                    <a:cubicBezTo>
                      <a:pt x="19" y="331"/>
                      <a:pt x="30" y="319"/>
                      <a:pt x="44" y="319"/>
                    </a:cubicBezTo>
                    <a:cubicBezTo>
                      <a:pt x="58" y="319"/>
                      <a:pt x="70" y="331"/>
                      <a:pt x="70" y="346"/>
                    </a:cubicBezTo>
                    <a:cubicBezTo>
                      <a:pt x="70" y="361"/>
                      <a:pt x="58" y="373"/>
                      <a:pt x="44" y="373"/>
                    </a:cubicBezTo>
                    <a:close/>
                    <a:moveTo>
                      <a:pt x="575" y="75"/>
                    </a:moveTo>
                    <a:cubicBezTo>
                      <a:pt x="559" y="75"/>
                      <a:pt x="547" y="62"/>
                      <a:pt x="547" y="47"/>
                    </a:cubicBezTo>
                    <a:cubicBezTo>
                      <a:pt x="547" y="32"/>
                      <a:pt x="559" y="19"/>
                      <a:pt x="575" y="19"/>
                    </a:cubicBezTo>
                    <a:cubicBezTo>
                      <a:pt x="590" y="19"/>
                      <a:pt x="602" y="32"/>
                      <a:pt x="602" y="47"/>
                    </a:cubicBezTo>
                    <a:cubicBezTo>
                      <a:pt x="602" y="62"/>
                      <a:pt x="590" y="75"/>
                      <a:pt x="575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2" name="Freeform 20"/>
              <p:cNvSpPr>
                <a:spLocks noEditPoints="1"/>
              </p:cNvSpPr>
              <p:nvPr/>
            </p:nvSpPr>
            <p:spPr bwMode="gray">
              <a:xfrm>
                <a:off x="2673" y="1005"/>
                <a:ext cx="206" cy="549"/>
              </a:xfrm>
              <a:custGeom>
                <a:avLst/>
                <a:gdLst>
                  <a:gd name="T0" fmla="*/ 87 w 87"/>
                  <a:gd name="T1" fmla="*/ 46 h 232"/>
                  <a:gd name="T2" fmla="*/ 43 w 87"/>
                  <a:gd name="T3" fmla="*/ 0 h 232"/>
                  <a:gd name="T4" fmla="*/ 0 w 87"/>
                  <a:gd name="T5" fmla="*/ 46 h 232"/>
                  <a:gd name="T6" fmla="*/ 21 w 87"/>
                  <a:gd name="T7" fmla="*/ 85 h 232"/>
                  <a:gd name="T8" fmla="*/ 21 w 87"/>
                  <a:gd name="T9" fmla="*/ 101 h 232"/>
                  <a:gd name="T10" fmla="*/ 23 w 87"/>
                  <a:gd name="T11" fmla="*/ 148 h 232"/>
                  <a:gd name="T12" fmla="*/ 0 w 87"/>
                  <a:gd name="T13" fmla="*/ 187 h 232"/>
                  <a:gd name="T14" fmla="*/ 43 w 87"/>
                  <a:gd name="T15" fmla="*/ 232 h 232"/>
                  <a:gd name="T16" fmla="*/ 87 w 87"/>
                  <a:gd name="T17" fmla="*/ 187 h 232"/>
                  <a:gd name="T18" fmla="*/ 64 w 87"/>
                  <a:gd name="T19" fmla="*/ 148 h 232"/>
                  <a:gd name="T20" fmla="*/ 65 w 87"/>
                  <a:gd name="T21" fmla="*/ 122 h 232"/>
                  <a:gd name="T22" fmla="*/ 65 w 87"/>
                  <a:gd name="T23" fmla="*/ 105 h 232"/>
                  <a:gd name="T24" fmla="*/ 64 w 87"/>
                  <a:gd name="T25" fmla="*/ 86 h 232"/>
                  <a:gd name="T26" fmla="*/ 87 w 87"/>
                  <a:gd name="T27" fmla="*/ 46 h 232"/>
                  <a:gd name="T28" fmla="*/ 67 w 87"/>
                  <a:gd name="T29" fmla="*/ 187 h 232"/>
                  <a:gd name="T30" fmla="*/ 43 w 87"/>
                  <a:gd name="T31" fmla="*/ 213 h 232"/>
                  <a:gd name="T32" fmla="*/ 19 w 87"/>
                  <a:gd name="T33" fmla="*/ 187 h 232"/>
                  <a:gd name="T34" fmla="*/ 43 w 87"/>
                  <a:gd name="T35" fmla="*/ 162 h 232"/>
                  <a:gd name="T36" fmla="*/ 67 w 87"/>
                  <a:gd name="T37" fmla="*/ 187 h 232"/>
                  <a:gd name="T38" fmla="*/ 43 w 87"/>
                  <a:gd name="T39" fmla="*/ 72 h 232"/>
                  <a:gd name="T40" fmla="*/ 19 w 87"/>
                  <a:gd name="T41" fmla="*/ 46 h 232"/>
                  <a:gd name="T42" fmla="*/ 43 w 87"/>
                  <a:gd name="T43" fmla="*/ 19 h 232"/>
                  <a:gd name="T44" fmla="*/ 67 w 87"/>
                  <a:gd name="T45" fmla="*/ 46 h 232"/>
                  <a:gd name="T46" fmla="*/ 43 w 87"/>
                  <a:gd name="T47" fmla="*/ 7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7" h="232">
                    <a:moveTo>
                      <a:pt x="87" y="46"/>
                    </a:moveTo>
                    <a:cubicBezTo>
                      <a:pt x="87" y="20"/>
                      <a:pt x="67" y="0"/>
                      <a:pt x="43" y="0"/>
                    </a:cubicBezTo>
                    <a:cubicBezTo>
                      <a:pt x="19" y="0"/>
                      <a:pt x="0" y="20"/>
                      <a:pt x="0" y="46"/>
                    </a:cubicBezTo>
                    <a:cubicBezTo>
                      <a:pt x="0" y="63"/>
                      <a:pt x="8" y="77"/>
                      <a:pt x="21" y="85"/>
                    </a:cubicBezTo>
                    <a:cubicBezTo>
                      <a:pt x="21" y="91"/>
                      <a:pt x="21" y="96"/>
                      <a:pt x="21" y="101"/>
                    </a:cubicBezTo>
                    <a:cubicBezTo>
                      <a:pt x="22" y="117"/>
                      <a:pt x="22" y="132"/>
                      <a:pt x="23" y="148"/>
                    </a:cubicBezTo>
                    <a:cubicBezTo>
                      <a:pt x="9" y="156"/>
                      <a:pt x="0" y="170"/>
                      <a:pt x="0" y="187"/>
                    </a:cubicBezTo>
                    <a:cubicBezTo>
                      <a:pt x="0" y="212"/>
                      <a:pt x="19" y="232"/>
                      <a:pt x="43" y="232"/>
                    </a:cubicBezTo>
                    <a:cubicBezTo>
                      <a:pt x="67" y="232"/>
                      <a:pt x="87" y="212"/>
                      <a:pt x="87" y="187"/>
                    </a:cubicBezTo>
                    <a:cubicBezTo>
                      <a:pt x="87" y="170"/>
                      <a:pt x="77" y="156"/>
                      <a:pt x="64" y="148"/>
                    </a:cubicBezTo>
                    <a:cubicBezTo>
                      <a:pt x="64" y="139"/>
                      <a:pt x="64" y="130"/>
                      <a:pt x="65" y="122"/>
                    </a:cubicBezTo>
                    <a:cubicBezTo>
                      <a:pt x="63" y="116"/>
                      <a:pt x="63" y="110"/>
                      <a:pt x="65" y="105"/>
                    </a:cubicBezTo>
                    <a:cubicBezTo>
                      <a:pt x="65" y="98"/>
                      <a:pt x="64" y="92"/>
                      <a:pt x="64" y="86"/>
                    </a:cubicBezTo>
                    <a:cubicBezTo>
                      <a:pt x="77" y="78"/>
                      <a:pt x="87" y="63"/>
                      <a:pt x="87" y="46"/>
                    </a:cubicBezTo>
                    <a:close/>
                    <a:moveTo>
                      <a:pt x="67" y="187"/>
                    </a:moveTo>
                    <a:cubicBezTo>
                      <a:pt x="67" y="201"/>
                      <a:pt x="56" y="213"/>
                      <a:pt x="43" y="213"/>
                    </a:cubicBezTo>
                    <a:cubicBezTo>
                      <a:pt x="30" y="213"/>
                      <a:pt x="19" y="201"/>
                      <a:pt x="19" y="187"/>
                    </a:cubicBezTo>
                    <a:cubicBezTo>
                      <a:pt x="19" y="173"/>
                      <a:pt x="30" y="162"/>
                      <a:pt x="43" y="162"/>
                    </a:cubicBezTo>
                    <a:cubicBezTo>
                      <a:pt x="56" y="162"/>
                      <a:pt x="67" y="173"/>
                      <a:pt x="67" y="187"/>
                    </a:cubicBezTo>
                    <a:close/>
                    <a:moveTo>
                      <a:pt x="43" y="72"/>
                    </a:moveTo>
                    <a:cubicBezTo>
                      <a:pt x="30" y="72"/>
                      <a:pt x="19" y="60"/>
                      <a:pt x="19" y="46"/>
                    </a:cubicBezTo>
                    <a:cubicBezTo>
                      <a:pt x="19" y="31"/>
                      <a:pt x="30" y="19"/>
                      <a:pt x="43" y="19"/>
                    </a:cubicBezTo>
                    <a:cubicBezTo>
                      <a:pt x="56" y="19"/>
                      <a:pt x="67" y="31"/>
                      <a:pt x="67" y="46"/>
                    </a:cubicBezTo>
                    <a:cubicBezTo>
                      <a:pt x="67" y="60"/>
                      <a:pt x="56" y="72"/>
                      <a:pt x="43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63" name="Freeform 21"/>
              <p:cNvSpPr>
                <a:spLocks noEditPoints="1"/>
              </p:cNvSpPr>
              <p:nvPr/>
            </p:nvSpPr>
            <p:spPr bwMode="gray">
              <a:xfrm>
                <a:off x="3371" y="946"/>
                <a:ext cx="459" cy="471"/>
              </a:xfrm>
              <a:custGeom>
                <a:avLst/>
                <a:gdLst>
                  <a:gd name="T0" fmla="*/ 46 w 194"/>
                  <a:gd name="T1" fmla="*/ 109 h 199"/>
                  <a:gd name="T2" fmla="*/ 0 w 194"/>
                  <a:gd name="T3" fmla="*/ 154 h 199"/>
                  <a:gd name="T4" fmla="*/ 46 w 194"/>
                  <a:gd name="T5" fmla="*/ 199 h 199"/>
                  <a:gd name="T6" fmla="*/ 92 w 194"/>
                  <a:gd name="T7" fmla="*/ 154 h 199"/>
                  <a:gd name="T8" fmla="*/ 90 w 194"/>
                  <a:gd name="T9" fmla="*/ 141 h 199"/>
                  <a:gd name="T10" fmla="*/ 138 w 194"/>
                  <a:gd name="T11" fmla="*/ 93 h 199"/>
                  <a:gd name="T12" fmla="*/ 149 w 194"/>
                  <a:gd name="T13" fmla="*/ 95 h 199"/>
                  <a:gd name="T14" fmla="*/ 194 w 194"/>
                  <a:gd name="T15" fmla="*/ 48 h 199"/>
                  <a:gd name="T16" fmla="*/ 149 w 194"/>
                  <a:gd name="T17" fmla="*/ 0 h 199"/>
                  <a:gd name="T18" fmla="*/ 104 w 194"/>
                  <a:gd name="T19" fmla="*/ 48 h 199"/>
                  <a:gd name="T20" fmla="*/ 107 w 194"/>
                  <a:gd name="T21" fmla="*/ 65 h 199"/>
                  <a:gd name="T22" fmla="*/ 61 w 194"/>
                  <a:gd name="T23" fmla="*/ 112 h 199"/>
                  <a:gd name="T24" fmla="*/ 46 w 194"/>
                  <a:gd name="T25" fmla="*/ 109 h 199"/>
                  <a:gd name="T26" fmla="*/ 149 w 194"/>
                  <a:gd name="T27" fmla="*/ 20 h 199"/>
                  <a:gd name="T28" fmla="*/ 174 w 194"/>
                  <a:gd name="T29" fmla="*/ 48 h 199"/>
                  <a:gd name="T30" fmla="*/ 149 w 194"/>
                  <a:gd name="T31" fmla="*/ 75 h 199"/>
                  <a:gd name="T32" fmla="*/ 123 w 194"/>
                  <a:gd name="T33" fmla="*/ 48 h 199"/>
                  <a:gd name="T34" fmla="*/ 149 w 194"/>
                  <a:gd name="T35" fmla="*/ 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4" h="199">
                    <a:moveTo>
                      <a:pt x="46" y="109"/>
                    </a:moveTo>
                    <a:cubicBezTo>
                      <a:pt x="21" y="109"/>
                      <a:pt x="0" y="129"/>
                      <a:pt x="0" y="154"/>
                    </a:cubicBezTo>
                    <a:cubicBezTo>
                      <a:pt x="0" y="179"/>
                      <a:pt x="21" y="199"/>
                      <a:pt x="46" y="199"/>
                    </a:cubicBezTo>
                    <a:cubicBezTo>
                      <a:pt x="71" y="199"/>
                      <a:pt x="92" y="179"/>
                      <a:pt x="92" y="154"/>
                    </a:cubicBezTo>
                    <a:cubicBezTo>
                      <a:pt x="92" y="149"/>
                      <a:pt x="91" y="145"/>
                      <a:pt x="90" y="141"/>
                    </a:cubicBezTo>
                    <a:cubicBezTo>
                      <a:pt x="106" y="125"/>
                      <a:pt x="122" y="109"/>
                      <a:pt x="138" y="93"/>
                    </a:cubicBezTo>
                    <a:cubicBezTo>
                      <a:pt x="142" y="94"/>
                      <a:pt x="145" y="95"/>
                      <a:pt x="149" y="95"/>
                    </a:cubicBezTo>
                    <a:cubicBezTo>
                      <a:pt x="173" y="95"/>
                      <a:pt x="194" y="74"/>
                      <a:pt x="194" y="48"/>
                    </a:cubicBezTo>
                    <a:cubicBezTo>
                      <a:pt x="194" y="22"/>
                      <a:pt x="173" y="0"/>
                      <a:pt x="149" y="0"/>
                    </a:cubicBezTo>
                    <a:cubicBezTo>
                      <a:pt x="124" y="0"/>
                      <a:pt x="104" y="22"/>
                      <a:pt x="104" y="48"/>
                    </a:cubicBezTo>
                    <a:cubicBezTo>
                      <a:pt x="104" y="54"/>
                      <a:pt x="105" y="60"/>
                      <a:pt x="107" y="65"/>
                    </a:cubicBezTo>
                    <a:cubicBezTo>
                      <a:pt x="92" y="81"/>
                      <a:pt x="76" y="96"/>
                      <a:pt x="61" y="112"/>
                    </a:cubicBezTo>
                    <a:cubicBezTo>
                      <a:pt x="56" y="110"/>
                      <a:pt x="51" y="109"/>
                      <a:pt x="46" y="109"/>
                    </a:cubicBezTo>
                    <a:close/>
                    <a:moveTo>
                      <a:pt x="149" y="20"/>
                    </a:moveTo>
                    <a:cubicBezTo>
                      <a:pt x="163" y="20"/>
                      <a:pt x="174" y="32"/>
                      <a:pt x="174" y="48"/>
                    </a:cubicBezTo>
                    <a:cubicBezTo>
                      <a:pt x="174" y="63"/>
                      <a:pt x="163" y="75"/>
                      <a:pt x="149" y="75"/>
                    </a:cubicBezTo>
                    <a:cubicBezTo>
                      <a:pt x="135" y="75"/>
                      <a:pt x="123" y="63"/>
                      <a:pt x="123" y="48"/>
                    </a:cubicBezTo>
                    <a:cubicBezTo>
                      <a:pt x="123" y="32"/>
                      <a:pt x="135" y="20"/>
                      <a:pt x="14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</p:grpSp>
        <p:grpSp>
          <p:nvGrpSpPr>
            <p:cNvPr id="290" name="Group 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6903368" y="2089659"/>
              <a:ext cx="380726" cy="360239"/>
              <a:chOff x="1973" y="174"/>
              <a:chExt cx="3736" cy="3976"/>
            </a:xfrm>
            <a:solidFill>
              <a:srgbClr val="2387AA"/>
            </a:solidFill>
          </p:grpSpPr>
          <p:sp>
            <p:nvSpPr>
              <p:cNvPr id="291" name="Freeform 5"/>
              <p:cNvSpPr>
                <a:spLocks/>
              </p:cNvSpPr>
              <p:nvPr/>
            </p:nvSpPr>
            <p:spPr bwMode="gray">
              <a:xfrm>
                <a:off x="2919" y="174"/>
                <a:ext cx="675" cy="1844"/>
              </a:xfrm>
              <a:custGeom>
                <a:avLst/>
                <a:gdLst>
                  <a:gd name="T0" fmla="*/ 34 w 285"/>
                  <a:gd name="T1" fmla="*/ 326 h 779"/>
                  <a:gd name="T2" fmla="*/ 26 w 285"/>
                  <a:gd name="T3" fmla="*/ 347 h 779"/>
                  <a:gd name="T4" fmla="*/ 26 w 285"/>
                  <a:gd name="T5" fmla="*/ 674 h 779"/>
                  <a:gd name="T6" fmla="*/ 26 w 285"/>
                  <a:gd name="T7" fmla="*/ 690 h 779"/>
                  <a:gd name="T8" fmla="*/ 0 w 285"/>
                  <a:gd name="T9" fmla="*/ 732 h 779"/>
                  <a:gd name="T10" fmla="*/ 47 w 285"/>
                  <a:gd name="T11" fmla="*/ 779 h 779"/>
                  <a:gd name="T12" fmla="*/ 94 w 285"/>
                  <a:gd name="T13" fmla="*/ 732 h 779"/>
                  <a:gd name="T14" fmla="*/ 69 w 285"/>
                  <a:gd name="T15" fmla="*/ 690 h 779"/>
                  <a:gd name="T16" fmla="*/ 70 w 285"/>
                  <a:gd name="T17" fmla="*/ 367 h 779"/>
                  <a:gd name="T18" fmla="*/ 79 w 285"/>
                  <a:gd name="T19" fmla="*/ 339 h 779"/>
                  <a:gd name="T20" fmla="*/ 250 w 285"/>
                  <a:gd name="T21" fmla="*/ 167 h 779"/>
                  <a:gd name="T22" fmla="*/ 253 w 285"/>
                  <a:gd name="T23" fmla="*/ 163 h 779"/>
                  <a:gd name="T24" fmla="*/ 252 w 285"/>
                  <a:gd name="T25" fmla="*/ 164 h 779"/>
                  <a:gd name="T26" fmla="*/ 260 w 285"/>
                  <a:gd name="T27" fmla="*/ 109 h 779"/>
                  <a:gd name="T28" fmla="*/ 260 w 285"/>
                  <a:gd name="T29" fmla="*/ 92 h 779"/>
                  <a:gd name="T30" fmla="*/ 260 w 285"/>
                  <a:gd name="T31" fmla="*/ 89 h 779"/>
                  <a:gd name="T32" fmla="*/ 285 w 285"/>
                  <a:gd name="T33" fmla="*/ 47 h 779"/>
                  <a:gd name="T34" fmla="*/ 239 w 285"/>
                  <a:gd name="T35" fmla="*/ 0 h 779"/>
                  <a:gd name="T36" fmla="*/ 193 w 285"/>
                  <a:gd name="T37" fmla="*/ 47 h 779"/>
                  <a:gd name="T38" fmla="*/ 217 w 285"/>
                  <a:gd name="T39" fmla="*/ 88 h 779"/>
                  <a:gd name="T40" fmla="*/ 217 w 285"/>
                  <a:gd name="T41" fmla="*/ 88 h 779"/>
                  <a:gd name="T42" fmla="*/ 187 w 285"/>
                  <a:gd name="T43" fmla="*/ 171 h 779"/>
                  <a:gd name="T44" fmla="*/ 34 w 285"/>
                  <a:gd name="T45" fmla="*/ 32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5" h="779">
                    <a:moveTo>
                      <a:pt x="34" y="326"/>
                    </a:moveTo>
                    <a:cubicBezTo>
                      <a:pt x="31" y="333"/>
                      <a:pt x="28" y="339"/>
                      <a:pt x="26" y="347"/>
                    </a:cubicBezTo>
                    <a:cubicBezTo>
                      <a:pt x="26" y="364"/>
                      <a:pt x="26" y="657"/>
                      <a:pt x="26" y="674"/>
                    </a:cubicBezTo>
                    <a:cubicBezTo>
                      <a:pt x="26" y="679"/>
                      <a:pt x="26" y="684"/>
                      <a:pt x="26" y="690"/>
                    </a:cubicBezTo>
                    <a:cubicBezTo>
                      <a:pt x="11" y="697"/>
                      <a:pt x="0" y="713"/>
                      <a:pt x="0" y="732"/>
                    </a:cubicBezTo>
                    <a:cubicBezTo>
                      <a:pt x="0" y="758"/>
                      <a:pt x="21" y="779"/>
                      <a:pt x="47" y="779"/>
                    </a:cubicBezTo>
                    <a:cubicBezTo>
                      <a:pt x="73" y="779"/>
                      <a:pt x="94" y="758"/>
                      <a:pt x="94" y="732"/>
                    </a:cubicBezTo>
                    <a:cubicBezTo>
                      <a:pt x="94" y="714"/>
                      <a:pt x="84" y="698"/>
                      <a:pt x="69" y="690"/>
                    </a:cubicBezTo>
                    <a:cubicBezTo>
                      <a:pt x="68" y="675"/>
                      <a:pt x="67" y="384"/>
                      <a:pt x="70" y="367"/>
                    </a:cubicBezTo>
                    <a:cubicBezTo>
                      <a:pt x="65" y="355"/>
                      <a:pt x="71" y="347"/>
                      <a:pt x="79" y="339"/>
                    </a:cubicBezTo>
                    <a:cubicBezTo>
                      <a:pt x="136" y="282"/>
                      <a:pt x="193" y="224"/>
                      <a:pt x="250" y="167"/>
                    </a:cubicBezTo>
                    <a:cubicBezTo>
                      <a:pt x="251" y="166"/>
                      <a:pt x="252" y="165"/>
                      <a:pt x="253" y="163"/>
                    </a:cubicBezTo>
                    <a:cubicBezTo>
                      <a:pt x="253" y="163"/>
                      <a:pt x="253" y="163"/>
                      <a:pt x="252" y="164"/>
                    </a:cubicBezTo>
                    <a:cubicBezTo>
                      <a:pt x="261" y="146"/>
                      <a:pt x="259" y="127"/>
                      <a:pt x="260" y="109"/>
                    </a:cubicBezTo>
                    <a:cubicBezTo>
                      <a:pt x="260" y="103"/>
                      <a:pt x="260" y="97"/>
                      <a:pt x="260" y="92"/>
                    </a:cubicBezTo>
                    <a:cubicBezTo>
                      <a:pt x="260" y="91"/>
                      <a:pt x="260" y="90"/>
                      <a:pt x="260" y="89"/>
                    </a:cubicBezTo>
                    <a:cubicBezTo>
                      <a:pt x="275" y="81"/>
                      <a:pt x="285" y="65"/>
                      <a:pt x="285" y="47"/>
                    </a:cubicBezTo>
                    <a:cubicBezTo>
                      <a:pt x="285" y="21"/>
                      <a:pt x="265" y="0"/>
                      <a:pt x="239" y="0"/>
                    </a:cubicBezTo>
                    <a:cubicBezTo>
                      <a:pt x="214" y="0"/>
                      <a:pt x="193" y="21"/>
                      <a:pt x="193" y="47"/>
                    </a:cubicBezTo>
                    <a:cubicBezTo>
                      <a:pt x="193" y="64"/>
                      <a:pt x="203" y="80"/>
                      <a:pt x="217" y="88"/>
                    </a:cubicBezTo>
                    <a:cubicBezTo>
                      <a:pt x="217" y="88"/>
                      <a:pt x="217" y="88"/>
                      <a:pt x="217" y="88"/>
                    </a:cubicBezTo>
                    <a:cubicBezTo>
                      <a:pt x="224" y="122"/>
                      <a:pt x="213" y="147"/>
                      <a:pt x="187" y="171"/>
                    </a:cubicBezTo>
                    <a:cubicBezTo>
                      <a:pt x="134" y="221"/>
                      <a:pt x="84" y="274"/>
                      <a:pt x="34" y="3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2" name="Freeform 6"/>
              <p:cNvSpPr>
                <a:spLocks noEditPoints="1"/>
              </p:cNvSpPr>
              <p:nvPr/>
            </p:nvSpPr>
            <p:spPr bwMode="gray">
              <a:xfrm>
                <a:off x="4363" y="356"/>
                <a:ext cx="1346" cy="1932"/>
              </a:xfrm>
              <a:custGeom>
                <a:avLst/>
                <a:gdLst>
                  <a:gd name="T0" fmla="*/ 561 w 569"/>
                  <a:gd name="T1" fmla="*/ 679 h 816"/>
                  <a:gd name="T2" fmla="*/ 469 w 569"/>
                  <a:gd name="T3" fmla="*/ 654 h 816"/>
                  <a:gd name="T4" fmla="*/ 407 w 569"/>
                  <a:gd name="T5" fmla="*/ 654 h 816"/>
                  <a:gd name="T6" fmla="*/ 339 w 569"/>
                  <a:gd name="T7" fmla="*/ 654 h 816"/>
                  <a:gd name="T8" fmla="*/ 270 w 569"/>
                  <a:gd name="T9" fmla="*/ 654 h 816"/>
                  <a:gd name="T10" fmla="*/ 184 w 569"/>
                  <a:gd name="T11" fmla="*/ 654 h 816"/>
                  <a:gd name="T12" fmla="*/ 142 w 569"/>
                  <a:gd name="T13" fmla="*/ 620 h 816"/>
                  <a:gd name="T14" fmla="*/ 111 w 569"/>
                  <a:gd name="T15" fmla="*/ 589 h 816"/>
                  <a:gd name="T16" fmla="*/ 78 w 569"/>
                  <a:gd name="T17" fmla="*/ 551 h 816"/>
                  <a:gd name="T18" fmla="*/ 78 w 569"/>
                  <a:gd name="T19" fmla="*/ 482 h 816"/>
                  <a:gd name="T20" fmla="*/ 78 w 569"/>
                  <a:gd name="T21" fmla="*/ 414 h 816"/>
                  <a:gd name="T22" fmla="*/ 131 w 569"/>
                  <a:gd name="T23" fmla="*/ 345 h 816"/>
                  <a:gd name="T24" fmla="*/ 160 w 569"/>
                  <a:gd name="T25" fmla="*/ 262 h 816"/>
                  <a:gd name="T26" fmla="*/ 184 w 569"/>
                  <a:gd name="T27" fmla="*/ 46 h 816"/>
                  <a:gd name="T28" fmla="*/ 94 w 569"/>
                  <a:gd name="T29" fmla="*/ 46 h 816"/>
                  <a:gd name="T30" fmla="*/ 117 w 569"/>
                  <a:gd name="T31" fmla="*/ 259 h 816"/>
                  <a:gd name="T32" fmla="*/ 45 w 569"/>
                  <a:gd name="T33" fmla="*/ 370 h 816"/>
                  <a:gd name="T34" fmla="*/ 35 w 569"/>
                  <a:gd name="T35" fmla="*/ 410 h 816"/>
                  <a:gd name="T36" fmla="*/ 34 w 569"/>
                  <a:gd name="T37" fmla="*/ 479 h 816"/>
                  <a:gd name="T38" fmla="*/ 34 w 569"/>
                  <a:gd name="T39" fmla="*/ 548 h 816"/>
                  <a:gd name="T40" fmla="*/ 56 w 569"/>
                  <a:gd name="T41" fmla="*/ 596 h 816"/>
                  <a:gd name="T42" fmla="*/ 91 w 569"/>
                  <a:gd name="T43" fmla="*/ 630 h 816"/>
                  <a:gd name="T44" fmla="*/ 125 w 569"/>
                  <a:gd name="T45" fmla="*/ 665 h 816"/>
                  <a:gd name="T46" fmla="*/ 159 w 569"/>
                  <a:gd name="T47" fmla="*/ 693 h 816"/>
                  <a:gd name="T48" fmla="*/ 225 w 569"/>
                  <a:gd name="T49" fmla="*/ 696 h 816"/>
                  <a:gd name="T50" fmla="*/ 294 w 569"/>
                  <a:gd name="T51" fmla="*/ 696 h 816"/>
                  <a:gd name="T52" fmla="*/ 362 w 569"/>
                  <a:gd name="T53" fmla="*/ 696 h 816"/>
                  <a:gd name="T54" fmla="*/ 432 w 569"/>
                  <a:gd name="T55" fmla="*/ 696 h 816"/>
                  <a:gd name="T56" fmla="*/ 510 w 569"/>
                  <a:gd name="T57" fmla="*/ 729 h 816"/>
                  <a:gd name="T58" fmla="*/ 433 w 569"/>
                  <a:gd name="T59" fmla="*/ 753 h 816"/>
                  <a:gd name="T60" fmla="*/ 312 w 569"/>
                  <a:gd name="T61" fmla="*/ 753 h 816"/>
                  <a:gd name="T62" fmla="*/ 174 w 569"/>
                  <a:gd name="T63" fmla="*/ 753 h 816"/>
                  <a:gd name="T64" fmla="*/ 126 w 569"/>
                  <a:gd name="T65" fmla="*/ 734 h 816"/>
                  <a:gd name="T66" fmla="*/ 92 w 569"/>
                  <a:gd name="T67" fmla="*/ 701 h 816"/>
                  <a:gd name="T68" fmla="*/ 89 w 569"/>
                  <a:gd name="T69" fmla="*/ 683 h 816"/>
                  <a:gd name="T70" fmla="*/ 0 w 569"/>
                  <a:gd name="T71" fmla="*/ 683 h 816"/>
                  <a:gd name="T72" fmla="*/ 55 w 569"/>
                  <a:gd name="T73" fmla="*/ 725 h 816"/>
                  <a:gd name="T74" fmla="*/ 86 w 569"/>
                  <a:gd name="T75" fmla="*/ 756 h 816"/>
                  <a:gd name="T76" fmla="*/ 122 w 569"/>
                  <a:gd name="T77" fmla="*/ 789 h 816"/>
                  <a:gd name="T78" fmla="*/ 471 w 569"/>
                  <a:gd name="T79" fmla="*/ 796 h 816"/>
                  <a:gd name="T80" fmla="*/ 524 w 569"/>
                  <a:gd name="T81" fmla="*/ 816 h 816"/>
                  <a:gd name="T82" fmla="*/ 526 w 569"/>
                  <a:gd name="T83" fmla="*/ 726 h 816"/>
                  <a:gd name="T84" fmla="*/ 139 w 569"/>
                  <a:gd name="T85" fmla="*/ 19 h 816"/>
                  <a:gd name="T86" fmla="*/ 139 w 569"/>
                  <a:gd name="T87" fmla="*/ 73 h 816"/>
                  <a:gd name="T88" fmla="*/ 44 w 569"/>
                  <a:gd name="T89" fmla="*/ 707 h 816"/>
                  <a:gd name="T90" fmla="*/ 44 w 569"/>
                  <a:gd name="T91" fmla="*/ 658 h 816"/>
                  <a:gd name="T92" fmla="*/ 44 w 569"/>
                  <a:gd name="T93" fmla="*/ 707 h 816"/>
                  <a:gd name="T94" fmla="*/ 498 w 569"/>
                  <a:gd name="T95" fmla="*/ 771 h 816"/>
                  <a:gd name="T96" fmla="*/ 549 w 569"/>
                  <a:gd name="T97" fmla="*/ 771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9" h="816">
                    <a:moveTo>
                      <a:pt x="526" y="726"/>
                    </a:moveTo>
                    <a:cubicBezTo>
                      <a:pt x="546" y="720"/>
                      <a:pt x="561" y="702"/>
                      <a:pt x="561" y="679"/>
                    </a:cubicBezTo>
                    <a:cubicBezTo>
                      <a:pt x="561" y="652"/>
                      <a:pt x="539" y="629"/>
                      <a:pt x="512" y="629"/>
                    </a:cubicBezTo>
                    <a:cubicBezTo>
                      <a:pt x="493" y="629"/>
                      <a:pt x="477" y="640"/>
                      <a:pt x="469" y="654"/>
                    </a:cubicBezTo>
                    <a:cubicBezTo>
                      <a:pt x="466" y="654"/>
                      <a:pt x="464" y="654"/>
                      <a:pt x="462" y="654"/>
                    </a:cubicBezTo>
                    <a:cubicBezTo>
                      <a:pt x="444" y="654"/>
                      <a:pt x="426" y="654"/>
                      <a:pt x="407" y="654"/>
                    </a:cubicBezTo>
                    <a:cubicBezTo>
                      <a:pt x="404" y="654"/>
                      <a:pt x="401" y="654"/>
                      <a:pt x="397" y="654"/>
                    </a:cubicBezTo>
                    <a:cubicBezTo>
                      <a:pt x="377" y="654"/>
                      <a:pt x="358" y="654"/>
                      <a:pt x="339" y="654"/>
                    </a:cubicBezTo>
                    <a:cubicBezTo>
                      <a:pt x="335" y="654"/>
                      <a:pt x="332" y="654"/>
                      <a:pt x="328" y="654"/>
                    </a:cubicBezTo>
                    <a:cubicBezTo>
                      <a:pt x="309" y="654"/>
                      <a:pt x="290" y="654"/>
                      <a:pt x="270" y="654"/>
                    </a:cubicBezTo>
                    <a:cubicBezTo>
                      <a:pt x="267" y="654"/>
                      <a:pt x="263" y="654"/>
                      <a:pt x="259" y="654"/>
                    </a:cubicBezTo>
                    <a:cubicBezTo>
                      <a:pt x="234" y="654"/>
                      <a:pt x="209" y="654"/>
                      <a:pt x="184" y="654"/>
                    </a:cubicBezTo>
                    <a:cubicBezTo>
                      <a:pt x="183" y="654"/>
                      <a:pt x="181" y="654"/>
                      <a:pt x="181" y="654"/>
                    </a:cubicBezTo>
                    <a:cubicBezTo>
                      <a:pt x="162" y="649"/>
                      <a:pt x="155" y="632"/>
                      <a:pt x="142" y="620"/>
                    </a:cubicBezTo>
                    <a:cubicBezTo>
                      <a:pt x="134" y="614"/>
                      <a:pt x="128" y="607"/>
                      <a:pt x="122" y="599"/>
                    </a:cubicBezTo>
                    <a:cubicBezTo>
                      <a:pt x="118" y="596"/>
                      <a:pt x="115" y="593"/>
                      <a:pt x="111" y="589"/>
                    </a:cubicBezTo>
                    <a:cubicBezTo>
                      <a:pt x="102" y="582"/>
                      <a:pt x="94" y="574"/>
                      <a:pt x="87" y="565"/>
                    </a:cubicBezTo>
                    <a:cubicBezTo>
                      <a:pt x="83" y="562"/>
                      <a:pt x="77" y="559"/>
                      <a:pt x="78" y="551"/>
                    </a:cubicBezTo>
                    <a:cubicBezTo>
                      <a:pt x="78" y="534"/>
                      <a:pt x="78" y="517"/>
                      <a:pt x="78" y="500"/>
                    </a:cubicBezTo>
                    <a:cubicBezTo>
                      <a:pt x="78" y="494"/>
                      <a:pt x="78" y="488"/>
                      <a:pt x="78" y="482"/>
                    </a:cubicBezTo>
                    <a:cubicBezTo>
                      <a:pt x="78" y="465"/>
                      <a:pt x="78" y="448"/>
                      <a:pt x="78" y="431"/>
                    </a:cubicBezTo>
                    <a:cubicBezTo>
                      <a:pt x="78" y="425"/>
                      <a:pt x="78" y="419"/>
                      <a:pt x="78" y="414"/>
                    </a:cubicBezTo>
                    <a:cubicBezTo>
                      <a:pt x="75" y="403"/>
                      <a:pt x="78" y="396"/>
                      <a:pt x="86" y="389"/>
                    </a:cubicBezTo>
                    <a:cubicBezTo>
                      <a:pt x="101" y="375"/>
                      <a:pt x="115" y="358"/>
                      <a:pt x="131" y="345"/>
                    </a:cubicBezTo>
                    <a:cubicBezTo>
                      <a:pt x="151" y="327"/>
                      <a:pt x="161" y="306"/>
                      <a:pt x="160" y="280"/>
                    </a:cubicBezTo>
                    <a:cubicBezTo>
                      <a:pt x="160" y="274"/>
                      <a:pt x="160" y="268"/>
                      <a:pt x="160" y="262"/>
                    </a:cubicBezTo>
                    <a:cubicBezTo>
                      <a:pt x="160" y="245"/>
                      <a:pt x="159" y="99"/>
                      <a:pt x="159" y="87"/>
                    </a:cubicBezTo>
                    <a:cubicBezTo>
                      <a:pt x="174" y="79"/>
                      <a:pt x="184" y="64"/>
                      <a:pt x="184" y="46"/>
                    </a:cubicBezTo>
                    <a:cubicBezTo>
                      <a:pt x="184" y="21"/>
                      <a:pt x="164" y="0"/>
                      <a:pt x="139" y="0"/>
                    </a:cubicBezTo>
                    <a:cubicBezTo>
                      <a:pt x="114" y="0"/>
                      <a:pt x="94" y="21"/>
                      <a:pt x="94" y="46"/>
                    </a:cubicBezTo>
                    <a:cubicBezTo>
                      <a:pt x="94" y="64"/>
                      <a:pt x="104" y="79"/>
                      <a:pt x="118" y="86"/>
                    </a:cubicBezTo>
                    <a:cubicBezTo>
                      <a:pt x="117" y="92"/>
                      <a:pt x="118" y="253"/>
                      <a:pt x="117" y="259"/>
                    </a:cubicBezTo>
                    <a:cubicBezTo>
                      <a:pt x="122" y="285"/>
                      <a:pt x="116" y="305"/>
                      <a:pt x="94" y="322"/>
                    </a:cubicBezTo>
                    <a:cubicBezTo>
                      <a:pt x="77" y="336"/>
                      <a:pt x="62" y="355"/>
                      <a:pt x="45" y="370"/>
                    </a:cubicBezTo>
                    <a:cubicBezTo>
                      <a:pt x="39" y="377"/>
                      <a:pt x="34" y="383"/>
                      <a:pt x="34" y="392"/>
                    </a:cubicBezTo>
                    <a:cubicBezTo>
                      <a:pt x="36" y="398"/>
                      <a:pt x="36" y="404"/>
                      <a:pt x="35" y="410"/>
                    </a:cubicBezTo>
                    <a:cubicBezTo>
                      <a:pt x="36" y="428"/>
                      <a:pt x="36" y="445"/>
                      <a:pt x="34" y="462"/>
                    </a:cubicBezTo>
                    <a:cubicBezTo>
                      <a:pt x="36" y="467"/>
                      <a:pt x="36" y="473"/>
                      <a:pt x="34" y="479"/>
                    </a:cubicBezTo>
                    <a:cubicBezTo>
                      <a:pt x="36" y="496"/>
                      <a:pt x="36" y="513"/>
                      <a:pt x="34" y="530"/>
                    </a:cubicBezTo>
                    <a:cubicBezTo>
                      <a:pt x="36" y="536"/>
                      <a:pt x="36" y="542"/>
                      <a:pt x="34" y="548"/>
                    </a:cubicBezTo>
                    <a:cubicBezTo>
                      <a:pt x="37" y="560"/>
                      <a:pt x="31" y="573"/>
                      <a:pt x="43" y="582"/>
                    </a:cubicBezTo>
                    <a:cubicBezTo>
                      <a:pt x="47" y="587"/>
                      <a:pt x="52" y="591"/>
                      <a:pt x="56" y="596"/>
                    </a:cubicBezTo>
                    <a:cubicBezTo>
                      <a:pt x="64" y="603"/>
                      <a:pt x="70" y="610"/>
                      <a:pt x="78" y="616"/>
                    </a:cubicBezTo>
                    <a:cubicBezTo>
                      <a:pt x="82" y="621"/>
                      <a:pt x="86" y="626"/>
                      <a:pt x="91" y="630"/>
                    </a:cubicBezTo>
                    <a:cubicBezTo>
                      <a:pt x="98" y="637"/>
                      <a:pt x="105" y="644"/>
                      <a:pt x="111" y="651"/>
                    </a:cubicBezTo>
                    <a:cubicBezTo>
                      <a:pt x="117" y="655"/>
                      <a:pt x="121" y="660"/>
                      <a:pt x="125" y="665"/>
                    </a:cubicBezTo>
                    <a:cubicBezTo>
                      <a:pt x="133" y="672"/>
                      <a:pt x="142" y="680"/>
                      <a:pt x="150" y="688"/>
                    </a:cubicBezTo>
                    <a:cubicBezTo>
                      <a:pt x="153" y="690"/>
                      <a:pt x="156" y="691"/>
                      <a:pt x="159" y="693"/>
                    </a:cubicBezTo>
                    <a:cubicBezTo>
                      <a:pt x="175" y="697"/>
                      <a:pt x="192" y="694"/>
                      <a:pt x="208" y="696"/>
                    </a:cubicBezTo>
                    <a:cubicBezTo>
                      <a:pt x="214" y="696"/>
                      <a:pt x="219" y="696"/>
                      <a:pt x="225" y="696"/>
                    </a:cubicBezTo>
                    <a:cubicBezTo>
                      <a:pt x="242" y="696"/>
                      <a:pt x="259" y="696"/>
                      <a:pt x="276" y="696"/>
                    </a:cubicBezTo>
                    <a:cubicBezTo>
                      <a:pt x="282" y="696"/>
                      <a:pt x="288" y="696"/>
                      <a:pt x="294" y="696"/>
                    </a:cubicBezTo>
                    <a:cubicBezTo>
                      <a:pt x="311" y="696"/>
                      <a:pt x="328" y="696"/>
                      <a:pt x="346" y="696"/>
                    </a:cubicBezTo>
                    <a:cubicBezTo>
                      <a:pt x="351" y="696"/>
                      <a:pt x="357" y="696"/>
                      <a:pt x="362" y="696"/>
                    </a:cubicBezTo>
                    <a:cubicBezTo>
                      <a:pt x="379" y="696"/>
                      <a:pt x="397" y="696"/>
                      <a:pt x="414" y="696"/>
                    </a:cubicBezTo>
                    <a:cubicBezTo>
                      <a:pt x="420" y="696"/>
                      <a:pt x="426" y="696"/>
                      <a:pt x="432" y="696"/>
                    </a:cubicBezTo>
                    <a:cubicBezTo>
                      <a:pt x="443" y="696"/>
                      <a:pt x="454" y="696"/>
                      <a:pt x="465" y="695"/>
                    </a:cubicBezTo>
                    <a:cubicBezTo>
                      <a:pt x="472" y="714"/>
                      <a:pt x="489" y="728"/>
                      <a:pt x="510" y="729"/>
                    </a:cubicBezTo>
                    <a:cubicBezTo>
                      <a:pt x="498" y="732"/>
                      <a:pt x="488" y="741"/>
                      <a:pt x="483" y="753"/>
                    </a:cubicBezTo>
                    <a:cubicBezTo>
                      <a:pt x="472" y="752"/>
                      <a:pt x="438" y="753"/>
                      <a:pt x="433" y="753"/>
                    </a:cubicBezTo>
                    <a:cubicBezTo>
                      <a:pt x="416" y="753"/>
                      <a:pt x="399" y="753"/>
                      <a:pt x="381" y="753"/>
                    </a:cubicBezTo>
                    <a:cubicBezTo>
                      <a:pt x="376" y="753"/>
                      <a:pt x="329" y="753"/>
                      <a:pt x="312" y="753"/>
                    </a:cubicBezTo>
                    <a:cubicBezTo>
                      <a:pt x="306" y="753"/>
                      <a:pt x="261" y="753"/>
                      <a:pt x="244" y="753"/>
                    </a:cubicBezTo>
                    <a:cubicBezTo>
                      <a:pt x="238" y="753"/>
                      <a:pt x="192" y="753"/>
                      <a:pt x="174" y="753"/>
                    </a:cubicBezTo>
                    <a:cubicBezTo>
                      <a:pt x="169" y="753"/>
                      <a:pt x="163" y="753"/>
                      <a:pt x="157" y="753"/>
                    </a:cubicBezTo>
                    <a:cubicBezTo>
                      <a:pt x="141" y="756"/>
                      <a:pt x="135" y="742"/>
                      <a:pt x="126" y="734"/>
                    </a:cubicBezTo>
                    <a:cubicBezTo>
                      <a:pt x="121" y="731"/>
                      <a:pt x="117" y="727"/>
                      <a:pt x="113" y="721"/>
                    </a:cubicBezTo>
                    <a:cubicBezTo>
                      <a:pt x="106" y="715"/>
                      <a:pt x="99" y="707"/>
                      <a:pt x="92" y="701"/>
                    </a:cubicBezTo>
                    <a:cubicBezTo>
                      <a:pt x="90" y="700"/>
                      <a:pt x="88" y="698"/>
                      <a:pt x="87" y="697"/>
                    </a:cubicBezTo>
                    <a:cubicBezTo>
                      <a:pt x="88" y="692"/>
                      <a:pt x="89" y="688"/>
                      <a:pt x="89" y="683"/>
                    </a:cubicBezTo>
                    <a:cubicBezTo>
                      <a:pt x="89" y="659"/>
                      <a:pt x="69" y="639"/>
                      <a:pt x="44" y="639"/>
                    </a:cubicBezTo>
                    <a:cubicBezTo>
                      <a:pt x="20" y="639"/>
                      <a:pt x="0" y="659"/>
                      <a:pt x="0" y="683"/>
                    </a:cubicBezTo>
                    <a:cubicBezTo>
                      <a:pt x="0" y="707"/>
                      <a:pt x="20" y="726"/>
                      <a:pt x="44" y="726"/>
                    </a:cubicBezTo>
                    <a:cubicBezTo>
                      <a:pt x="48" y="726"/>
                      <a:pt x="52" y="726"/>
                      <a:pt x="55" y="725"/>
                    </a:cubicBezTo>
                    <a:cubicBezTo>
                      <a:pt x="56" y="726"/>
                      <a:pt x="57" y="727"/>
                      <a:pt x="58" y="728"/>
                    </a:cubicBezTo>
                    <a:cubicBezTo>
                      <a:pt x="68" y="736"/>
                      <a:pt x="78" y="745"/>
                      <a:pt x="86" y="756"/>
                    </a:cubicBezTo>
                    <a:cubicBezTo>
                      <a:pt x="88" y="758"/>
                      <a:pt x="90" y="760"/>
                      <a:pt x="93" y="762"/>
                    </a:cubicBezTo>
                    <a:cubicBezTo>
                      <a:pt x="102" y="771"/>
                      <a:pt x="112" y="780"/>
                      <a:pt x="122" y="789"/>
                    </a:cubicBezTo>
                    <a:cubicBezTo>
                      <a:pt x="124" y="790"/>
                      <a:pt x="127" y="791"/>
                      <a:pt x="130" y="793"/>
                    </a:cubicBezTo>
                    <a:cubicBezTo>
                      <a:pt x="146" y="794"/>
                      <a:pt x="465" y="793"/>
                      <a:pt x="471" y="796"/>
                    </a:cubicBezTo>
                    <a:cubicBezTo>
                      <a:pt x="476" y="796"/>
                      <a:pt x="481" y="795"/>
                      <a:pt x="486" y="795"/>
                    </a:cubicBezTo>
                    <a:cubicBezTo>
                      <a:pt x="494" y="807"/>
                      <a:pt x="508" y="816"/>
                      <a:pt x="524" y="816"/>
                    </a:cubicBezTo>
                    <a:cubicBezTo>
                      <a:pt x="548" y="816"/>
                      <a:pt x="569" y="796"/>
                      <a:pt x="569" y="771"/>
                    </a:cubicBezTo>
                    <a:cubicBezTo>
                      <a:pt x="569" y="747"/>
                      <a:pt x="549" y="727"/>
                      <a:pt x="526" y="726"/>
                    </a:cubicBezTo>
                    <a:close/>
                    <a:moveTo>
                      <a:pt x="113" y="46"/>
                    </a:moveTo>
                    <a:cubicBezTo>
                      <a:pt x="113" y="31"/>
                      <a:pt x="125" y="19"/>
                      <a:pt x="139" y="19"/>
                    </a:cubicBezTo>
                    <a:cubicBezTo>
                      <a:pt x="153" y="19"/>
                      <a:pt x="164" y="31"/>
                      <a:pt x="164" y="46"/>
                    </a:cubicBezTo>
                    <a:cubicBezTo>
                      <a:pt x="164" y="61"/>
                      <a:pt x="153" y="73"/>
                      <a:pt x="139" y="73"/>
                    </a:cubicBezTo>
                    <a:cubicBezTo>
                      <a:pt x="125" y="73"/>
                      <a:pt x="113" y="61"/>
                      <a:pt x="113" y="46"/>
                    </a:cubicBezTo>
                    <a:close/>
                    <a:moveTo>
                      <a:pt x="44" y="707"/>
                    </a:moveTo>
                    <a:cubicBezTo>
                      <a:pt x="30" y="707"/>
                      <a:pt x="19" y="696"/>
                      <a:pt x="19" y="683"/>
                    </a:cubicBezTo>
                    <a:cubicBezTo>
                      <a:pt x="19" y="669"/>
                      <a:pt x="30" y="658"/>
                      <a:pt x="44" y="658"/>
                    </a:cubicBezTo>
                    <a:cubicBezTo>
                      <a:pt x="58" y="658"/>
                      <a:pt x="70" y="669"/>
                      <a:pt x="70" y="683"/>
                    </a:cubicBezTo>
                    <a:cubicBezTo>
                      <a:pt x="70" y="696"/>
                      <a:pt x="58" y="707"/>
                      <a:pt x="44" y="707"/>
                    </a:cubicBezTo>
                    <a:close/>
                    <a:moveTo>
                      <a:pt x="524" y="796"/>
                    </a:moveTo>
                    <a:cubicBezTo>
                      <a:pt x="510" y="796"/>
                      <a:pt x="498" y="785"/>
                      <a:pt x="498" y="771"/>
                    </a:cubicBezTo>
                    <a:cubicBezTo>
                      <a:pt x="498" y="757"/>
                      <a:pt x="510" y="746"/>
                      <a:pt x="524" y="746"/>
                    </a:cubicBezTo>
                    <a:cubicBezTo>
                      <a:pt x="538" y="746"/>
                      <a:pt x="549" y="757"/>
                      <a:pt x="549" y="771"/>
                    </a:cubicBezTo>
                    <a:cubicBezTo>
                      <a:pt x="549" y="785"/>
                      <a:pt x="538" y="796"/>
                      <a:pt x="524" y="7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3" name="Freeform 7"/>
              <p:cNvSpPr>
                <a:spLocks noEditPoints="1"/>
              </p:cNvSpPr>
              <p:nvPr/>
            </p:nvSpPr>
            <p:spPr bwMode="gray">
              <a:xfrm>
                <a:off x="4580" y="529"/>
                <a:ext cx="469" cy="1110"/>
              </a:xfrm>
              <a:custGeom>
                <a:avLst/>
                <a:gdLst>
                  <a:gd name="T0" fmla="*/ 129 w 198"/>
                  <a:gd name="T1" fmla="*/ 89 h 469"/>
                  <a:gd name="T2" fmla="*/ 128 w 198"/>
                  <a:gd name="T3" fmla="*/ 133 h 469"/>
                  <a:gd name="T4" fmla="*/ 128 w 198"/>
                  <a:gd name="T5" fmla="*/ 151 h 469"/>
                  <a:gd name="T6" fmla="*/ 128 w 198"/>
                  <a:gd name="T7" fmla="*/ 203 h 469"/>
                  <a:gd name="T8" fmla="*/ 128 w 198"/>
                  <a:gd name="T9" fmla="*/ 221 h 469"/>
                  <a:gd name="T10" fmla="*/ 128 w 198"/>
                  <a:gd name="T11" fmla="*/ 272 h 469"/>
                  <a:gd name="T12" fmla="*/ 128 w 198"/>
                  <a:gd name="T13" fmla="*/ 290 h 469"/>
                  <a:gd name="T14" fmla="*/ 117 w 198"/>
                  <a:gd name="T15" fmla="*/ 325 h 469"/>
                  <a:gd name="T16" fmla="*/ 65 w 198"/>
                  <a:gd name="T17" fmla="*/ 378 h 469"/>
                  <a:gd name="T18" fmla="*/ 47 w 198"/>
                  <a:gd name="T19" fmla="*/ 375 h 469"/>
                  <a:gd name="T20" fmla="*/ 0 w 198"/>
                  <a:gd name="T21" fmla="*/ 422 h 469"/>
                  <a:gd name="T22" fmla="*/ 47 w 198"/>
                  <a:gd name="T23" fmla="*/ 469 h 469"/>
                  <a:gd name="T24" fmla="*/ 94 w 198"/>
                  <a:gd name="T25" fmla="*/ 422 h 469"/>
                  <a:gd name="T26" fmla="*/ 92 w 198"/>
                  <a:gd name="T27" fmla="*/ 408 h 469"/>
                  <a:gd name="T28" fmla="*/ 155 w 198"/>
                  <a:gd name="T29" fmla="*/ 345 h 469"/>
                  <a:gd name="T30" fmla="*/ 172 w 198"/>
                  <a:gd name="T31" fmla="*/ 310 h 469"/>
                  <a:gd name="T32" fmla="*/ 172 w 198"/>
                  <a:gd name="T33" fmla="*/ 292 h 469"/>
                  <a:gd name="T34" fmla="*/ 172 w 198"/>
                  <a:gd name="T35" fmla="*/ 241 h 469"/>
                  <a:gd name="T36" fmla="*/ 172 w 198"/>
                  <a:gd name="T37" fmla="*/ 224 h 469"/>
                  <a:gd name="T38" fmla="*/ 172 w 198"/>
                  <a:gd name="T39" fmla="*/ 172 h 469"/>
                  <a:gd name="T40" fmla="*/ 172 w 198"/>
                  <a:gd name="T41" fmla="*/ 154 h 469"/>
                  <a:gd name="T42" fmla="*/ 172 w 198"/>
                  <a:gd name="T43" fmla="*/ 102 h 469"/>
                  <a:gd name="T44" fmla="*/ 172 w 198"/>
                  <a:gd name="T45" fmla="*/ 89 h 469"/>
                  <a:gd name="T46" fmla="*/ 198 w 198"/>
                  <a:gd name="T47" fmla="*/ 47 h 469"/>
                  <a:gd name="T48" fmla="*/ 150 w 198"/>
                  <a:gd name="T49" fmla="*/ 0 h 469"/>
                  <a:gd name="T50" fmla="*/ 101 w 198"/>
                  <a:gd name="T51" fmla="*/ 47 h 469"/>
                  <a:gd name="T52" fmla="*/ 129 w 198"/>
                  <a:gd name="T53" fmla="*/ 89 h 469"/>
                  <a:gd name="T54" fmla="*/ 47 w 198"/>
                  <a:gd name="T55" fmla="*/ 450 h 469"/>
                  <a:gd name="T56" fmla="*/ 19 w 198"/>
                  <a:gd name="T57" fmla="*/ 422 h 469"/>
                  <a:gd name="T58" fmla="*/ 47 w 198"/>
                  <a:gd name="T59" fmla="*/ 394 h 469"/>
                  <a:gd name="T60" fmla="*/ 75 w 198"/>
                  <a:gd name="T61" fmla="*/ 422 h 469"/>
                  <a:gd name="T62" fmla="*/ 47 w 198"/>
                  <a:gd name="T63" fmla="*/ 45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8" h="469">
                    <a:moveTo>
                      <a:pt x="129" y="89"/>
                    </a:moveTo>
                    <a:cubicBezTo>
                      <a:pt x="130" y="104"/>
                      <a:pt x="130" y="119"/>
                      <a:pt x="128" y="133"/>
                    </a:cubicBezTo>
                    <a:cubicBezTo>
                      <a:pt x="130" y="139"/>
                      <a:pt x="130" y="145"/>
                      <a:pt x="128" y="151"/>
                    </a:cubicBezTo>
                    <a:cubicBezTo>
                      <a:pt x="130" y="168"/>
                      <a:pt x="130" y="186"/>
                      <a:pt x="128" y="203"/>
                    </a:cubicBezTo>
                    <a:cubicBezTo>
                      <a:pt x="130" y="209"/>
                      <a:pt x="130" y="215"/>
                      <a:pt x="128" y="221"/>
                    </a:cubicBezTo>
                    <a:cubicBezTo>
                      <a:pt x="130" y="238"/>
                      <a:pt x="130" y="255"/>
                      <a:pt x="128" y="272"/>
                    </a:cubicBezTo>
                    <a:cubicBezTo>
                      <a:pt x="130" y="278"/>
                      <a:pt x="130" y="284"/>
                      <a:pt x="128" y="290"/>
                    </a:cubicBezTo>
                    <a:cubicBezTo>
                      <a:pt x="132" y="304"/>
                      <a:pt x="128" y="315"/>
                      <a:pt x="117" y="325"/>
                    </a:cubicBezTo>
                    <a:cubicBezTo>
                      <a:pt x="99" y="342"/>
                      <a:pt x="82" y="361"/>
                      <a:pt x="65" y="378"/>
                    </a:cubicBezTo>
                    <a:cubicBezTo>
                      <a:pt x="59" y="376"/>
                      <a:pt x="53" y="375"/>
                      <a:pt x="47" y="375"/>
                    </a:cubicBezTo>
                    <a:cubicBezTo>
                      <a:pt x="21" y="375"/>
                      <a:pt x="0" y="396"/>
                      <a:pt x="0" y="422"/>
                    </a:cubicBezTo>
                    <a:cubicBezTo>
                      <a:pt x="0" y="448"/>
                      <a:pt x="21" y="469"/>
                      <a:pt x="47" y="469"/>
                    </a:cubicBezTo>
                    <a:cubicBezTo>
                      <a:pt x="73" y="469"/>
                      <a:pt x="94" y="448"/>
                      <a:pt x="94" y="422"/>
                    </a:cubicBezTo>
                    <a:cubicBezTo>
                      <a:pt x="94" y="417"/>
                      <a:pt x="93" y="413"/>
                      <a:pt x="92" y="408"/>
                    </a:cubicBezTo>
                    <a:cubicBezTo>
                      <a:pt x="113" y="387"/>
                      <a:pt x="134" y="366"/>
                      <a:pt x="155" y="345"/>
                    </a:cubicBezTo>
                    <a:cubicBezTo>
                      <a:pt x="165" y="335"/>
                      <a:pt x="169" y="323"/>
                      <a:pt x="172" y="310"/>
                    </a:cubicBezTo>
                    <a:cubicBezTo>
                      <a:pt x="172" y="304"/>
                      <a:pt x="172" y="298"/>
                      <a:pt x="172" y="292"/>
                    </a:cubicBezTo>
                    <a:cubicBezTo>
                      <a:pt x="172" y="275"/>
                      <a:pt x="172" y="258"/>
                      <a:pt x="172" y="241"/>
                    </a:cubicBezTo>
                    <a:cubicBezTo>
                      <a:pt x="172" y="235"/>
                      <a:pt x="172" y="230"/>
                      <a:pt x="172" y="224"/>
                    </a:cubicBezTo>
                    <a:cubicBezTo>
                      <a:pt x="172" y="207"/>
                      <a:pt x="172" y="189"/>
                      <a:pt x="172" y="172"/>
                    </a:cubicBezTo>
                    <a:cubicBezTo>
                      <a:pt x="172" y="166"/>
                      <a:pt x="172" y="160"/>
                      <a:pt x="172" y="154"/>
                    </a:cubicBezTo>
                    <a:cubicBezTo>
                      <a:pt x="172" y="137"/>
                      <a:pt x="172" y="120"/>
                      <a:pt x="172" y="102"/>
                    </a:cubicBezTo>
                    <a:cubicBezTo>
                      <a:pt x="172" y="98"/>
                      <a:pt x="172" y="93"/>
                      <a:pt x="172" y="89"/>
                    </a:cubicBezTo>
                    <a:cubicBezTo>
                      <a:pt x="187" y="81"/>
                      <a:pt x="198" y="65"/>
                      <a:pt x="198" y="47"/>
                    </a:cubicBezTo>
                    <a:cubicBezTo>
                      <a:pt x="198" y="21"/>
                      <a:pt x="176" y="0"/>
                      <a:pt x="150" y="0"/>
                    </a:cubicBezTo>
                    <a:cubicBezTo>
                      <a:pt x="123" y="0"/>
                      <a:pt x="101" y="21"/>
                      <a:pt x="101" y="47"/>
                    </a:cubicBezTo>
                    <a:cubicBezTo>
                      <a:pt x="101" y="66"/>
                      <a:pt x="113" y="82"/>
                      <a:pt x="129" y="89"/>
                    </a:cubicBezTo>
                    <a:close/>
                    <a:moveTo>
                      <a:pt x="47" y="450"/>
                    </a:moveTo>
                    <a:cubicBezTo>
                      <a:pt x="32" y="450"/>
                      <a:pt x="19" y="437"/>
                      <a:pt x="19" y="422"/>
                    </a:cubicBezTo>
                    <a:cubicBezTo>
                      <a:pt x="19" y="407"/>
                      <a:pt x="32" y="394"/>
                      <a:pt x="47" y="394"/>
                    </a:cubicBezTo>
                    <a:cubicBezTo>
                      <a:pt x="62" y="394"/>
                      <a:pt x="75" y="407"/>
                      <a:pt x="75" y="422"/>
                    </a:cubicBezTo>
                    <a:cubicBezTo>
                      <a:pt x="75" y="437"/>
                      <a:pt x="62" y="450"/>
                      <a:pt x="47" y="4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4" name="Freeform 8"/>
              <p:cNvSpPr>
                <a:spLocks noEditPoints="1"/>
              </p:cNvSpPr>
              <p:nvPr/>
            </p:nvSpPr>
            <p:spPr bwMode="gray">
              <a:xfrm>
                <a:off x="3246" y="2340"/>
                <a:ext cx="920" cy="1803"/>
              </a:xfrm>
              <a:custGeom>
                <a:avLst/>
                <a:gdLst>
                  <a:gd name="T0" fmla="*/ 368 w 389"/>
                  <a:gd name="T1" fmla="*/ 670 h 762"/>
                  <a:gd name="T2" fmla="*/ 368 w 389"/>
                  <a:gd name="T3" fmla="*/ 601 h 762"/>
                  <a:gd name="T4" fmla="*/ 368 w 389"/>
                  <a:gd name="T5" fmla="*/ 531 h 762"/>
                  <a:gd name="T6" fmla="*/ 368 w 389"/>
                  <a:gd name="T7" fmla="*/ 462 h 762"/>
                  <a:gd name="T8" fmla="*/ 368 w 389"/>
                  <a:gd name="T9" fmla="*/ 393 h 762"/>
                  <a:gd name="T10" fmla="*/ 368 w 389"/>
                  <a:gd name="T11" fmla="*/ 324 h 762"/>
                  <a:gd name="T12" fmla="*/ 368 w 389"/>
                  <a:gd name="T13" fmla="*/ 254 h 762"/>
                  <a:gd name="T14" fmla="*/ 368 w 389"/>
                  <a:gd name="T15" fmla="*/ 186 h 762"/>
                  <a:gd name="T16" fmla="*/ 351 w 389"/>
                  <a:gd name="T17" fmla="*/ 134 h 762"/>
                  <a:gd name="T18" fmla="*/ 317 w 389"/>
                  <a:gd name="T19" fmla="*/ 100 h 762"/>
                  <a:gd name="T20" fmla="*/ 282 w 389"/>
                  <a:gd name="T21" fmla="*/ 65 h 762"/>
                  <a:gd name="T22" fmla="*/ 248 w 389"/>
                  <a:gd name="T23" fmla="*/ 31 h 762"/>
                  <a:gd name="T24" fmla="*/ 194 w 389"/>
                  <a:gd name="T25" fmla="*/ 20 h 762"/>
                  <a:gd name="T26" fmla="*/ 125 w 389"/>
                  <a:gd name="T27" fmla="*/ 20 h 762"/>
                  <a:gd name="T28" fmla="*/ 84 w 389"/>
                  <a:gd name="T29" fmla="*/ 20 h 762"/>
                  <a:gd name="T30" fmla="*/ 0 w 389"/>
                  <a:gd name="T31" fmla="*/ 44 h 762"/>
                  <a:gd name="T32" fmla="*/ 87 w 389"/>
                  <a:gd name="T33" fmla="*/ 64 h 762"/>
                  <a:gd name="T34" fmla="*/ 146 w 389"/>
                  <a:gd name="T35" fmla="*/ 64 h 762"/>
                  <a:gd name="T36" fmla="*/ 214 w 389"/>
                  <a:gd name="T37" fmla="*/ 64 h 762"/>
                  <a:gd name="T38" fmla="*/ 254 w 389"/>
                  <a:gd name="T39" fmla="*/ 98 h 762"/>
                  <a:gd name="T40" fmla="*/ 288 w 389"/>
                  <a:gd name="T41" fmla="*/ 133 h 762"/>
                  <a:gd name="T42" fmla="*/ 322 w 389"/>
                  <a:gd name="T43" fmla="*/ 168 h 762"/>
                  <a:gd name="T44" fmla="*/ 325 w 389"/>
                  <a:gd name="T45" fmla="*/ 234 h 762"/>
                  <a:gd name="T46" fmla="*/ 325 w 389"/>
                  <a:gd name="T47" fmla="*/ 303 h 762"/>
                  <a:gd name="T48" fmla="*/ 325 w 389"/>
                  <a:gd name="T49" fmla="*/ 372 h 762"/>
                  <a:gd name="T50" fmla="*/ 325 w 389"/>
                  <a:gd name="T51" fmla="*/ 442 h 762"/>
                  <a:gd name="T52" fmla="*/ 325 w 389"/>
                  <a:gd name="T53" fmla="*/ 510 h 762"/>
                  <a:gd name="T54" fmla="*/ 325 w 389"/>
                  <a:gd name="T55" fmla="*/ 580 h 762"/>
                  <a:gd name="T56" fmla="*/ 325 w 389"/>
                  <a:gd name="T57" fmla="*/ 649 h 762"/>
                  <a:gd name="T58" fmla="*/ 300 w 389"/>
                  <a:gd name="T59" fmla="*/ 716 h 762"/>
                  <a:gd name="T60" fmla="*/ 389 w 389"/>
                  <a:gd name="T61" fmla="*/ 716 h 762"/>
                  <a:gd name="T62" fmla="*/ 46 w 389"/>
                  <a:gd name="T63" fmla="*/ 70 h 762"/>
                  <a:gd name="T64" fmla="*/ 46 w 389"/>
                  <a:gd name="T65" fmla="*/ 19 h 762"/>
                  <a:gd name="T66" fmla="*/ 46 w 389"/>
                  <a:gd name="T67" fmla="*/ 7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9" h="762">
                    <a:moveTo>
                      <a:pt x="367" y="677"/>
                    </a:moveTo>
                    <a:cubicBezTo>
                      <a:pt x="367" y="674"/>
                      <a:pt x="368" y="672"/>
                      <a:pt x="368" y="670"/>
                    </a:cubicBezTo>
                    <a:cubicBezTo>
                      <a:pt x="368" y="664"/>
                      <a:pt x="368" y="658"/>
                      <a:pt x="368" y="652"/>
                    </a:cubicBezTo>
                    <a:cubicBezTo>
                      <a:pt x="368" y="635"/>
                      <a:pt x="368" y="618"/>
                      <a:pt x="368" y="601"/>
                    </a:cubicBezTo>
                    <a:cubicBezTo>
                      <a:pt x="368" y="595"/>
                      <a:pt x="368" y="589"/>
                      <a:pt x="368" y="583"/>
                    </a:cubicBezTo>
                    <a:cubicBezTo>
                      <a:pt x="368" y="566"/>
                      <a:pt x="368" y="548"/>
                      <a:pt x="368" y="531"/>
                    </a:cubicBezTo>
                    <a:cubicBezTo>
                      <a:pt x="368" y="525"/>
                      <a:pt x="368" y="519"/>
                      <a:pt x="368" y="513"/>
                    </a:cubicBezTo>
                    <a:cubicBezTo>
                      <a:pt x="368" y="496"/>
                      <a:pt x="368" y="479"/>
                      <a:pt x="368" y="462"/>
                    </a:cubicBezTo>
                    <a:cubicBezTo>
                      <a:pt x="368" y="456"/>
                      <a:pt x="368" y="451"/>
                      <a:pt x="368" y="445"/>
                    </a:cubicBezTo>
                    <a:cubicBezTo>
                      <a:pt x="368" y="428"/>
                      <a:pt x="368" y="411"/>
                      <a:pt x="368" y="393"/>
                    </a:cubicBezTo>
                    <a:cubicBezTo>
                      <a:pt x="368" y="387"/>
                      <a:pt x="368" y="381"/>
                      <a:pt x="368" y="376"/>
                    </a:cubicBezTo>
                    <a:cubicBezTo>
                      <a:pt x="368" y="358"/>
                      <a:pt x="368" y="341"/>
                      <a:pt x="368" y="324"/>
                    </a:cubicBezTo>
                    <a:cubicBezTo>
                      <a:pt x="368" y="318"/>
                      <a:pt x="368" y="312"/>
                      <a:pt x="368" y="306"/>
                    </a:cubicBezTo>
                    <a:cubicBezTo>
                      <a:pt x="368" y="289"/>
                      <a:pt x="368" y="272"/>
                      <a:pt x="368" y="254"/>
                    </a:cubicBezTo>
                    <a:cubicBezTo>
                      <a:pt x="368" y="249"/>
                      <a:pt x="368" y="243"/>
                      <a:pt x="368" y="237"/>
                    </a:cubicBezTo>
                    <a:cubicBezTo>
                      <a:pt x="368" y="220"/>
                      <a:pt x="368" y="203"/>
                      <a:pt x="368" y="186"/>
                    </a:cubicBezTo>
                    <a:cubicBezTo>
                      <a:pt x="368" y="180"/>
                      <a:pt x="368" y="174"/>
                      <a:pt x="368" y="168"/>
                    </a:cubicBezTo>
                    <a:cubicBezTo>
                      <a:pt x="366" y="155"/>
                      <a:pt x="359" y="144"/>
                      <a:pt x="351" y="134"/>
                    </a:cubicBezTo>
                    <a:cubicBezTo>
                      <a:pt x="348" y="133"/>
                      <a:pt x="346" y="131"/>
                      <a:pt x="345" y="128"/>
                    </a:cubicBezTo>
                    <a:cubicBezTo>
                      <a:pt x="335" y="120"/>
                      <a:pt x="325" y="110"/>
                      <a:pt x="317" y="100"/>
                    </a:cubicBezTo>
                    <a:cubicBezTo>
                      <a:pt x="315" y="97"/>
                      <a:pt x="313" y="95"/>
                      <a:pt x="311" y="93"/>
                    </a:cubicBezTo>
                    <a:cubicBezTo>
                      <a:pt x="300" y="85"/>
                      <a:pt x="291" y="75"/>
                      <a:pt x="282" y="65"/>
                    </a:cubicBezTo>
                    <a:cubicBezTo>
                      <a:pt x="280" y="63"/>
                      <a:pt x="278" y="60"/>
                      <a:pt x="277" y="59"/>
                    </a:cubicBezTo>
                    <a:cubicBezTo>
                      <a:pt x="267" y="49"/>
                      <a:pt x="257" y="40"/>
                      <a:pt x="248" y="31"/>
                    </a:cubicBezTo>
                    <a:cubicBezTo>
                      <a:pt x="244" y="29"/>
                      <a:pt x="240" y="26"/>
                      <a:pt x="237" y="24"/>
                    </a:cubicBezTo>
                    <a:cubicBezTo>
                      <a:pt x="223" y="21"/>
                      <a:pt x="208" y="20"/>
                      <a:pt x="194" y="20"/>
                    </a:cubicBezTo>
                    <a:cubicBezTo>
                      <a:pt x="188" y="20"/>
                      <a:pt x="183" y="20"/>
                      <a:pt x="177" y="19"/>
                    </a:cubicBezTo>
                    <a:cubicBezTo>
                      <a:pt x="159" y="20"/>
                      <a:pt x="142" y="20"/>
                      <a:pt x="125" y="20"/>
                    </a:cubicBezTo>
                    <a:cubicBezTo>
                      <a:pt x="119" y="20"/>
                      <a:pt x="113" y="20"/>
                      <a:pt x="107" y="19"/>
                    </a:cubicBezTo>
                    <a:cubicBezTo>
                      <a:pt x="100" y="19"/>
                      <a:pt x="92" y="20"/>
                      <a:pt x="84" y="20"/>
                    </a:cubicBezTo>
                    <a:cubicBezTo>
                      <a:pt x="76" y="8"/>
                      <a:pt x="62" y="0"/>
                      <a:pt x="46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6" y="89"/>
                    </a:cubicBezTo>
                    <a:cubicBezTo>
                      <a:pt x="64" y="89"/>
                      <a:pt x="80" y="79"/>
                      <a:pt x="87" y="64"/>
                    </a:cubicBezTo>
                    <a:cubicBezTo>
                      <a:pt x="101" y="64"/>
                      <a:pt x="115" y="64"/>
                      <a:pt x="129" y="64"/>
                    </a:cubicBezTo>
                    <a:cubicBezTo>
                      <a:pt x="134" y="64"/>
                      <a:pt x="140" y="64"/>
                      <a:pt x="146" y="64"/>
                    </a:cubicBezTo>
                    <a:cubicBezTo>
                      <a:pt x="163" y="64"/>
                      <a:pt x="180" y="64"/>
                      <a:pt x="197" y="64"/>
                    </a:cubicBezTo>
                    <a:cubicBezTo>
                      <a:pt x="203" y="64"/>
                      <a:pt x="209" y="64"/>
                      <a:pt x="214" y="64"/>
                    </a:cubicBezTo>
                    <a:cubicBezTo>
                      <a:pt x="228" y="67"/>
                      <a:pt x="234" y="79"/>
                      <a:pt x="242" y="88"/>
                    </a:cubicBezTo>
                    <a:cubicBezTo>
                      <a:pt x="246" y="92"/>
                      <a:pt x="250" y="95"/>
                      <a:pt x="254" y="98"/>
                    </a:cubicBezTo>
                    <a:cubicBezTo>
                      <a:pt x="261" y="106"/>
                      <a:pt x="269" y="114"/>
                      <a:pt x="277" y="123"/>
                    </a:cubicBezTo>
                    <a:cubicBezTo>
                      <a:pt x="281" y="126"/>
                      <a:pt x="284" y="129"/>
                      <a:pt x="288" y="133"/>
                    </a:cubicBezTo>
                    <a:cubicBezTo>
                      <a:pt x="296" y="141"/>
                      <a:pt x="304" y="149"/>
                      <a:pt x="312" y="157"/>
                    </a:cubicBezTo>
                    <a:cubicBezTo>
                      <a:pt x="315" y="160"/>
                      <a:pt x="319" y="164"/>
                      <a:pt x="322" y="168"/>
                    </a:cubicBezTo>
                    <a:cubicBezTo>
                      <a:pt x="328" y="184"/>
                      <a:pt x="324" y="200"/>
                      <a:pt x="325" y="217"/>
                    </a:cubicBezTo>
                    <a:cubicBezTo>
                      <a:pt x="325" y="223"/>
                      <a:pt x="325" y="228"/>
                      <a:pt x="325" y="234"/>
                    </a:cubicBezTo>
                    <a:cubicBezTo>
                      <a:pt x="325" y="251"/>
                      <a:pt x="325" y="268"/>
                      <a:pt x="325" y="285"/>
                    </a:cubicBezTo>
                    <a:cubicBezTo>
                      <a:pt x="325" y="291"/>
                      <a:pt x="325" y="297"/>
                      <a:pt x="325" y="303"/>
                    </a:cubicBezTo>
                    <a:cubicBezTo>
                      <a:pt x="325" y="320"/>
                      <a:pt x="325" y="337"/>
                      <a:pt x="325" y="355"/>
                    </a:cubicBezTo>
                    <a:cubicBezTo>
                      <a:pt x="325" y="361"/>
                      <a:pt x="325" y="366"/>
                      <a:pt x="325" y="372"/>
                    </a:cubicBezTo>
                    <a:cubicBezTo>
                      <a:pt x="325" y="390"/>
                      <a:pt x="325" y="407"/>
                      <a:pt x="325" y="424"/>
                    </a:cubicBezTo>
                    <a:cubicBezTo>
                      <a:pt x="325" y="430"/>
                      <a:pt x="325" y="436"/>
                      <a:pt x="325" y="442"/>
                    </a:cubicBezTo>
                    <a:cubicBezTo>
                      <a:pt x="325" y="459"/>
                      <a:pt x="325" y="476"/>
                      <a:pt x="325" y="493"/>
                    </a:cubicBezTo>
                    <a:cubicBezTo>
                      <a:pt x="325" y="499"/>
                      <a:pt x="325" y="505"/>
                      <a:pt x="325" y="510"/>
                    </a:cubicBezTo>
                    <a:cubicBezTo>
                      <a:pt x="325" y="527"/>
                      <a:pt x="325" y="545"/>
                      <a:pt x="325" y="562"/>
                    </a:cubicBezTo>
                    <a:cubicBezTo>
                      <a:pt x="325" y="568"/>
                      <a:pt x="325" y="574"/>
                      <a:pt x="325" y="580"/>
                    </a:cubicBezTo>
                    <a:cubicBezTo>
                      <a:pt x="325" y="597"/>
                      <a:pt x="325" y="614"/>
                      <a:pt x="325" y="631"/>
                    </a:cubicBezTo>
                    <a:cubicBezTo>
                      <a:pt x="325" y="637"/>
                      <a:pt x="325" y="643"/>
                      <a:pt x="325" y="649"/>
                    </a:cubicBezTo>
                    <a:cubicBezTo>
                      <a:pt x="325" y="657"/>
                      <a:pt x="325" y="666"/>
                      <a:pt x="325" y="675"/>
                    </a:cubicBezTo>
                    <a:cubicBezTo>
                      <a:pt x="310" y="682"/>
                      <a:pt x="300" y="698"/>
                      <a:pt x="300" y="716"/>
                    </a:cubicBezTo>
                    <a:cubicBezTo>
                      <a:pt x="300" y="742"/>
                      <a:pt x="320" y="762"/>
                      <a:pt x="345" y="762"/>
                    </a:cubicBezTo>
                    <a:cubicBezTo>
                      <a:pt x="369" y="762"/>
                      <a:pt x="389" y="742"/>
                      <a:pt x="389" y="716"/>
                    </a:cubicBezTo>
                    <a:cubicBezTo>
                      <a:pt x="389" y="699"/>
                      <a:pt x="380" y="685"/>
                      <a:pt x="367" y="677"/>
                    </a:cubicBezTo>
                    <a:close/>
                    <a:moveTo>
                      <a:pt x="46" y="70"/>
                    </a:moveTo>
                    <a:cubicBezTo>
                      <a:pt x="31" y="70"/>
                      <a:pt x="19" y="58"/>
                      <a:pt x="19" y="44"/>
                    </a:cubicBezTo>
                    <a:cubicBezTo>
                      <a:pt x="19" y="30"/>
                      <a:pt x="31" y="19"/>
                      <a:pt x="46" y="19"/>
                    </a:cubicBezTo>
                    <a:cubicBezTo>
                      <a:pt x="60" y="19"/>
                      <a:pt x="72" y="30"/>
                      <a:pt x="72" y="44"/>
                    </a:cubicBezTo>
                    <a:cubicBezTo>
                      <a:pt x="72" y="58"/>
                      <a:pt x="60" y="70"/>
                      <a:pt x="46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5" name="Freeform 9"/>
              <p:cNvSpPr>
                <a:spLocks noEditPoints="1"/>
              </p:cNvSpPr>
              <p:nvPr/>
            </p:nvSpPr>
            <p:spPr bwMode="gray">
              <a:xfrm>
                <a:off x="4734" y="1147"/>
                <a:ext cx="923" cy="734"/>
              </a:xfrm>
              <a:custGeom>
                <a:avLst/>
                <a:gdLst>
                  <a:gd name="T0" fmla="*/ 282 w 390"/>
                  <a:gd name="T1" fmla="*/ 90 h 310"/>
                  <a:gd name="T2" fmla="*/ 292 w 390"/>
                  <a:gd name="T3" fmla="*/ 89 h 310"/>
                  <a:gd name="T4" fmla="*/ 307 w 390"/>
                  <a:gd name="T5" fmla="*/ 104 h 310"/>
                  <a:gd name="T6" fmla="*/ 320 w 390"/>
                  <a:gd name="T7" fmla="*/ 118 h 310"/>
                  <a:gd name="T8" fmla="*/ 341 w 390"/>
                  <a:gd name="T9" fmla="*/ 139 h 310"/>
                  <a:gd name="T10" fmla="*/ 347 w 390"/>
                  <a:gd name="T11" fmla="*/ 160 h 310"/>
                  <a:gd name="T12" fmla="*/ 346 w 390"/>
                  <a:gd name="T13" fmla="*/ 211 h 310"/>
                  <a:gd name="T14" fmla="*/ 314 w 390"/>
                  <a:gd name="T15" fmla="*/ 242 h 310"/>
                  <a:gd name="T16" fmla="*/ 262 w 390"/>
                  <a:gd name="T17" fmla="*/ 242 h 310"/>
                  <a:gd name="T18" fmla="*/ 194 w 390"/>
                  <a:gd name="T19" fmla="*/ 242 h 310"/>
                  <a:gd name="T20" fmla="*/ 176 w 390"/>
                  <a:gd name="T21" fmla="*/ 242 h 310"/>
                  <a:gd name="T22" fmla="*/ 124 w 390"/>
                  <a:gd name="T23" fmla="*/ 242 h 310"/>
                  <a:gd name="T24" fmla="*/ 107 w 390"/>
                  <a:gd name="T25" fmla="*/ 242 h 310"/>
                  <a:gd name="T26" fmla="*/ 83 w 390"/>
                  <a:gd name="T27" fmla="*/ 242 h 310"/>
                  <a:gd name="T28" fmla="*/ 45 w 390"/>
                  <a:gd name="T29" fmla="*/ 220 h 310"/>
                  <a:gd name="T30" fmla="*/ 0 w 390"/>
                  <a:gd name="T31" fmla="*/ 265 h 310"/>
                  <a:gd name="T32" fmla="*/ 45 w 390"/>
                  <a:gd name="T33" fmla="*/ 310 h 310"/>
                  <a:gd name="T34" fmla="*/ 86 w 390"/>
                  <a:gd name="T35" fmla="*/ 283 h 310"/>
                  <a:gd name="T36" fmla="*/ 127 w 390"/>
                  <a:gd name="T37" fmla="*/ 285 h 310"/>
                  <a:gd name="T38" fmla="*/ 145 w 390"/>
                  <a:gd name="T39" fmla="*/ 286 h 310"/>
                  <a:gd name="T40" fmla="*/ 197 w 390"/>
                  <a:gd name="T41" fmla="*/ 285 h 310"/>
                  <a:gd name="T42" fmla="*/ 214 w 390"/>
                  <a:gd name="T43" fmla="*/ 286 h 310"/>
                  <a:gd name="T44" fmla="*/ 265 w 390"/>
                  <a:gd name="T45" fmla="*/ 285 h 310"/>
                  <a:gd name="T46" fmla="*/ 283 w 390"/>
                  <a:gd name="T47" fmla="*/ 286 h 310"/>
                  <a:gd name="T48" fmla="*/ 334 w 390"/>
                  <a:gd name="T49" fmla="*/ 285 h 310"/>
                  <a:gd name="T50" fmla="*/ 355 w 390"/>
                  <a:gd name="T51" fmla="*/ 282 h 310"/>
                  <a:gd name="T52" fmla="*/ 386 w 390"/>
                  <a:gd name="T53" fmla="*/ 252 h 310"/>
                  <a:gd name="T54" fmla="*/ 390 w 390"/>
                  <a:gd name="T55" fmla="*/ 231 h 310"/>
                  <a:gd name="T56" fmla="*/ 390 w 390"/>
                  <a:gd name="T57" fmla="*/ 180 h 310"/>
                  <a:gd name="T58" fmla="*/ 390 w 390"/>
                  <a:gd name="T59" fmla="*/ 163 h 310"/>
                  <a:gd name="T60" fmla="*/ 382 w 390"/>
                  <a:gd name="T61" fmla="*/ 121 h 310"/>
                  <a:gd name="T62" fmla="*/ 376 w 390"/>
                  <a:gd name="T63" fmla="*/ 112 h 310"/>
                  <a:gd name="T64" fmla="*/ 348 w 390"/>
                  <a:gd name="T65" fmla="*/ 84 h 310"/>
                  <a:gd name="T66" fmla="*/ 341 w 390"/>
                  <a:gd name="T67" fmla="*/ 77 h 310"/>
                  <a:gd name="T68" fmla="*/ 324 w 390"/>
                  <a:gd name="T69" fmla="*/ 62 h 310"/>
                  <a:gd name="T70" fmla="*/ 327 w 390"/>
                  <a:gd name="T71" fmla="*/ 45 h 310"/>
                  <a:gd name="T72" fmla="*/ 282 w 390"/>
                  <a:gd name="T73" fmla="*/ 0 h 310"/>
                  <a:gd name="T74" fmla="*/ 237 w 390"/>
                  <a:gd name="T75" fmla="*/ 45 h 310"/>
                  <a:gd name="T76" fmla="*/ 282 w 390"/>
                  <a:gd name="T77" fmla="*/ 90 h 310"/>
                  <a:gd name="T78" fmla="*/ 282 w 390"/>
                  <a:gd name="T79" fmla="*/ 19 h 310"/>
                  <a:gd name="T80" fmla="*/ 307 w 390"/>
                  <a:gd name="T81" fmla="*/ 45 h 310"/>
                  <a:gd name="T82" fmla="*/ 282 w 390"/>
                  <a:gd name="T83" fmla="*/ 70 h 310"/>
                  <a:gd name="T84" fmla="*/ 257 w 390"/>
                  <a:gd name="T85" fmla="*/ 45 h 310"/>
                  <a:gd name="T86" fmla="*/ 282 w 390"/>
                  <a:gd name="T87" fmla="*/ 1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0" h="310">
                    <a:moveTo>
                      <a:pt x="282" y="90"/>
                    </a:moveTo>
                    <a:cubicBezTo>
                      <a:pt x="285" y="90"/>
                      <a:pt x="288" y="89"/>
                      <a:pt x="292" y="89"/>
                    </a:cubicBezTo>
                    <a:cubicBezTo>
                      <a:pt x="297" y="93"/>
                      <a:pt x="302" y="98"/>
                      <a:pt x="307" y="104"/>
                    </a:cubicBezTo>
                    <a:cubicBezTo>
                      <a:pt x="312" y="108"/>
                      <a:pt x="317" y="113"/>
                      <a:pt x="320" y="118"/>
                    </a:cubicBezTo>
                    <a:cubicBezTo>
                      <a:pt x="327" y="125"/>
                      <a:pt x="334" y="132"/>
                      <a:pt x="341" y="139"/>
                    </a:cubicBezTo>
                    <a:cubicBezTo>
                      <a:pt x="348" y="144"/>
                      <a:pt x="348" y="152"/>
                      <a:pt x="347" y="160"/>
                    </a:cubicBezTo>
                    <a:cubicBezTo>
                      <a:pt x="348" y="177"/>
                      <a:pt x="348" y="194"/>
                      <a:pt x="346" y="211"/>
                    </a:cubicBezTo>
                    <a:cubicBezTo>
                      <a:pt x="350" y="240"/>
                      <a:pt x="346" y="244"/>
                      <a:pt x="314" y="242"/>
                    </a:cubicBezTo>
                    <a:cubicBezTo>
                      <a:pt x="297" y="242"/>
                      <a:pt x="279" y="242"/>
                      <a:pt x="262" y="242"/>
                    </a:cubicBezTo>
                    <a:cubicBezTo>
                      <a:pt x="239" y="242"/>
                      <a:pt x="216" y="242"/>
                      <a:pt x="194" y="242"/>
                    </a:cubicBezTo>
                    <a:cubicBezTo>
                      <a:pt x="188" y="242"/>
                      <a:pt x="182" y="242"/>
                      <a:pt x="176" y="242"/>
                    </a:cubicBezTo>
                    <a:cubicBezTo>
                      <a:pt x="159" y="242"/>
                      <a:pt x="142" y="242"/>
                      <a:pt x="124" y="242"/>
                    </a:cubicBezTo>
                    <a:cubicBezTo>
                      <a:pt x="118" y="242"/>
                      <a:pt x="113" y="242"/>
                      <a:pt x="107" y="242"/>
                    </a:cubicBezTo>
                    <a:cubicBezTo>
                      <a:pt x="99" y="242"/>
                      <a:pt x="91" y="242"/>
                      <a:pt x="83" y="242"/>
                    </a:cubicBezTo>
                    <a:cubicBezTo>
                      <a:pt x="75" y="229"/>
                      <a:pt x="61" y="220"/>
                      <a:pt x="45" y="220"/>
                    </a:cubicBezTo>
                    <a:cubicBezTo>
                      <a:pt x="20" y="220"/>
                      <a:pt x="0" y="240"/>
                      <a:pt x="0" y="265"/>
                    </a:cubicBezTo>
                    <a:cubicBezTo>
                      <a:pt x="0" y="290"/>
                      <a:pt x="20" y="310"/>
                      <a:pt x="45" y="310"/>
                    </a:cubicBezTo>
                    <a:cubicBezTo>
                      <a:pt x="63" y="310"/>
                      <a:pt x="79" y="299"/>
                      <a:pt x="86" y="283"/>
                    </a:cubicBezTo>
                    <a:cubicBezTo>
                      <a:pt x="100" y="284"/>
                      <a:pt x="114" y="284"/>
                      <a:pt x="127" y="285"/>
                    </a:cubicBezTo>
                    <a:cubicBezTo>
                      <a:pt x="133" y="284"/>
                      <a:pt x="139" y="284"/>
                      <a:pt x="145" y="286"/>
                    </a:cubicBezTo>
                    <a:cubicBezTo>
                      <a:pt x="163" y="283"/>
                      <a:pt x="180" y="284"/>
                      <a:pt x="197" y="285"/>
                    </a:cubicBezTo>
                    <a:cubicBezTo>
                      <a:pt x="202" y="284"/>
                      <a:pt x="208" y="284"/>
                      <a:pt x="214" y="286"/>
                    </a:cubicBezTo>
                    <a:cubicBezTo>
                      <a:pt x="231" y="283"/>
                      <a:pt x="248" y="284"/>
                      <a:pt x="265" y="285"/>
                    </a:cubicBezTo>
                    <a:cubicBezTo>
                      <a:pt x="271" y="284"/>
                      <a:pt x="277" y="284"/>
                      <a:pt x="283" y="286"/>
                    </a:cubicBezTo>
                    <a:cubicBezTo>
                      <a:pt x="300" y="283"/>
                      <a:pt x="318" y="284"/>
                      <a:pt x="334" y="285"/>
                    </a:cubicBezTo>
                    <a:cubicBezTo>
                      <a:pt x="341" y="284"/>
                      <a:pt x="348" y="283"/>
                      <a:pt x="355" y="282"/>
                    </a:cubicBezTo>
                    <a:cubicBezTo>
                      <a:pt x="368" y="275"/>
                      <a:pt x="378" y="265"/>
                      <a:pt x="386" y="252"/>
                    </a:cubicBezTo>
                    <a:cubicBezTo>
                      <a:pt x="388" y="245"/>
                      <a:pt x="388" y="239"/>
                      <a:pt x="390" y="231"/>
                    </a:cubicBezTo>
                    <a:cubicBezTo>
                      <a:pt x="390" y="214"/>
                      <a:pt x="390" y="197"/>
                      <a:pt x="390" y="180"/>
                    </a:cubicBezTo>
                    <a:cubicBezTo>
                      <a:pt x="390" y="174"/>
                      <a:pt x="390" y="169"/>
                      <a:pt x="390" y="163"/>
                    </a:cubicBezTo>
                    <a:cubicBezTo>
                      <a:pt x="390" y="149"/>
                      <a:pt x="389" y="135"/>
                      <a:pt x="382" y="121"/>
                    </a:cubicBezTo>
                    <a:cubicBezTo>
                      <a:pt x="380" y="118"/>
                      <a:pt x="378" y="115"/>
                      <a:pt x="376" y="112"/>
                    </a:cubicBezTo>
                    <a:cubicBezTo>
                      <a:pt x="365" y="104"/>
                      <a:pt x="356" y="94"/>
                      <a:pt x="348" y="84"/>
                    </a:cubicBezTo>
                    <a:cubicBezTo>
                      <a:pt x="346" y="82"/>
                      <a:pt x="343" y="79"/>
                      <a:pt x="341" y="77"/>
                    </a:cubicBezTo>
                    <a:cubicBezTo>
                      <a:pt x="335" y="72"/>
                      <a:pt x="329" y="67"/>
                      <a:pt x="324" y="62"/>
                    </a:cubicBezTo>
                    <a:cubicBezTo>
                      <a:pt x="326" y="56"/>
                      <a:pt x="327" y="51"/>
                      <a:pt x="327" y="45"/>
                    </a:cubicBezTo>
                    <a:cubicBezTo>
                      <a:pt x="327" y="20"/>
                      <a:pt x="307" y="0"/>
                      <a:pt x="282" y="0"/>
                    </a:cubicBezTo>
                    <a:cubicBezTo>
                      <a:pt x="257" y="0"/>
                      <a:pt x="237" y="20"/>
                      <a:pt x="237" y="45"/>
                    </a:cubicBezTo>
                    <a:cubicBezTo>
                      <a:pt x="237" y="70"/>
                      <a:pt x="257" y="90"/>
                      <a:pt x="282" y="90"/>
                    </a:cubicBezTo>
                    <a:close/>
                    <a:moveTo>
                      <a:pt x="282" y="19"/>
                    </a:moveTo>
                    <a:cubicBezTo>
                      <a:pt x="296" y="19"/>
                      <a:pt x="307" y="31"/>
                      <a:pt x="307" y="45"/>
                    </a:cubicBezTo>
                    <a:cubicBezTo>
                      <a:pt x="307" y="59"/>
                      <a:pt x="296" y="70"/>
                      <a:pt x="282" y="70"/>
                    </a:cubicBezTo>
                    <a:cubicBezTo>
                      <a:pt x="268" y="70"/>
                      <a:pt x="257" y="59"/>
                      <a:pt x="257" y="45"/>
                    </a:cubicBezTo>
                    <a:cubicBezTo>
                      <a:pt x="257" y="31"/>
                      <a:pt x="268" y="19"/>
                      <a:pt x="28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6" name="Freeform 10"/>
              <p:cNvSpPr>
                <a:spLocks noEditPoints="1"/>
              </p:cNvSpPr>
              <p:nvPr/>
            </p:nvSpPr>
            <p:spPr bwMode="gray">
              <a:xfrm>
                <a:off x="2368" y="293"/>
                <a:ext cx="700" cy="527"/>
              </a:xfrm>
              <a:custGeom>
                <a:avLst/>
                <a:gdLst>
                  <a:gd name="T0" fmla="*/ 45 w 296"/>
                  <a:gd name="T1" fmla="*/ 223 h 223"/>
                  <a:gd name="T2" fmla="*/ 90 w 296"/>
                  <a:gd name="T3" fmla="*/ 178 h 223"/>
                  <a:gd name="T4" fmla="*/ 88 w 296"/>
                  <a:gd name="T5" fmla="*/ 166 h 223"/>
                  <a:gd name="T6" fmla="*/ 94 w 296"/>
                  <a:gd name="T7" fmla="*/ 160 h 223"/>
                  <a:gd name="T8" fmla="*/ 127 w 296"/>
                  <a:gd name="T9" fmla="*/ 149 h 223"/>
                  <a:gd name="T10" fmla="*/ 179 w 296"/>
                  <a:gd name="T11" fmla="*/ 142 h 223"/>
                  <a:gd name="T12" fmla="*/ 239 w 296"/>
                  <a:gd name="T13" fmla="*/ 86 h 223"/>
                  <a:gd name="T14" fmla="*/ 251 w 296"/>
                  <a:gd name="T15" fmla="*/ 88 h 223"/>
                  <a:gd name="T16" fmla="*/ 296 w 296"/>
                  <a:gd name="T17" fmla="*/ 44 h 223"/>
                  <a:gd name="T18" fmla="*/ 251 w 296"/>
                  <a:gd name="T19" fmla="*/ 0 h 223"/>
                  <a:gd name="T20" fmla="*/ 206 w 296"/>
                  <a:gd name="T21" fmla="*/ 44 h 223"/>
                  <a:gd name="T22" fmla="*/ 208 w 296"/>
                  <a:gd name="T23" fmla="*/ 57 h 223"/>
                  <a:gd name="T24" fmla="*/ 191 w 296"/>
                  <a:gd name="T25" fmla="*/ 74 h 223"/>
                  <a:gd name="T26" fmla="*/ 106 w 296"/>
                  <a:gd name="T27" fmla="*/ 106 h 223"/>
                  <a:gd name="T28" fmla="*/ 82 w 296"/>
                  <a:gd name="T29" fmla="*/ 114 h 223"/>
                  <a:gd name="T30" fmla="*/ 78 w 296"/>
                  <a:gd name="T31" fmla="*/ 117 h 223"/>
                  <a:gd name="T32" fmla="*/ 72 w 296"/>
                  <a:gd name="T33" fmla="*/ 121 h 223"/>
                  <a:gd name="T34" fmla="*/ 68 w 296"/>
                  <a:gd name="T35" fmla="*/ 125 h 223"/>
                  <a:gd name="T36" fmla="*/ 65 w 296"/>
                  <a:gd name="T37" fmla="*/ 128 h 223"/>
                  <a:gd name="T38" fmla="*/ 65 w 296"/>
                  <a:gd name="T39" fmla="*/ 127 h 223"/>
                  <a:gd name="T40" fmla="*/ 62 w 296"/>
                  <a:gd name="T41" fmla="*/ 131 h 223"/>
                  <a:gd name="T42" fmla="*/ 58 w 296"/>
                  <a:gd name="T43" fmla="*/ 135 h 223"/>
                  <a:gd name="T44" fmla="*/ 57 w 296"/>
                  <a:gd name="T45" fmla="*/ 135 h 223"/>
                  <a:gd name="T46" fmla="*/ 45 w 296"/>
                  <a:gd name="T47" fmla="*/ 134 h 223"/>
                  <a:gd name="T48" fmla="*/ 0 w 296"/>
                  <a:gd name="T49" fmla="*/ 178 h 223"/>
                  <a:gd name="T50" fmla="*/ 45 w 296"/>
                  <a:gd name="T51" fmla="*/ 223 h 223"/>
                  <a:gd name="T52" fmla="*/ 251 w 296"/>
                  <a:gd name="T53" fmla="*/ 20 h 223"/>
                  <a:gd name="T54" fmla="*/ 276 w 296"/>
                  <a:gd name="T55" fmla="*/ 44 h 223"/>
                  <a:gd name="T56" fmla="*/ 251 w 296"/>
                  <a:gd name="T57" fmla="*/ 68 h 223"/>
                  <a:gd name="T58" fmla="*/ 225 w 296"/>
                  <a:gd name="T59" fmla="*/ 44 h 223"/>
                  <a:gd name="T60" fmla="*/ 251 w 296"/>
                  <a:gd name="T61" fmla="*/ 20 h 223"/>
                  <a:gd name="T62" fmla="*/ 45 w 296"/>
                  <a:gd name="T63" fmla="*/ 153 h 223"/>
                  <a:gd name="T64" fmla="*/ 70 w 296"/>
                  <a:gd name="T65" fmla="*/ 178 h 223"/>
                  <a:gd name="T66" fmla="*/ 45 w 296"/>
                  <a:gd name="T67" fmla="*/ 204 h 223"/>
                  <a:gd name="T68" fmla="*/ 20 w 296"/>
                  <a:gd name="T69" fmla="*/ 178 h 223"/>
                  <a:gd name="T70" fmla="*/ 45 w 296"/>
                  <a:gd name="T71" fmla="*/ 1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6" h="223">
                    <a:moveTo>
                      <a:pt x="45" y="223"/>
                    </a:moveTo>
                    <a:cubicBezTo>
                      <a:pt x="70" y="223"/>
                      <a:pt x="90" y="203"/>
                      <a:pt x="90" y="178"/>
                    </a:cubicBezTo>
                    <a:cubicBezTo>
                      <a:pt x="90" y="174"/>
                      <a:pt x="89" y="170"/>
                      <a:pt x="88" y="166"/>
                    </a:cubicBezTo>
                    <a:cubicBezTo>
                      <a:pt x="90" y="164"/>
                      <a:pt x="92" y="162"/>
                      <a:pt x="94" y="160"/>
                    </a:cubicBezTo>
                    <a:cubicBezTo>
                      <a:pt x="103" y="149"/>
                      <a:pt x="114" y="145"/>
                      <a:pt x="127" y="149"/>
                    </a:cubicBezTo>
                    <a:cubicBezTo>
                      <a:pt x="144" y="146"/>
                      <a:pt x="162" y="150"/>
                      <a:pt x="179" y="142"/>
                    </a:cubicBezTo>
                    <a:cubicBezTo>
                      <a:pt x="201" y="126"/>
                      <a:pt x="219" y="106"/>
                      <a:pt x="239" y="86"/>
                    </a:cubicBezTo>
                    <a:cubicBezTo>
                      <a:pt x="243" y="87"/>
                      <a:pt x="247" y="88"/>
                      <a:pt x="251" y="88"/>
                    </a:cubicBezTo>
                    <a:cubicBezTo>
                      <a:pt x="275" y="88"/>
                      <a:pt x="296" y="68"/>
                      <a:pt x="296" y="44"/>
                    </a:cubicBezTo>
                    <a:cubicBezTo>
                      <a:pt x="296" y="20"/>
                      <a:pt x="275" y="0"/>
                      <a:pt x="251" y="0"/>
                    </a:cubicBezTo>
                    <a:cubicBezTo>
                      <a:pt x="226" y="0"/>
                      <a:pt x="206" y="20"/>
                      <a:pt x="206" y="44"/>
                    </a:cubicBezTo>
                    <a:cubicBezTo>
                      <a:pt x="206" y="49"/>
                      <a:pt x="207" y="53"/>
                      <a:pt x="208" y="57"/>
                    </a:cubicBezTo>
                    <a:cubicBezTo>
                      <a:pt x="202" y="63"/>
                      <a:pt x="195" y="68"/>
                      <a:pt x="191" y="74"/>
                    </a:cubicBezTo>
                    <a:cubicBezTo>
                      <a:pt x="169" y="104"/>
                      <a:pt x="141" y="112"/>
                      <a:pt x="106" y="106"/>
                    </a:cubicBezTo>
                    <a:cubicBezTo>
                      <a:pt x="98" y="109"/>
                      <a:pt x="90" y="112"/>
                      <a:pt x="82" y="114"/>
                    </a:cubicBezTo>
                    <a:cubicBezTo>
                      <a:pt x="80" y="115"/>
                      <a:pt x="79" y="116"/>
                      <a:pt x="78" y="117"/>
                    </a:cubicBezTo>
                    <a:cubicBezTo>
                      <a:pt x="77" y="120"/>
                      <a:pt x="75" y="121"/>
                      <a:pt x="72" y="121"/>
                    </a:cubicBezTo>
                    <a:cubicBezTo>
                      <a:pt x="71" y="122"/>
                      <a:pt x="70" y="123"/>
                      <a:pt x="68" y="125"/>
                    </a:cubicBezTo>
                    <a:cubicBezTo>
                      <a:pt x="68" y="125"/>
                      <a:pt x="66" y="127"/>
                      <a:pt x="65" y="128"/>
                    </a:cubicBezTo>
                    <a:cubicBezTo>
                      <a:pt x="65" y="127"/>
                      <a:pt x="65" y="127"/>
                      <a:pt x="65" y="127"/>
                    </a:cubicBezTo>
                    <a:cubicBezTo>
                      <a:pt x="64" y="129"/>
                      <a:pt x="63" y="130"/>
                      <a:pt x="62" y="131"/>
                    </a:cubicBezTo>
                    <a:cubicBezTo>
                      <a:pt x="61" y="133"/>
                      <a:pt x="59" y="133"/>
                      <a:pt x="58" y="135"/>
                    </a:cubicBezTo>
                    <a:cubicBezTo>
                      <a:pt x="58" y="135"/>
                      <a:pt x="58" y="135"/>
                      <a:pt x="57" y="135"/>
                    </a:cubicBezTo>
                    <a:cubicBezTo>
                      <a:pt x="53" y="134"/>
                      <a:pt x="49" y="134"/>
                      <a:pt x="45" y="134"/>
                    </a:cubicBezTo>
                    <a:cubicBezTo>
                      <a:pt x="20" y="134"/>
                      <a:pt x="0" y="154"/>
                      <a:pt x="0" y="178"/>
                    </a:cubicBezTo>
                    <a:cubicBezTo>
                      <a:pt x="0" y="203"/>
                      <a:pt x="20" y="223"/>
                      <a:pt x="45" y="223"/>
                    </a:cubicBezTo>
                    <a:close/>
                    <a:moveTo>
                      <a:pt x="251" y="20"/>
                    </a:moveTo>
                    <a:cubicBezTo>
                      <a:pt x="265" y="20"/>
                      <a:pt x="276" y="31"/>
                      <a:pt x="276" y="44"/>
                    </a:cubicBezTo>
                    <a:cubicBezTo>
                      <a:pt x="276" y="57"/>
                      <a:pt x="265" y="68"/>
                      <a:pt x="251" y="68"/>
                    </a:cubicBezTo>
                    <a:cubicBezTo>
                      <a:pt x="237" y="68"/>
                      <a:pt x="225" y="57"/>
                      <a:pt x="225" y="44"/>
                    </a:cubicBezTo>
                    <a:cubicBezTo>
                      <a:pt x="225" y="31"/>
                      <a:pt x="237" y="20"/>
                      <a:pt x="251" y="20"/>
                    </a:cubicBezTo>
                    <a:close/>
                    <a:moveTo>
                      <a:pt x="45" y="153"/>
                    </a:moveTo>
                    <a:cubicBezTo>
                      <a:pt x="59" y="153"/>
                      <a:pt x="70" y="164"/>
                      <a:pt x="70" y="178"/>
                    </a:cubicBezTo>
                    <a:cubicBezTo>
                      <a:pt x="70" y="192"/>
                      <a:pt x="59" y="204"/>
                      <a:pt x="45" y="204"/>
                    </a:cubicBezTo>
                    <a:cubicBezTo>
                      <a:pt x="31" y="204"/>
                      <a:pt x="20" y="192"/>
                      <a:pt x="20" y="178"/>
                    </a:cubicBezTo>
                    <a:cubicBezTo>
                      <a:pt x="20" y="164"/>
                      <a:pt x="31" y="153"/>
                      <a:pt x="45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7" name="Freeform 11"/>
              <p:cNvSpPr>
                <a:spLocks noEditPoints="1"/>
              </p:cNvSpPr>
              <p:nvPr/>
            </p:nvSpPr>
            <p:spPr bwMode="gray">
              <a:xfrm>
                <a:off x="4036" y="219"/>
                <a:ext cx="1637" cy="3931"/>
              </a:xfrm>
              <a:custGeom>
                <a:avLst/>
                <a:gdLst>
                  <a:gd name="T0" fmla="*/ 412 w 692"/>
                  <a:gd name="T1" fmla="*/ 899 h 1661"/>
                  <a:gd name="T2" fmla="*/ 154 w 692"/>
                  <a:gd name="T3" fmla="*/ 899 h 1661"/>
                  <a:gd name="T4" fmla="*/ 135 w 692"/>
                  <a:gd name="T5" fmla="*/ 483 h 1661"/>
                  <a:gd name="T6" fmla="*/ 95 w 692"/>
                  <a:gd name="T7" fmla="*/ 404 h 1661"/>
                  <a:gd name="T8" fmla="*/ 51 w 692"/>
                  <a:gd name="T9" fmla="*/ 359 h 1661"/>
                  <a:gd name="T10" fmla="*/ 84 w 692"/>
                  <a:gd name="T11" fmla="*/ 92 h 1661"/>
                  <a:gd name="T12" fmla="*/ 98 w 692"/>
                  <a:gd name="T13" fmla="*/ 0 h 1661"/>
                  <a:gd name="T14" fmla="*/ 42 w 692"/>
                  <a:gd name="T15" fmla="*/ 73 h 1661"/>
                  <a:gd name="T16" fmla="*/ 20 w 692"/>
                  <a:gd name="T17" fmla="*/ 390 h 1661"/>
                  <a:gd name="T18" fmla="*/ 65 w 692"/>
                  <a:gd name="T19" fmla="*/ 434 h 1661"/>
                  <a:gd name="T20" fmla="*/ 92 w 692"/>
                  <a:gd name="T21" fmla="*/ 531 h 1661"/>
                  <a:gd name="T22" fmla="*/ 92 w 692"/>
                  <a:gd name="T23" fmla="*/ 617 h 1661"/>
                  <a:gd name="T24" fmla="*/ 92 w 692"/>
                  <a:gd name="T25" fmla="*/ 738 h 1661"/>
                  <a:gd name="T26" fmla="*/ 92 w 692"/>
                  <a:gd name="T27" fmla="*/ 824 h 1661"/>
                  <a:gd name="T28" fmla="*/ 106 w 692"/>
                  <a:gd name="T29" fmla="*/ 924 h 1661"/>
                  <a:gd name="T30" fmla="*/ 175 w 692"/>
                  <a:gd name="T31" fmla="*/ 942 h 1661"/>
                  <a:gd name="T32" fmla="*/ 298 w 692"/>
                  <a:gd name="T33" fmla="*/ 942 h 1661"/>
                  <a:gd name="T34" fmla="*/ 381 w 692"/>
                  <a:gd name="T35" fmla="*/ 942 h 1661"/>
                  <a:gd name="T36" fmla="*/ 505 w 692"/>
                  <a:gd name="T37" fmla="*/ 942 h 1661"/>
                  <a:gd name="T38" fmla="*/ 515 w 692"/>
                  <a:gd name="T39" fmla="*/ 969 h 1661"/>
                  <a:gd name="T40" fmla="*/ 429 w 692"/>
                  <a:gd name="T41" fmla="*/ 968 h 1661"/>
                  <a:gd name="T42" fmla="*/ 342 w 692"/>
                  <a:gd name="T43" fmla="*/ 968 h 1661"/>
                  <a:gd name="T44" fmla="*/ 222 w 692"/>
                  <a:gd name="T45" fmla="*/ 968 h 1661"/>
                  <a:gd name="T46" fmla="*/ 88 w 692"/>
                  <a:gd name="T47" fmla="*/ 1037 h 1661"/>
                  <a:gd name="T48" fmla="*/ 106 w 692"/>
                  <a:gd name="T49" fmla="*/ 1661 h 1661"/>
                  <a:gd name="T50" fmla="*/ 125 w 692"/>
                  <a:gd name="T51" fmla="*/ 1332 h 1661"/>
                  <a:gd name="T52" fmla="*/ 210 w 692"/>
                  <a:gd name="T53" fmla="*/ 1298 h 1661"/>
                  <a:gd name="T54" fmla="*/ 249 w 692"/>
                  <a:gd name="T55" fmla="*/ 1196 h 1661"/>
                  <a:gd name="T56" fmla="*/ 284 w 692"/>
                  <a:gd name="T57" fmla="*/ 1093 h 1661"/>
                  <a:gd name="T58" fmla="*/ 375 w 692"/>
                  <a:gd name="T59" fmla="*/ 1118 h 1661"/>
                  <a:gd name="T60" fmla="*/ 335 w 692"/>
                  <a:gd name="T61" fmla="*/ 1049 h 1661"/>
                  <a:gd name="T62" fmla="*/ 263 w 692"/>
                  <a:gd name="T63" fmla="*/ 1048 h 1661"/>
                  <a:gd name="T64" fmla="*/ 206 w 692"/>
                  <a:gd name="T65" fmla="*/ 1176 h 1661"/>
                  <a:gd name="T66" fmla="*/ 167 w 692"/>
                  <a:gd name="T67" fmla="*/ 1268 h 1661"/>
                  <a:gd name="T68" fmla="*/ 125 w 692"/>
                  <a:gd name="T69" fmla="*/ 1131 h 1661"/>
                  <a:gd name="T70" fmla="*/ 167 w 692"/>
                  <a:gd name="T71" fmla="*/ 1017 h 1661"/>
                  <a:gd name="T72" fmla="*/ 515 w 692"/>
                  <a:gd name="T73" fmla="*/ 1012 h 1661"/>
                  <a:gd name="T74" fmla="*/ 566 w 692"/>
                  <a:gd name="T75" fmla="*/ 1033 h 1661"/>
                  <a:gd name="T76" fmla="*/ 486 w 692"/>
                  <a:gd name="T77" fmla="*/ 1049 h 1661"/>
                  <a:gd name="T78" fmla="*/ 394 w 692"/>
                  <a:gd name="T79" fmla="*/ 1123 h 1661"/>
                  <a:gd name="T80" fmla="*/ 380 w 692"/>
                  <a:gd name="T81" fmla="*/ 1210 h 1661"/>
                  <a:gd name="T82" fmla="*/ 468 w 692"/>
                  <a:gd name="T83" fmla="*/ 1107 h 1661"/>
                  <a:gd name="T84" fmla="*/ 595 w 692"/>
                  <a:gd name="T85" fmla="*/ 1116 h 1661"/>
                  <a:gd name="T86" fmla="*/ 588 w 692"/>
                  <a:gd name="T87" fmla="*/ 1022 h 1661"/>
                  <a:gd name="T88" fmla="*/ 607 w 692"/>
                  <a:gd name="T89" fmla="*/ 940 h 1661"/>
                  <a:gd name="T90" fmla="*/ 647 w 692"/>
                  <a:gd name="T91" fmla="*/ 874 h 1661"/>
                  <a:gd name="T92" fmla="*/ 98 w 692"/>
                  <a:gd name="T93" fmla="*/ 75 h 1661"/>
                  <a:gd name="T94" fmla="*/ 167 w 692"/>
                  <a:gd name="T95" fmla="*/ 1288 h 1661"/>
                  <a:gd name="T96" fmla="*/ 140 w 692"/>
                  <a:gd name="T97" fmla="*/ 1313 h 1661"/>
                  <a:gd name="T98" fmla="*/ 106 w 692"/>
                  <a:gd name="T99" fmla="*/ 1641 h 1661"/>
                  <a:gd name="T100" fmla="*/ 133 w 692"/>
                  <a:gd name="T101" fmla="*/ 1613 h 1661"/>
                  <a:gd name="T102" fmla="*/ 595 w 692"/>
                  <a:gd name="T103" fmla="*/ 1097 h 1661"/>
                  <a:gd name="T104" fmla="*/ 586 w 692"/>
                  <a:gd name="T105" fmla="*/ 984 h 1661"/>
                  <a:gd name="T106" fmla="*/ 559 w 692"/>
                  <a:gd name="T107" fmla="*/ 954 h 1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2" h="1661">
                    <a:moveTo>
                      <a:pt x="647" y="874"/>
                    </a:moveTo>
                    <a:cubicBezTo>
                      <a:pt x="630" y="874"/>
                      <a:pt x="614" y="885"/>
                      <a:pt x="607" y="900"/>
                    </a:cubicBezTo>
                    <a:cubicBezTo>
                      <a:pt x="594" y="900"/>
                      <a:pt x="418" y="899"/>
                      <a:pt x="412" y="899"/>
                    </a:cubicBezTo>
                    <a:cubicBezTo>
                      <a:pt x="395" y="899"/>
                      <a:pt x="378" y="899"/>
                      <a:pt x="361" y="899"/>
                    </a:cubicBezTo>
                    <a:cubicBezTo>
                      <a:pt x="355" y="899"/>
                      <a:pt x="349" y="899"/>
                      <a:pt x="343" y="899"/>
                    </a:cubicBezTo>
                    <a:cubicBezTo>
                      <a:pt x="326" y="899"/>
                      <a:pt x="171" y="899"/>
                      <a:pt x="154" y="899"/>
                    </a:cubicBezTo>
                    <a:cubicBezTo>
                      <a:pt x="149" y="900"/>
                      <a:pt x="144" y="901"/>
                      <a:pt x="140" y="897"/>
                    </a:cubicBezTo>
                    <a:cubicBezTo>
                      <a:pt x="127" y="880"/>
                      <a:pt x="136" y="862"/>
                      <a:pt x="135" y="845"/>
                    </a:cubicBezTo>
                    <a:cubicBezTo>
                      <a:pt x="133" y="839"/>
                      <a:pt x="133" y="489"/>
                      <a:pt x="135" y="483"/>
                    </a:cubicBezTo>
                    <a:cubicBezTo>
                      <a:pt x="133" y="468"/>
                      <a:pt x="135" y="452"/>
                      <a:pt x="128" y="438"/>
                    </a:cubicBezTo>
                    <a:cubicBezTo>
                      <a:pt x="126" y="436"/>
                      <a:pt x="124" y="434"/>
                      <a:pt x="123" y="432"/>
                    </a:cubicBezTo>
                    <a:cubicBezTo>
                      <a:pt x="113" y="423"/>
                      <a:pt x="104" y="414"/>
                      <a:pt x="95" y="404"/>
                    </a:cubicBezTo>
                    <a:cubicBezTo>
                      <a:pt x="91" y="401"/>
                      <a:pt x="87" y="398"/>
                      <a:pt x="85" y="393"/>
                    </a:cubicBezTo>
                    <a:cubicBezTo>
                      <a:pt x="79" y="387"/>
                      <a:pt x="71" y="380"/>
                      <a:pt x="65" y="373"/>
                    </a:cubicBezTo>
                    <a:cubicBezTo>
                      <a:pt x="59" y="369"/>
                      <a:pt x="54" y="364"/>
                      <a:pt x="51" y="359"/>
                    </a:cubicBezTo>
                    <a:cubicBezTo>
                      <a:pt x="37" y="348"/>
                      <a:pt x="44" y="168"/>
                      <a:pt x="44" y="162"/>
                    </a:cubicBezTo>
                    <a:cubicBezTo>
                      <a:pt x="39" y="143"/>
                      <a:pt x="45" y="126"/>
                      <a:pt x="62" y="113"/>
                    </a:cubicBezTo>
                    <a:cubicBezTo>
                      <a:pt x="70" y="107"/>
                      <a:pt x="77" y="99"/>
                      <a:pt x="84" y="92"/>
                    </a:cubicBezTo>
                    <a:cubicBezTo>
                      <a:pt x="88" y="93"/>
                      <a:pt x="93" y="94"/>
                      <a:pt x="98" y="94"/>
                    </a:cubicBezTo>
                    <a:cubicBezTo>
                      <a:pt x="124" y="94"/>
                      <a:pt x="145" y="73"/>
                      <a:pt x="145" y="47"/>
                    </a:cubicBezTo>
                    <a:cubicBezTo>
                      <a:pt x="145" y="21"/>
                      <a:pt x="124" y="0"/>
                      <a:pt x="98" y="0"/>
                    </a:cubicBezTo>
                    <a:cubicBezTo>
                      <a:pt x="72" y="0"/>
                      <a:pt x="51" y="21"/>
                      <a:pt x="51" y="47"/>
                    </a:cubicBezTo>
                    <a:cubicBezTo>
                      <a:pt x="51" y="53"/>
                      <a:pt x="52" y="58"/>
                      <a:pt x="53" y="63"/>
                    </a:cubicBezTo>
                    <a:cubicBezTo>
                      <a:pt x="50" y="66"/>
                      <a:pt x="46" y="70"/>
                      <a:pt x="42" y="73"/>
                    </a:cubicBezTo>
                    <a:cubicBezTo>
                      <a:pt x="23" y="93"/>
                      <a:pt x="0" y="110"/>
                      <a:pt x="0" y="142"/>
                    </a:cubicBezTo>
                    <a:cubicBezTo>
                      <a:pt x="2" y="148"/>
                      <a:pt x="2" y="358"/>
                      <a:pt x="2" y="362"/>
                    </a:cubicBezTo>
                    <a:cubicBezTo>
                      <a:pt x="6" y="373"/>
                      <a:pt x="13" y="381"/>
                      <a:pt x="20" y="390"/>
                    </a:cubicBezTo>
                    <a:cubicBezTo>
                      <a:pt x="25" y="394"/>
                      <a:pt x="29" y="399"/>
                      <a:pt x="34" y="404"/>
                    </a:cubicBezTo>
                    <a:cubicBezTo>
                      <a:pt x="41" y="410"/>
                      <a:pt x="48" y="418"/>
                      <a:pt x="54" y="424"/>
                    </a:cubicBezTo>
                    <a:cubicBezTo>
                      <a:pt x="58" y="428"/>
                      <a:pt x="61" y="431"/>
                      <a:pt x="65" y="434"/>
                    </a:cubicBezTo>
                    <a:cubicBezTo>
                      <a:pt x="74" y="441"/>
                      <a:pt x="81" y="450"/>
                      <a:pt x="89" y="459"/>
                    </a:cubicBezTo>
                    <a:cubicBezTo>
                      <a:pt x="95" y="465"/>
                      <a:pt x="92" y="473"/>
                      <a:pt x="92" y="479"/>
                    </a:cubicBezTo>
                    <a:cubicBezTo>
                      <a:pt x="92" y="497"/>
                      <a:pt x="92" y="514"/>
                      <a:pt x="92" y="531"/>
                    </a:cubicBezTo>
                    <a:cubicBezTo>
                      <a:pt x="92" y="537"/>
                      <a:pt x="92" y="543"/>
                      <a:pt x="92" y="549"/>
                    </a:cubicBezTo>
                    <a:cubicBezTo>
                      <a:pt x="92" y="566"/>
                      <a:pt x="92" y="583"/>
                      <a:pt x="92" y="600"/>
                    </a:cubicBezTo>
                    <a:cubicBezTo>
                      <a:pt x="92" y="606"/>
                      <a:pt x="92" y="611"/>
                      <a:pt x="92" y="617"/>
                    </a:cubicBezTo>
                    <a:cubicBezTo>
                      <a:pt x="92" y="634"/>
                      <a:pt x="92" y="652"/>
                      <a:pt x="92" y="669"/>
                    </a:cubicBezTo>
                    <a:cubicBezTo>
                      <a:pt x="92" y="675"/>
                      <a:pt x="92" y="681"/>
                      <a:pt x="92" y="687"/>
                    </a:cubicBezTo>
                    <a:cubicBezTo>
                      <a:pt x="92" y="704"/>
                      <a:pt x="92" y="720"/>
                      <a:pt x="92" y="738"/>
                    </a:cubicBezTo>
                    <a:cubicBezTo>
                      <a:pt x="92" y="743"/>
                      <a:pt x="92" y="749"/>
                      <a:pt x="92" y="755"/>
                    </a:cubicBezTo>
                    <a:cubicBezTo>
                      <a:pt x="92" y="772"/>
                      <a:pt x="92" y="790"/>
                      <a:pt x="92" y="807"/>
                    </a:cubicBezTo>
                    <a:cubicBezTo>
                      <a:pt x="92" y="813"/>
                      <a:pt x="92" y="819"/>
                      <a:pt x="92" y="824"/>
                    </a:cubicBezTo>
                    <a:cubicBezTo>
                      <a:pt x="92" y="841"/>
                      <a:pt x="92" y="858"/>
                      <a:pt x="92" y="875"/>
                    </a:cubicBezTo>
                    <a:cubicBezTo>
                      <a:pt x="92" y="881"/>
                      <a:pt x="92" y="887"/>
                      <a:pt x="92" y="893"/>
                    </a:cubicBezTo>
                    <a:cubicBezTo>
                      <a:pt x="95" y="904"/>
                      <a:pt x="98" y="914"/>
                      <a:pt x="106" y="924"/>
                    </a:cubicBezTo>
                    <a:cubicBezTo>
                      <a:pt x="109" y="927"/>
                      <a:pt x="112" y="931"/>
                      <a:pt x="116" y="934"/>
                    </a:cubicBezTo>
                    <a:cubicBezTo>
                      <a:pt x="130" y="941"/>
                      <a:pt x="146" y="942"/>
                      <a:pt x="160" y="942"/>
                    </a:cubicBezTo>
                    <a:cubicBezTo>
                      <a:pt x="165" y="942"/>
                      <a:pt x="170" y="942"/>
                      <a:pt x="175" y="942"/>
                    </a:cubicBezTo>
                    <a:cubicBezTo>
                      <a:pt x="193" y="942"/>
                      <a:pt x="211" y="942"/>
                      <a:pt x="230" y="942"/>
                    </a:cubicBezTo>
                    <a:cubicBezTo>
                      <a:pt x="234" y="942"/>
                      <a:pt x="239" y="942"/>
                      <a:pt x="244" y="942"/>
                    </a:cubicBezTo>
                    <a:cubicBezTo>
                      <a:pt x="262" y="942"/>
                      <a:pt x="280" y="942"/>
                      <a:pt x="298" y="942"/>
                    </a:cubicBezTo>
                    <a:cubicBezTo>
                      <a:pt x="303" y="942"/>
                      <a:pt x="308" y="942"/>
                      <a:pt x="312" y="942"/>
                    </a:cubicBezTo>
                    <a:cubicBezTo>
                      <a:pt x="331" y="942"/>
                      <a:pt x="349" y="942"/>
                      <a:pt x="367" y="942"/>
                    </a:cubicBezTo>
                    <a:cubicBezTo>
                      <a:pt x="372" y="942"/>
                      <a:pt x="376" y="942"/>
                      <a:pt x="381" y="942"/>
                    </a:cubicBezTo>
                    <a:cubicBezTo>
                      <a:pt x="400" y="942"/>
                      <a:pt x="418" y="942"/>
                      <a:pt x="436" y="942"/>
                    </a:cubicBezTo>
                    <a:cubicBezTo>
                      <a:pt x="441" y="942"/>
                      <a:pt x="446" y="942"/>
                      <a:pt x="450" y="942"/>
                    </a:cubicBezTo>
                    <a:cubicBezTo>
                      <a:pt x="468" y="942"/>
                      <a:pt x="487" y="942"/>
                      <a:pt x="505" y="942"/>
                    </a:cubicBezTo>
                    <a:cubicBezTo>
                      <a:pt x="510" y="942"/>
                      <a:pt x="514" y="942"/>
                      <a:pt x="519" y="942"/>
                    </a:cubicBezTo>
                    <a:cubicBezTo>
                      <a:pt x="525" y="942"/>
                      <a:pt x="530" y="941"/>
                      <a:pt x="536" y="941"/>
                    </a:cubicBezTo>
                    <a:cubicBezTo>
                      <a:pt x="526" y="948"/>
                      <a:pt x="519" y="957"/>
                      <a:pt x="515" y="969"/>
                    </a:cubicBezTo>
                    <a:cubicBezTo>
                      <a:pt x="510" y="969"/>
                      <a:pt x="504" y="968"/>
                      <a:pt x="498" y="968"/>
                    </a:cubicBezTo>
                    <a:cubicBezTo>
                      <a:pt x="492" y="968"/>
                      <a:pt x="486" y="968"/>
                      <a:pt x="480" y="968"/>
                    </a:cubicBezTo>
                    <a:cubicBezTo>
                      <a:pt x="463" y="968"/>
                      <a:pt x="446" y="968"/>
                      <a:pt x="429" y="968"/>
                    </a:cubicBezTo>
                    <a:cubicBezTo>
                      <a:pt x="423" y="968"/>
                      <a:pt x="417" y="968"/>
                      <a:pt x="412" y="968"/>
                    </a:cubicBezTo>
                    <a:cubicBezTo>
                      <a:pt x="394" y="968"/>
                      <a:pt x="377" y="968"/>
                      <a:pt x="360" y="968"/>
                    </a:cubicBezTo>
                    <a:cubicBezTo>
                      <a:pt x="354" y="968"/>
                      <a:pt x="348" y="968"/>
                      <a:pt x="342" y="968"/>
                    </a:cubicBezTo>
                    <a:cubicBezTo>
                      <a:pt x="325" y="968"/>
                      <a:pt x="308" y="968"/>
                      <a:pt x="290" y="968"/>
                    </a:cubicBezTo>
                    <a:cubicBezTo>
                      <a:pt x="285" y="968"/>
                      <a:pt x="279" y="968"/>
                      <a:pt x="273" y="968"/>
                    </a:cubicBezTo>
                    <a:cubicBezTo>
                      <a:pt x="256" y="968"/>
                      <a:pt x="239" y="968"/>
                      <a:pt x="222" y="968"/>
                    </a:cubicBezTo>
                    <a:cubicBezTo>
                      <a:pt x="216" y="968"/>
                      <a:pt x="210" y="968"/>
                      <a:pt x="204" y="968"/>
                    </a:cubicBezTo>
                    <a:cubicBezTo>
                      <a:pt x="187" y="970"/>
                      <a:pt x="169" y="966"/>
                      <a:pt x="153" y="973"/>
                    </a:cubicBezTo>
                    <a:cubicBezTo>
                      <a:pt x="128" y="992"/>
                      <a:pt x="108" y="1015"/>
                      <a:pt x="88" y="1037"/>
                    </a:cubicBezTo>
                    <a:cubicBezTo>
                      <a:pt x="80" y="1056"/>
                      <a:pt x="82" y="1557"/>
                      <a:pt x="82" y="1574"/>
                    </a:cubicBezTo>
                    <a:cubicBezTo>
                      <a:pt x="69" y="1582"/>
                      <a:pt x="60" y="1597"/>
                      <a:pt x="60" y="1613"/>
                    </a:cubicBezTo>
                    <a:cubicBezTo>
                      <a:pt x="60" y="1639"/>
                      <a:pt x="81" y="1661"/>
                      <a:pt x="106" y="1661"/>
                    </a:cubicBezTo>
                    <a:cubicBezTo>
                      <a:pt x="132" y="1661"/>
                      <a:pt x="152" y="1639"/>
                      <a:pt x="152" y="1613"/>
                    </a:cubicBezTo>
                    <a:cubicBezTo>
                      <a:pt x="152" y="1594"/>
                      <a:pt x="141" y="1578"/>
                      <a:pt x="125" y="1570"/>
                    </a:cubicBezTo>
                    <a:cubicBezTo>
                      <a:pt x="125" y="1562"/>
                      <a:pt x="125" y="1351"/>
                      <a:pt x="125" y="1332"/>
                    </a:cubicBezTo>
                    <a:cubicBezTo>
                      <a:pt x="132" y="1347"/>
                      <a:pt x="148" y="1358"/>
                      <a:pt x="167" y="1358"/>
                    </a:cubicBezTo>
                    <a:cubicBezTo>
                      <a:pt x="192" y="1358"/>
                      <a:pt x="213" y="1338"/>
                      <a:pt x="213" y="1313"/>
                    </a:cubicBezTo>
                    <a:cubicBezTo>
                      <a:pt x="213" y="1308"/>
                      <a:pt x="212" y="1303"/>
                      <a:pt x="210" y="1298"/>
                    </a:cubicBezTo>
                    <a:cubicBezTo>
                      <a:pt x="220" y="1288"/>
                      <a:pt x="230" y="1278"/>
                      <a:pt x="240" y="1268"/>
                    </a:cubicBezTo>
                    <a:cubicBezTo>
                      <a:pt x="250" y="1251"/>
                      <a:pt x="247" y="1232"/>
                      <a:pt x="249" y="1213"/>
                    </a:cubicBezTo>
                    <a:cubicBezTo>
                      <a:pt x="249" y="1208"/>
                      <a:pt x="249" y="1202"/>
                      <a:pt x="249" y="1196"/>
                    </a:cubicBezTo>
                    <a:cubicBezTo>
                      <a:pt x="249" y="1180"/>
                      <a:pt x="249" y="1162"/>
                      <a:pt x="249" y="1145"/>
                    </a:cubicBezTo>
                    <a:cubicBezTo>
                      <a:pt x="249" y="1139"/>
                      <a:pt x="249" y="1133"/>
                      <a:pt x="249" y="1127"/>
                    </a:cubicBezTo>
                    <a:cubicBezTo>
                      <a:pt x="247" y="1091"/>
                      <a:pt x="247" y="1091"/>
                      <a:pt x="284" y="1093"/>
                    </a:cubicBezTo>
                    <a:cubicBezTo>
                      <a:pt x="290" y="1093"/>
                      <a:pt x="296" y="1093"/>
                      <a:pt x="301" y="1093"/>
                    </a:cubicBezTo>
                    <a:cubicBezTo>
                      <a:pt x="312" y="1093"/>
                      <a:pt x="323" y="1092"/>
                      <a:pt x="334" y="1091"/>
                    </a:cubicBezTo>
                    <a:cubicBezTo>
                      <a:pt x="341" y="1107"/>
                      <a:pt x="357" y="1118"/>
                      <a:pt x="375" y="1118"/>
                    </a:cubicBezTo>
                    <a:cubicBezTo>
                      <a:pt x="400" y="1118"/>
                      <a:pt x="421" y="1097"/>
                      <a:pt x="421" y="1071"/>
                    </a:cubicBezTo>
                    <a:cubicBezTo>
                      <a:pt x="421" y="1045"/>
                      <a:pt x="400" y="1024"/>
                      <a:pt x="375" y="1024"/>
                    </a:cubicBezTo>
                    <a:cubicBezTo>
                      <a:pt x="358" y="1024"/>
                      <a:pt x="343" y="1034"/>
                      <a:pt x="335" y="1049"/>
                    </a:cubicBezTo>
                    <a:cubicBezTo>
                      <a:pt x="334" y="1048"/>
                      <a:pt x="333" y="1048"/>
                      <a:pt x="332" y="1048"/>
                    </a:cubicBezTo>
                    <a:cubicBezTo>
                      <a:pt x="315" y="1048"/>
                      <a:pt x="298" y="1048"/>
                      <a:pt x="280" y="1048"/>
                    </a:cubicBezTo>
                    <a:cubicBezTo>
                      <a:pt x="274" y="1048"/>
                      <a:pt x="269" y="1048"/>
                      <a:pt x="263" y="1048"/>
                    </a:cubicBezTo>
                    <a:cubicBezTo>
                      <a:pt x="224" y="1054"/>
                      <a:pt x="210" y="1068"/>
                      <a:pt x="206" y="1106"/>
                    </a:cubicBezTo>
                    <a:cubicBezTo>
                      <a:pt x="207" y="1112"/>
                      <a:pt x="207" y="1118"/>
                      <a:pt x="206" y="1124"/>
                    </a:cubicBezTo>
                    <a:cubicBezTo>
                      <a:pt x="206" y="1141"/>
                      <a:pt x="206" y="1158"/>
                      <a:pt x="206" y="1176"/>
                    </a:cubicBezTo>
                    <a:cubicBezTo>
                      <a:pt x="207" y="1182"/>
                      <a:pt x="207" y="1187"/>
                      <a:pt x="206" y="1193"/>
                    </a:cubicBezTo>
                    <a:cubicBezTo>
                      <a:pt x="210" y="1224"/>
                      <a:pt x="207" y="1251"/>
                      <a:pt x="179" y="1270"/>
                    </a:cubicBezTo>
                    <a:cubicBezTo>
                      <a:pt x="175" y="1269"/>
                      <a:pt x="171" y="1268"/>
                      <a:pt x="167" y="1268"/>
                    </a:cubicBezTo>
                    <a:cubicBezTo>
                      <a:pt x="148" y="1268"/>
                      <a:pt x="132" y="1279"/>
                      <a:pt x="125" y="1295"/>
                    </a:cubicBezTo>
                    <a:cubicBezTo>
                      <a:pt x="125" y="1288"/>
                      <a:pt x="125" y="1217"/>
                      <a:pt x="125" y="1200"/>
                    </a:cubicBezTo>
                    <a:cubicBezTo>
                      <a:pt x="125" y="1194"/>
                      <a:pt x="125" y="1148"/>
                      <a:pt x="125" y="1131"/>
                    </a:cubicBezTo>
                    <a:cubicBezTo>
                      <a:pt x="125" y="1125"/>
                      <a:pt x="125" y="1079"/>
                      <a:pt x="125" y="1062"/>
                    </a:cubicBezTo>
                    <a:cubicBezTo>
                      <a:pt x="125" y="1059"/>
                      <a:pt x="125" y="1057"/>
                      <a:pt x="128" y="1055"/>
                    </a:cubicBezTo>
                    <a:cubicBezTo>
                      <a:pt x="140" y="1041"/>
                      <a:pt x="153" y="1029"/>
                      <a:pt x="167" y="1017"/>
                    </a:cubicBezTo>
                    <a:cubicBezTo>
                      <a:pt x="168" y="1014"/>
                      <a:pt x="170" y="1013"/>
                      <a:pt x="173" y="1012"/>
                    </a:cubicBezTo>
                    <a:cubicBezTo>
                      <a:pt x="190" y="1008"/>
                      <a:pt x="483" y="1010"/>
                      <a:pt x="501" y="1011"/>
                    </a:cubicBezTo>
                    <a:cubicBezTo>
                      <a:pt x="505" y="1011"/>
                      <a:pt x="511" y="1012"/>
                      <a:pt x="515" y="1012"/>
                    </a:cubicBezTo>
                    <a:cubicBezTo>
                      <a:pt x="517" y="1011"/>
                      <a:pt x="519" y="1011"/>
                      <a:pt x="520" y="1011"/>
                    </a:cubicBezTo>
                    <a:cubicBezTo>
                      <a:pt x="529" y="1024"/>
                      <a:pt x="543" y="1034"/>
                      <a:pt x="559" y="1034"/>
                    </a:cubicBezTo>
                    <a:cubicBezTo>
                      <a:pt x="561" y="1034"/>
                      <a:pt x="563" y="1033"/>
                      <a:pt x="566" y="1033"/>
                    </a:cubicBezTo>
                    <a:cubicBezTo>
                      <a:pt x="561" y="1037"/>
                      <a:pt x="557" y="1043"/>
                      <a:pt x="554" y="1049"/>
                    </a:cubicBezTo>
                    <a:cubicBezTo>
                      <a:pt x="548" y="1048"/>
                      <a:pt x="543" y="1048"/>
                      <a:pt x="539" y="1048"/>
                    </a:cubicBezTo>
                    <a:cubicBezTo>
                      <a:pt x="521" y="1048"/>
                      <a:pt x="504" y="1049"/>
                      <a:pt x="486" y="1049"/>
                    </a:cubicBezTo>
                    <a:cubicBezTo>
                      <a:pt x="481" y="1050"/>
                      <a:pt x="475" y="1051"/>
                      <a:pt x="470" y="1052"/>
                    </a:cubicBezTo>
                    <a:cubicBezTo>
                      <a:pt x="467" y="1053"/>
                      <a:pt x="465" y="1055"/>
                      <a:pt x="463" y="1056"/>
                    </a:cubicBezTo>
                    <a:cubicBezTo>
                      <a:pt x="439" y="1078"/>
                      <a:pt x="416" y="1100"/>
                      <a:pt x="394" y="1123"/>
                    </a:cubicBezTo>
                    <a:cubicBezTo>
                      <a:pt x="390" y="1122"/>
                      <a:pt x="385" y="1121"/>
                      <a:pt x="380" y="1121"/>
                    </a:cubicBezTo>
                    <a:cubicBezTo>
                      <a:pt x="356" y="1121"/>
                      <a:pt x="336" y="1141"/>
                      <a:pt x="336" y="1166"/>
                    </a:cubicBezTo>
                    <a:cubicBezTo>
                      <a:pt x="336" y="1190"/>
                      <a:pt x="356" y="1210"/>
                      <a:pt x="380" y="1210"/>
                    </a:cubicBezTo>
                    <a:cubicBezTo>
                      <a:pt x="404" y="1210"/>
                      <a:pt x="423" y="1190"/>
                      <a:pt x="423" y="1166"/>
                    </a:cubicBezTo>
                    <a:cubicBezTo>
                      <a:pt x="423" y="1161"/>
                      <a:pt x="423" y="1157"/>
                      <a:pt x="421" y="1153"/>
                    </a:cubicBezTo>
                    <a:cubicBezTo>
                      <a:pt x="437" y="1137"/>
                      <a:pt x="453" y="1123"/>
                      <a:pt x="468" y="1107"/>
                    </a:cubicBezTo>
                    <a:cubicBezTo>
                      <a:pt x="480" y="1095"/>
                      <a:pt x="492" y="1089"/>
                      <a:pt x="508" y="1093"/>
                    </a:cubicBezTo>
                    <a:cubicBezTo>
                      <a:pt x="524" y="1093"/>
                      <a:pt x="540" y="1093"/>
                      <a:pt x="556" y="1093"/>
                    </a:cubicBezTo>
                    <a:cubicBezTo>
                      <a:pt x="564" y="1107"/>
                      <a:pt x="579" y="1116"/>
                      <a:pt x="595" y="1116"/>
                    </a:cubicBezTo>
                    <a:cubicBezTo>
                      <a:pt x="621" y="1116"/>
                      <a:pt x="641" y="1095"/>
                      <a:pt x="641" y="1069"/>
                    </a:cubicBezTo>
                    <a:cubicBezTo>
                      <a:pt x="641" y="1043"/>
                      <a:pt x="621" y="1022"/>
                      <a:pt x="595" y="1022"/>
                    </a:cubicBezTo>
                    <a:cubicBezTo>
                      <a:pt x="593" y="1022"/>
                      <a:pt x="590" y="1022"/>
                      <a:pt x="588" y="1022"/>
                    </a:cubicBezTo>
                    <a:cubicBezTo>
                      <a:pt x="598" y="1013"/>
                      <a:pt x="605" y="999"/>
                      <a:pt x="605" y="984"/>
                    </a:cubicBezTo>
                    <a:cubicBezTo>
                      <a:pt x="605" y="965"/>
                      <a:pt x="595" y="949"/>
                      <a:pt x="581" y="941"/>
                    </a:cubicBezTo>
                    <a:cubicBezTo>
                      <a:pt x="590" y="941"/>
                      <a:pt x="598" y="941"/>
                      <a:pt x="607" y="940"/>
                    </a:cubicBezTo>
                    <a:cubicBezTo>
                      <a:pt x="615" y="955"/>
                      <a:pt x="630" y="966"/>
                      <a:pt x="647" y="966"/>
                    </a:cubicBezTo>
                    <a:cubicBezTo>
                      <a:pt x="672" y="966"/>
                      <a:pt x="692" y="945"/>
                      <a:pt x="692" y="920"/>
                    </a:cubicBezTo>
                    <a:cubicBezTo>
                      <a:pt x="692" y="894"/>
                      <a:pt x="672" y="874"/>
                      <a:pt x="647" y="874"/>
                    </a:cubicBezTo>
                    <a:close/>
                    <a:moveTo>
                      <a:pt x="98" y="19"/>
                    </a:moveTo>
                    <a:cubicBezTo>
                      <a:pt x="113" y="19"/>
                      <a:pt x="126" y="32"/>
                      <a:pt x="126" y="47"/>
                    </a:cubicBezTo>
                    <a:cubicBezTo>
                      <a:pt x="126" y="62"/>
                      <a:pt x="113" y="75"/>
                      <a:pt x="98" y="75"/>
                    </a:cubicBezTo>
                    <a:cubicBezTo>
                      <a:pt x="82" y="75"/>
                      <a:pt x="70" y="62"/>
                      <a:pt x="70" y="47"/>
                    </a:cubicBezTo>
                    <a:cubicBezTo>
                      <a:pt x="70" y="32"/>
                      <a:pt x="82" y="19"/>
                      <a:pt x="98" y="19"/>
                    </a:cubicBezTo>
                    <a:close/>
                    <a:moveTo>
                      <a:pt x="167" y="1288"/>
                    </a:moveTo>
                    <a:cubicBezTo>
                      <a:pt x="181" y="1288"/>
                      <a:pt x="193" y="1299"/>
                      <a:pt x="193" y="1313"/>
                    </a:cubicBezTo>
                    <a:cubicBezTo>
                      <a:pt x="193" y="1327"/>
                      <a:pt x="181" y="1339"/>
                      <a:pt x="167" y="1339"/>
                    </a:cubicBezTo>
                    <a:cubicBezTo>
                      <a:pt x="152" y="1339"/>
                      <a:pt x="140" y="1327"/>
                      <a:pt x="140" y="1313"/>
                    </a:cubicBezTo>
                    <a:cubicBezTo>
                      <a:pt x="140" y="1299"/>
                      <a:pt x="152" y="1288"/>
                      <a:pt x="167" y="1288"/>
                    </a:cubicBezTo>
                    <a:close/>
                    <a:moveTo>
                      <a:pt x="133" y="1613"/>
                    </a:moveTo>
                    <a:cubicBezTo>
                      <a:pt x="133" y="1629"/>
                      <a:pt x="121" y="1641"/>
                      <a:pt x="106" y="1641"/>
                    </a:cubicBezTo>
                    <a:cubicBezTo>
                      <a:pt x="92" y="1641"/>
                      <a:pt x="80" y="1629"/>
                      <a:pt x="80" y="1613"/>
                    </a:cubicBezTo>
                    <a:cubicBezTo>
                      <a:pt x="80" y="1598"/>
                      <a:pt x="92" y="1586"/>
                      <a:pt x="106" y="1586"/>
                    </a:cubicBezTo>
                    <a:cubicBezTo>
                      <a:pt x="121" y="1586"/>
                      <a:pt x="133" y="1598"/>
                      <a:pt x="133" y="1613"/>
                    </a:cubicBezTo>
                    <a:close/>
                    <a:moveTo>
                      <a:pt x="595" y="1041"/>
                    </a:moveTo>
                    <a:cubicBezTo>
                      <a:pt x="610" y="1041"/>
                      <a:pt x="622" y="1053"/>
                      <a:pt x="622" y="1069"/>
                    </a:cubicBezTo>
                    <a:cubicBezTo>
                      <a:pt x="622" y="1084"/>
                      <a:pt x="610" y="1097"/>
                      <a:pt x="595" y="1097"/>
                    </a:cubicBezTo>
                    <a:cubicBezTo>
                      <a:pt x="581" y="1097"/>
                      <a:pt x="569" y="1084"/>
                      <a:pt x="569" y="1069"/>
                    </a:cubicBezTo>
                    <a:cubicBezTo>
                      <a:pt x="569" y="1053"/>
                      <a:pt x="581" y="1041"/>
                      <a:pt x="595" y="1041"/>
                    </a:cubicBezTo>
                    <a:close/>
                    <a:moveTo>
                      <a:pt x="586" y="984"/>
                    </a:moveTo>
                    <a:cubicBezTo>
                      <a:pt x="586" y="1001"/>
                      <a:pt x="574" y="1014"/>
                      <a:pt x="559" y="1014"/>
                    </a:cubicBezTo>
                    <a:cubicBezTo>
                      <a:pt x="544" y="1014"/>
                      <a:pt x="532" y="1001"/>
                      <a:pt x="532" y="984"/>
                    </a:cubicBezTo>
                    <a:cubicBezTo>
                      <a:pt x="532" y="967"/>
                      <a:pt x="544" y="954"/>
                      <a:pt x="559" y="954"/>
                    </a:cubicBezTo>
                    <a:cubicBezTo>
                      <a:pt x="574" y="954"/>
                      <a:pt x="586" y="967"/>
                      <a:pt x="586" y="9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8" name="Freeform 12"/>
              <p:cNvSpPr>
                <a:spLocks/>
              </p:cNvSpPr>
              <p:nvPr/>
            </p:nvSpPr>
            <p:spPr bwMode="gray">
              <a:xfrm>
                <a:off x="3000" y="2420"/>
                <a:ext cx="807" cy="440"/>
              </a:xfrm>
              <a:custGeom>
                <a:avLst/>
                <a:gdLst>
                  <a:gd name="T0" fmla="*/ 296 w 341"/>
                  <a:gd name="T1" fmla="*/ 96 h 186"/>
                  <a:gd name="T2" fmla="*/ 256 w 341"/>
                  <a:gd name="T3" fmla="*/ 122 h 186"/>
                  <a:gd name="T4" fmla="*/ 234 w 341"/>
                  <a:gd name="T5" fmla="*/ 121 h 186"/>
                  <a:gd name="T6" fmla="*/ 216 w 341"/>
                  <a:gd name="T7" fmla="*/ 121 h 186"/>
                  <a:gd name="T8" fmla="*/ 164 w 341"/>
                  <a:gd name="T9" fmla="*/ 121 h 186"/>
                  <a:gd name="T10" fmla="*/ 146 w 341"/>
                  <a:gd name="T11" fmla="*/ 115 h 186"/>
                  <a:gd name="T12" fmla="*/ 126 w 341"/>
                  <a:gd name="T13" fmla="*/ 94 h 186"/>
                  <a:gd name="T14" fmla="*/ 116 w 341"/>
                  <a:gd name="T15" fmla="*/ 83 h 186"/>
                  <a:gd name="T16" fmla="*/ 88 w 341"/>
                  <a:gd name="T17" fmla="*/ 56 h 186"/>
                  <a:gd name="T18" fmla="*/ 87 w 341"/>
                  <a:gd name="T19" fmla="*/ 56 h 186"/>
                  <a:gd name="T20" fmla="*/ 89 w 341"/>
                  <a:gd name="T21" fmla="*/ 44 h 186"/>
                  <a:gd name="T22" fmla="*/ 44 w 341"/>
                  <a:gd name="T23" fmla="*/ 0 h 186"/>
                  <a:gd name="T24" fmla="*/ 0 w 341"/>
                  <a:gd name="T25" fmla="*/ 44 h 186"/>
                  <a:gd name="T26" fmla="*/ 44 w 341"/>
                  <a:gd name="T27" fmla="*/ 89 h 186"/>
                  <a:gd name="T28" fmla="*/ 57 w 341"/>
                  <a:gd name="T29" fmla="*/ 87 h 186"/>
                  <a:gd name="T30" fmla="*/ 61 w 341"/>
                  <a:gd name="T31" fmla="*/ 91 h 186"/>
                  <a:gd name="T32" fmla="*/ 81 w 341"/>
                  <a:gd name="T33" fmla="*/ 111 h 186"/>
                  <a:gd name="T34" fmla="*/ 95 w 341"/>
                  <a:gd name="T35" fmla="*/ 124 h 186"/>
                  <a:gd name="T36" fmla="*/ 116 w 341"/>
                  <a:gd name="T37" fmla="*/ 145 h 186"/>
                  <a:gd name="T38" fmla="*/ 126 w 341"/>
                  <a:gd name="T39" fmla="*/ 155 h 186"/>
                  <a:gd name="T40" fmla="*/ 168 w 341"/>
                  <a:gd name="T41" fmla="*/ 163 h 186"/>
                  <a:gd name="T42" fmla="*/ 182 w 341"/>
                  <a:gd name="T43" fmla="*/ 164 h 186"/>
                  <a:gd name="T44" fmla="*/ 236 w 341"/>
                  <a:gd name="T45" fmla="*/ 163 h 186"/>
                  <a:gd name="T46" fmla="*/ 254 w 341"/>
                  <a:gd name="T47" fmla="*/ 164 h 186"/>
                  <a:gd name="T48" fmla="*/ 258 w 341"/>
                  <a:gd name="T49" fmla="*/ 164 h 186"/>
                  <a:gd name="T50" fmla="*/ 296 w 341"/>
                  <a:gd name="T51" fmla="*/ 186 h 186"/>
                  <a:gd name="T52" fmla="*/ 341 w 341"/>
                  <a:gd name="T53" fmla="*/ 141 h 186"/>
                  <a:gd name="T54" fmla="*/ 296 w 341"/>
                  <a:gd name="T55" fmla="*/ 9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1" h="186">
                    <a:moveTo>
                      <a:pt x="296" y="96"/>
                    </a:moveTo>
                    <a:cubicBezTo>
                      <a:pt x="278" y="96"/>
                      <a:pt x="263" y="107"/>
                      <a:pt x="256" y="122"/>
                    </a:cubicBezTo>
                    <a:cubicBezTo>
                      <a:pt x="248" y="121"/>
                      <a:pt x="241" y="121"/>
                      <a:pt x="234" y="121"/>
                    </a:cubicBezTo>
                    <a:cubicBezTo>
                      <a:pt x="228" y="121"/>
                      <a:pt x="222" y="121"/>
                      <a:pt x="216" y="121"/>
                    </a:cubicBezTo>
                    <a:cubicBezTo>
                      <a:pt x="199" y="121"/>
                      <a:pt x="182" y="121"/>
                      <a:pt x="164" y="121"/>
                    </a:cubicBezTo>
                    <a:cubicBezTo>
                      <a:pt x="157" y="122"/>
                      <a:pt x="151" y="122"/>
                      <a:pt x="146" y="115"/>
                    </a:cubicBezTo>
                    <a:cubicBezTo>
                      <a:pt x="140" y="108"/>
                      <a:pt x="133" y="101"/>
                      <a:pt x="126" y="94"/>
                    </a:cubicBezTo>
                    <a:cubicBezTo>
                      <a:pt x="121" y="91"/>
                      <a:pt x="118" y="88"/>
                      <a:pt x="116" y="83"/>
                    </a:cubicBezTo>
                    <a:cubicBezTo>
                      <a:pt x="105" y="76"/>
                      <a:pt x="96" y="66"/>
                      <a:pt x="88" y="56"/>
                    </a:cubicBezTo>
                    <a:cubicBezTo>
                      <a:pt x="88" y="56"/>
                      <a:pt x="88" y="56"/>
                      <a:pt x="87" y="56"/>
                    </a:cubicBezTo>
                    <a:cubicBezTo>
                      <a:pt x="88" y="52"/>
                      <a:pt x="89" y="48"/>
                      <a:pt x="89" y="44"/>
                    </a:cubicBezTo>
                    <a:cubicBezTo>
                      <a:pt x="89" y="20"/>
                      <a:pt x="69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4" y="89"/>
                    </a:cubicBezTo>
                    <a:cubicBezTo>
                      <a:pt x="49" y="89"/>
                      <a:pt x="53" y="88"/>
                      <a:pt x="57" y="87"/>
                    </a:cubicBezTo>
                    <a:cubicBezTo>
                      <a:pt x="59" y="88"/>
                      <a:pt x="60" y="89"/>
                      <a:pt x="61" y="91"/>
                    </a:cubicBezTo>
                    <a:cubicBezTo>
                      <a:pt x="67" y="97"/>
                      <a:pt x="75" y="104"/>
                      <a:pt x="81" y="111"/>
                    </a:cubicBezTo>
                    <a:cubicBezTo>
                      <a:pt x="86" y="116"/>
                      <a:pt x="90" y="120"/>
                      <a:pt x="95" y="124"/>
                    </a:cubicBezTo>
                    <a:cubicBezTo>
                      <a:pt x="102" y="132"/>
                      <a:pt x="109" y="138"/>
                      <a:pt x="116" y="145"/>
                    </a:cubicBezTo>
                    <a:cubicBezTo>
                      <a:pt x="119" y="149"/>
                      <a:pt x="123" y="152"/>
                      <a:pt x="126" y="155"/>
                    </a:cubicBezTo>
                    <a:cubicBezTo>
                      <a:pt x="139" y="162"/>
                      <a:pt x="153" y="163"/>
                      <a:pt x="168" y="163"/>
                    </a:cubicBezTo>
                    <a:cubicBezTo>
                      <a:pt x="172" y="163"/>
                      <a:pt x="177" y="163"/>
                      <a:pt x="182" y="164"/>
                    </a:cubicBezTo>
                    <a:cubicBezTo>
                      <a:pt x="200" y="163"/>
                      <a:pt x="218" y="163"/>
                      <a:pt x="236" y="163"/>
                    </a:cubicBezTo>
                    <a:cubicBezTo>
                      <a:pt x="242" y="163"/>
                      <a:pt x="248" y="163"/>
                      <a:pt x="254" y="164"/>
                    </a:cubicBezTo>
                    <a:cubicBezTo>
                      <a:pt x="255" y="164"/>
                      <a:pt x="257" y="164"/>
                      <a:pt x="258" y="164"/>
                    </a:cubicBezTo>
                    <a:cubicBezTo>
                      <a:pt x="265" y="177"/>
                      <a:pt x="280" y="186"/>
                      <a:pt x="296" y="186"/>
                    </a:cubicBezTo>
                    <a:cubicBezTo>
                      <a:pt x="321" y="186"/>
                      <a:pt x="341" y="166"/>
                      <a:pt x="341" y="141"/>
                    </a:cubicBezTo>
                    <a:cubicBezTo>
                      <a:pt x="341" y="116"/>
                      <a:pt x="321" y="96"/>
                      <a:pt x="2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299" name="Freeform 13"/>
              <p:cNvSpPr>
                <a:spLocks noEditPoints="1"/>
              </p:cNvSpPr>
              <p:nvPr/>
            </p:nvSpPr>
            <p:spPr bwMode="gray">
              <a:xfrm>
                <a:off x="1973" y="1045"/>
                <a:ext cx="217" cy="784"/>
              </a:xfrm>
              <a:custGeom>
                <a:avLst/>
                <a:gdLst>
                  <a:gd name="T0" fmla="*/ 92 w 92"/>
                  <a:gd name="T1" fmla="*/ 44 h 331"/>
                  <a:gd name="T2" fmla="*/ 47 w 92"/>
                  <a:gd name="T3" fmla="*/ 0 h 331"/>
                  <a:gd name="T4" fmla="*/ 3 w 92"/>
                  <a:gd name="T5" fmla="*/ 44 h 331"/>
                  <a:gd name="T6" fmla="*/ 25 w 92"/>
                  <a:gd name="T7" fmla="*/ 83 h 331"/>
                  <a:gd name="T8" fmla="*/ 24 w 92"/>
                  <a:gd name="T9" fmla="*/ 85 h 331"/>
                  <a:gd name="T10" fmla="*/ 24 w 92"/>
                  <a:gd name="T11" fmla="*/ 242 h 331"/>
                  <a:gd name="T12" fmla="*/ 25 w 92"/>
                  <a:gd name="T13" fmla="*/ 245 h 331"/>
                  <a:gd name="T14" fmla="*/ 0 w 92"/>
                  <a:gd name="T15" fmla="*/ 285 h 331"/>
                  <a:gd name="T16" fmla="*/ 46 w 92"/>
                  <a:gd name="T17" fmla="*/ 331 h 331"/>
                  <a:gd name="T18" fmla="*/ 92 w 92"/>
                  <a:gd name="T19" fmla="*/ 285 h 331"/>
                  <a:gd name="T20" fmla="*/ 69 w 92"/>
                  <a:gd name="T21" fmla="*/ 246 h 331"/>
                  <a:gd name="T22" fmla="*/ 70 w 92"/>
                  <a:gd name="T23" fmla="*/ 245 h 331"/>
                  <a:gd name="T24" fmla="*/ 69 w 92"/>
                  <a:gd name="T25" fmla="*/ 83 h 331"/>
                  <a:gd name="T26" fmla="*/ 92 w 92"/>
                  <a:gd name="T27" fmla="*/ 44 h 331"/>
                  <a:gd name="T28" fmla="*/ 73 w 92"/>
                  <a:gd name="T29" fmla="*/ 285 h 331"/>
                  <a:gd name="T30" fmla="*/ 46 w 92"/>
                  <a:gd name="T31" fmla="*/ 312 h 331"/>
                  <a:gd name="T32" fmla="*/ 20 w 92"/>
                  <a:gd name="T33" fmla="*/ 285 h 331"/>
                  <a:gd name="T34" fmla="*/ 46 w 92"/>
                  <a:gd name="T35" fmla="*/ 259 h 331"/>
                  <a:gd name="T36" fmla="*/ 73 w 92"/>
                  <a:gd name="T37" fmla="*/ 285 h 331"/>
                  <a:gd name="T38" fmla="*/ 47 w 92"/>
                  <a:gd name="T39" fmla="*/ 70 h 331"/>
                  <a:gd name="T40" fmla="*/ 22 w 92"/>
                  <a:gd name="T41" fmla="*/ 44 h 331"/>
                  <a:gd name="T42" fmla="*/ 47 w 92"/>
                  <a:gd name="T43" fmla="*/ 19 h 331"/>
                  <a:gd name="T44" fmla="*/ 73 w 92"/>
                  <a:gd name="T45" fmla="*/ 44 h 331"/>
                  <a:gd name="T46" fmla="*/ 47 w 92"/>
                  <a:gd name="T47" fmla="*/ 7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2" h="331">
                    <a:moveTo>
                      <a:pt x="92" y="44"/>
                    </a:moveTo>
                    <a:cubicBezTo>
                      <a:pt x="92" y="20"/>
                      <a:pt x="72" y="0"/>
                      <a:pt x="47" y="0"/>
                    </a:cubicBezTo>
                    <a:cubicBezTo>
                      <a:pt x="23" y="0"/>
                      <a:pt x="3" y="20"/>
                      <a:pt x="3" y="44"/>
                    </a:cubicBezTo>
                    <a:cubicBezTo>
                      <a:pt x="3" y="61"/>
                      <a:pt x="12" y="75"/>
                      <a:pt x="25" y="83"/>
                    </a:cubicBezTo>
                    <a:cubicBezTo>
                      <a:pt x="25" y="84"/>
                      <a:pt x="25" y="85"/>
                      <a:pt x="24" y="85"/>
                    </a:cubicBezTo>
                    <a:cubicBezTo>
                      <a:pt x="24" y="91"/>
                      <a:pt x="24" y="236"/>
                      <a:pt x="24" y="242"/>
                    </a:cubicBezTo>
                    <a:cubicBezTo>
                      <a:pt x="25" y="243"/>
                      <a:pt x="25" y="244"/>
                      <a:pt x="25" y="245"/>
                    </a:cubicBezTo>
                    <a:cubicBezTo>
                      <a:pt x="10" y="253"/>
                      <a:pt x="0" y="268"/>
                      <a:pt x="0" y="285"/>
                    </a:cubicBezTo>
                    <a:cubicBezTo>
                      <a:pt x="0" y="311"/>
                      <a:pt x="21" y="331"/>
                      <a:pt x="46" y="331"/>
                    </a:cubicBezTo>
                    <a:cubicBezTo>
                      <a:pt x="72" y="331"/>
                      <a:pt x="92" y="311"/>
                      <a:pt x="92" y="285"/>
                    </a:cubicBezTo>
                    <a:cubicBezTo>
                      <a:pt x="92" y="268"/>
                      <a:pt x="83" y="254"/>
                      <a:pt x="69" y="246"/>
                    </a:cubicBezTo>
                    <a:cubicBezTo>
                      <a:pt x="69" y="245"/>
                      <a:pt x="70" y="245"/>
                      <a:pt x="70" y="245"/>
                    </a:cubicBezTo>
                    <a:cubicBezTo>
                      <a:pt x="68" y="227"/>
                      <a:pt x="69" y="91"/>
                      <a:pt x="69" y="83"/>
                    </a:cubicBezTo>
                    <a:cubicBezTo>
                      <a:pt x="83" y="76"/>
                      <a:pt x="92" y="61"/>
                      <a:pt x="92" y="44"/>
                    </a:cubicBezTo>
                    <a:close/>
                    <a:moveTo>
                      <a:pt x="73" y="285"/>
                    </a:moveTo>
                    <a:cubicBezTo>
                      <a:pt x="73" y="300"/>
                      <a:pt x="61" y="312"/>
                      <a:pt x="46" y="312"/>
                    </a:cubicBezTo>
                    <a:cubicBezTo>
                      <a:pt x="32" y="312"/>
                      <a:pt x="20" y="300"/>
                      <a:pt x="20" y="285"/>
                    </a:cubicBezTo>
                    <a:cubicBezTo>
                      <a:pt x="20" y="271"/>
                      <a:pt x="32" y="259"/>
                      <a:pt x="46" y="259"/>
                    </a:cubicBezTo>
                    <a:cubicBezTo>
                      <a:pt x="61" y="259"/>
                      <a:pt x="73" y="271"/>
                      <a:pt x="73" y="285"/>
                    </a:cubicBezTo>
                    <a:close/>
                    <a:moveTo>
                      <a:pt x="47" y="70"/>
                    </a:moveTo>
                    <a:cubicBezTo>
                      <a:pt x="33" y="70"/>
                      <a:pt x="22" y="58"/>
                      <a:pt x="22" y="44"/>
                    </a:cubicBezTo>
                    <a:cubicBezTo>
                      <a:pt x="22" y="30"/>
                      <a:pt x="33" y="19"/>
                      <a:pt x="47" y="19"/>
                    </a:cubicBezTo>
                    <a:cubicBezTo>
                      <a:pt x="61" y="19"/>
                      <a:pt x="73" y="30"/>
                      <a:pt x="73" y="44"/>
                    </a:cubicBezTo>
                    <a:cubicBezTo>
                      <a:pt x="73" y="58"/>
                      <a:pt x="61" y="70"/>
                      <a:pt x="47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0" name="Freeform 14"/>
              <p:cNvSpPr>
                <a:spLocks noEditPoints="1"/>
              </p:cNvSpPr>
              <p:nvPr/>
            </p:nvSpPr>
            <p:spPr bwMode="gray">
              <a:xfrm>
                <a:off x="4195" y="470"/>
                <a:ext cx="350" cy="701"/>
              </a:xfrm>
              <a:custGeom>
                <a:avLst/>
                <a:gdLst>
                  <a:gd name="T0" fmla="*/ 45 w 148"/>
                  <a:gd name="T1" fmla="*/ 0 h 296"/>
                  <a:gd name="T2" fmla="*/ 0 w 148"/>
                  <a:gd name="T3" fmla="*/ 45 h 296"/>
                  <a:gd name="T4" fmla="*/ 45 w 148"/>
                  <a:gd name="T5" fmla="*/ 90 h 296"/>
                  <a:gd name="T6" fmla="*/ 58 w 148"/>
                  <a:gd name="T7" fmla="*/ 88 h 296"/>
                  <a:gd name="T8" fmla="*/ 69 w 148"/>
                  <a:gd name="T9" fmla="*/ 100 h 296"/>
                  <a:gd name="T10" fmla="*/ 79 w 148"/>
                  <a:gd name="T11" fmla="*/ 115 h 296"/>
                  <a:gd name="T12" fmla="*/ 79 w 148"/>
                  <a:gd name="T13" fmla="*/ 211 h 296"/>
                  <a:gd name="T14" fmla="*/ 54 w 148"/>
                  <a:gd name="T15" fmla="*/ 251 h 296"/>
                  <a:gd name="T16" fmla="*/ 101 w 148"/>
                  <a:gd name="T17" fmla="*/ 296 h 296"/>
                  <a:gd name="T18" fmla="*/ 148 w 148"/>
                  <a:gd name="T19" fmla="*/ 251 h 296"/>
                  <a:gd name="T20" fmla="*/ 121 w 148"/>
                  <a:gd name="T21" fmla="*/ 211 h 296"/>
                  <a:gd name="T22" fmla="*/ 122 w 148"/>
                  <a:gd name="T23" fmla="*/ 118 h 296"/>
                  <a:gd name="T24" fmla="*/ 111 w 148"/>
                  <a:gd name="T25" fmla="*/ 80 h 296"/>
                  <a:gd name="T26" fmla="*/ 100 w 148"/>
                  <a:gd name="T27" fmla="*/ 69 h 296"/>
                  <a:gd name="T28" fmla="*/ 88 w 148"/>
                  <a:gd name="T29" fmla="*/ 58 h 296"/>
                  <a:gd name="T30" fmla="*/ 90 w 148"/>
                  <a:gd name="T31" fmla="*/ 45 h 296"/>
                  <a:gd name="T32" fmla="*/ 45 w 148"/>
                  <a:gd name="T33" fmla="*/ 0 h 296"/>
                  <a:gd name="T34" fmla="*/ 129 w 148"/>
                  <a:gd name="T35" fmla="*/ 251 h 296"/>
                  <a:gd name="T36" fmla="*/ 101 w 148"/>
                  <a:gd name="T37" fmla="*/ 276 h 296"/>
                  <a:gd name="T38" fmla="*/ 73 w 148"/>
                  <a:gd name="T39" fmla="*/ 251 h 296"/>
                  <a:gd name="T40" fmla="*/ 101 w 148"/>
                  <a:gd name="T41" fmla="*/ 226 h 296"/>
                  <a:gd name="T42" fmla="*/ 129 w 148"/>
                  <a:gd name="T43" fmla="*/ 251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8" h="296">
                    <a:moveTo>
                      <a:pt x="45" y="0"/>
                    </a:moveTo>
                    <a:cubicBezTo>
                      <a:pt x="21" y="0"/>
                      <a:pt x="0" y="21"/>
                      <a:pt x="0" y="45"/>
                    </a:cubicBezTo>
                    <a:cubicBezTo>
                      <a:pt x="0" y="70"/>
                      <a:pt x="21" y="90"/>
                      <a:pt x="45" y="90"/>
                    </a:cubicBezTo>
                    <a:cubicBezTo>
                      <a:pt x="50" y="90"/>
                      <a:pt x="54" y="89"/>
                      <a:pt x="58" y="88"/>
                    </a:cubicBezTo>
                    <a:cubicBezTo>
                      <a:pt x="62" y="92"/>
                      <a:pt x="66" y="96"/>
                      <a:pt x="69" y="100"/>
                    </a:cubicBezTo>
                    <a:cubicBezTo>
                      <a:pt x="74" y="104"/>
                      <a:pt x="79" y="107"/>
                      <a:pt x="79" y="115"/>
                    </a:cubicBezTo>
                    <a:cubicBezTo>
                      <a:pt x="78" y="132"/>
                      <a:pt x="79" y="202"/>
                      <a:pt x="79" y="211"/>
                    </a:cubicBezTo>
                    <a:cubicBezTo>
                      <a:pt x="64" y="219"/>
                      <a:pt x="54" y="234"/>
                      <a:pt x="54" y="251"/>
                    </a:cubicBezTo>
                    <a:cubicBezTo>
                      <a:pt x="54" y="276"/>
                      <a:pt x="75" y="296"/>
                      <a:pt x="101" y="296"/>
                    </a:cubicBezTo>
                    <a:cubicBezTo>
                      <a:pt x="127" y="296"/>
                      <a:pt x="148" y="276"/>
                      <a:pt x="148" y="251"/>
                    </a:cubicBezTo>
                    <a:cubicBezTo>
                      <a:pt x="148" y="233"/>
                      <a:pt x="137" y="218"/>
                      <a:pt x="121" y="211"/>
                    </a:cubicBezTo>
                    <a:cubicBezTo>
                      <a:pt x="121" y="206"/>
                      <a:pt x="122" y="124"/>
                      <a:pt x="122" y="118"/>
                    </a:cubicBezTo>
                    <a:cubicBezTo>
                      <a:pt x="122" y="104"/>
                      <a:pt x="117" y="92"/>
                      <a:pt x="111" y="80"/>
                    </a:cubicBezTo>
                    <a:cubicBezTo>
                      <a:pt x="107" y="77"/>
                      <a:pt x="103" y="73"/>
                      <a:pt x="100" y="69"/>
                    </a:cubicBezTo>
                    <a:cubicBezTo>
                      <a:pt x="96" y="66"/>
                      <a:pt x="92" y="62"/>
                      <a:pt x="88" y="58"/>
                    </a:cubicBezTo>
                    <a:cubicBezTo>
                      <a:pt x="89" y="54"/>
                      <a:pt x="90" y="50"/>
                      <a:pt x="90" y="45"/>
                    </a:cubicBezTo>
                    <a:cubicBezTo>
                      <a:pt x="90" y="21"/>
                      <a:pt x="70" y="0"/>
                      <a:pt x="45" y="0"/>
                    </a:cubicBezTo>
                    <a:close/>
                    <a:moveTo>
                      <a:pt x="129" y="251"/>
                    </a:moveTo>
                    <a:cubicBezTo>
                      <a:pt x="129" y="265"/>
                      <a:pt x="116" y="276"/>
                      <a:pt x="101" y="276"/>
                    </a:cubicBezTo>
                    <a:cubicBezTo>
                      <a:pt x="86" y="276"/>
                      <a:pt x="73" y="265"/>
                      <a:pt x="73" y="251"/>
                    </a:cubicBezTo>
                    <a:cubicBezTo>
                      <a:pt x="73" y="237"/>
                      <a:pt x="86" y="226"/>
                      <a:pt x="101" y="226"/>
                    </a:cubicBezTo>
                    <a:cubicBezTo>
                      <a:pt x="116" y="226"/>
                      <a:pt x="129" y="237"/>
                      <a:pt x="129" y="2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1" name="Freeform 15"/>
              <p:cNvSpPr>
                <a:spLocks noEditPoints="1"/>
              </p:cNvSpPr>
              <p:nvPr/>
            </p:nvSpPr>
            <p:spPr bwMode="gray">
              <a:xfrm>
                <a:off x="3198" y="203"/>
                <a:ext cx="826" cy="1803"/>
              </a:xfrm>
              <a:custGeom>
                <a:avLst/>
                <a:gdLst>
                  <a:gd name="T0" fmla="*/ 192 w 349"/>
                  <a:gd name="T1" fmla="*/ 104 h 762"/>
                  <a:gd name="T2" fmla="*/ 192 w 349"/>
                  <a:gd name="T3" fmla="*/ 173 h 762"/>
                  <a:gd name="T4" fmla="*/ 181 w 349"/>
                  <a:gd name="T5" fmla="*/ 212 h 762"/>
                  <a:gd name="T6" fmla="*/ 19 w 349"/>
                  <a:gd name="T7" fmla="*/ 413 h 762"/>
                  <a:gd name="T8" fmla="*/ 0 w 349"/>
                  <a:gd name="T9" fmla="*/ 717 h 762"/>
                  <a:gd name="T10" fmla="*/ 90 w 349"/>
                  <a:gd name="T11" fmla="*/ 717 h 762"/>
                  <a:gd name="T12" fmla="*/ 63 w 349"/>
                  <a:gd name="T13" fmla="*/ 657 h 762"/>
                  <a:gd name="T14" fmla="*/ 63 w 349"/>
                  <a:gd name="T15" fmla="*/ 588 h 762"/>
                  <a:gd name="T16" fmla="*/ 63 w 349"/>
                  <a:gd name="T17" fmla="*/ 520 h 762"/>
                  <a:gd name="T18" fmla="*/ 63 w 349"/>
                  <a:gd name="T19" fmla="*/ 451 h 762"/>
                  <a:gd name="T20" fmla="*/ 89 w 349"/>
                  <a:gd name="T21" fmla="*/ 363 h 762"/>
                  <a:gd name="T22" fmla="*/ 234 w 349"/>
                  <a:gd name="T23" fmla="*/ 207 h 762"/>
                  <a:gd name="T24" fmla="*/ 235 w 349"/>
                  <a:gd name="T25" fmla="*/ 142 h 762"/>
                  <a:gd name="T26" fmla="*/ 234 w 349"/>
                  <a:gd name="T27" fmla="*/ 93 h 762"/>
                  <a:gd name="T28" fmla="*/ 283 w 349"/>
                  <a:gd name="T29" fmla="*/ 88 h 762"/>
                  <a:gd name="T30" fmla="*/ 283 w 349"/>
                  <a:gd name="T31" fmla="*/ 372 h 762"/>
                  <a:gd name="T32" fmla="*/ 271 w 349"/>
                  <a:gd name="T33" fmla="*/ 457 h 762"/>
                  <a:gd name="T34" fmla="*/ 129 w 349"/>
                  <a:gd name="T35" fmla="*/ 578 h 762"/>
                  <a:gd name="T36" fmla="*/ 129 w 349"/>
                  <a:gd name="T37" fmla="*/ 668 h 762"/>
                  <a:gd name="T38" fmla="*/ 173 w 349"/>
                  <a:gd name="T39" fmla="*/ 614 h 762"/>
                  <a:gd name="T40" fmla="*/ 321 w 349"/>
                  <a:gd name="T41" fmla="*/ 465 h 762"/>
                  <a:gd name="T42" fmla="*/ 326 w 349"/>
                  <a:gd name="T43" fmla="*/ 100 h 762"/>
                  <a:gd name="T44" fmla="*/ 349 w 349"/>
                  <a:gd name="T45" fmla="*/ 47 h 762"/>
                  <a:gd name="T46" fmla="*/ 260 w 349"/>
                  <a:gd name="T47" fmla="*/ 39 h 762"/>
                  <a:gd name="T48" fmla="*/ 172 w 349"/>
                  <a:gd name="T49" fmla="*/ 51 h 762"/>
                  <a:gd name="T50" fmla="*/ 70 w 349"/>
                  <a:gd name="T51" fmla="*/ 717 h 762"/>
                  <a:gd name="T52" fmla="*/ 20 w 349"/>
                  <a:gd name="T53" fmla="*/ 717 h 762"/>
                  <a:gd name="T54" fmla="*/ 70 w 349"/>
                  <a:gd name="T55" fmla="*/ 717 h 762"/>
                  <a:gd name="T56" fmla="*/ 102 w 349"/>
                  <a:gd name="T57" fmla="*/ 623 h 762"/>
                  <a:gd name="T58" fmla="*/ 155 w 349"/>
                  <a:gd name="T59" fmla="*/ 623 h 762"/>
                  <a:gd name="T60" fmla="*/ 217 w 349"/>
                  <a:gd name="T61" fmla="*/ 24 h 762"/>
                  <a:gd name="T62" fmla="*/ 217 w 349"/>
                  <a:gd name="T63" fmla="*/ 77 h 762"/>
                  <a:gd name="T64" fmla="*/ 217 w 349"/>
                  <a:gd name="T65" fmla="*/ 24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9" h="762">
                    <a:moveTo>
                      <a:pt x="192" y="89"/>
                    </a:moveTo>
                    <a:cubicBezTo>
                      <a:pt x="192" y="94"/>
                      <a:pt x="192" y="99"/>
                      <a:pt x="192" y="104"/>
                    </a:cubicBezTo>
                    <a:cubicBezTo>
                      <a:pt x="192" y="110"/>
                      <a:pt x="192" y="115"/>
                      <a:pt x="192" y="121"/>
                    </a:cubicBezTo>
                    <a:cubicBezTo>
                      <a:pt x="192" y="138"/>
                      <a:pt x="192" y="156"/>
                      <a:pt x="192" y="173"/>
                    </a:cubicBezTo>
                    <a:cubicBezTo>
                      <a:pt x="193" y="179"/>
                      <a:pt x="194" y="185"/>
                      <a:pt x="191" y="190"/>
                    </a:cubicBezTo>
                    <a:cubicBezTo>
                      <a:pt x="193" y="200"/>
                      <a:pt x="187" y="206"/>
                      <a:pt x="181" y="212"/>
                    </a:cubicBezTo>
                    <a:cubicBezTo>
                      <a:pt x="138" y="255"/>
                      <a:pt x="96" y="299"/>
                      <a:pt x="51" y="341"/>
                    </a:cubicBezTo>
                    <a:cubicBezTo>
                      <a:pt x="30" y="362"/>
                      <a:pt x="17" y="384"/>
                      <a:pt x="19" y="413"/>
                    </a:cubicBezTo>
                    <a:cubicBezTo>
                      <a:pt x="22" y="419"/>
                      <a:pt x="20" y="666"/>
                      <a:pt x="19" y="681"/>
                    </a:cubicBezTo>
                    <a:cubicBezTo>
                      <a:pt x="8" y="689"/>
                      <a:pt x="0" y="702"/>
                      <a:pt x="0" y="717"/>
                    </a:cubicBezTo>
                    <a:cubicBezTo>
                      <a:pt x="0" y="742"/>
                      <a:pt x="20" y="762"/>
                      <a:pt x="45" y="762"/>
                    </a:cubicBezTo>
                    <a:cubicBezTo>
                      <a:pt x="70" y="762"/>
                      <a:pt x="90" y="742"/>
                      <a:pt x="90" y="717"/>
                    </a:cubicBezTo>
                    <a:cubicBezTo>
                      <a:pt x="90" y="699"/>
                      <a:pt x="79" y="683"/>
                      <a:pt x="62" y="676"/>
                    </a:cubicBezTo>
                    <a:cubicBezTo>
                      <a:pt x="63" y="670"/>
                      <a:pt x="63" y="664"/>
                      <a:pt x="63" y="657"/>
                    </a:cubicBezTo>
                    <a:cubicBezTo>
                      <a:pt x="63" y="652"/>
                      <a:pt x="63" y="646"/>
                      <a:pt x="63" y="640"/>
                    </a:cubicBezTo>
                    <a:cubicBezTo>
                      <a:pt x="63" y="623"/>
                      <a:pt x="63" y="606"/>
                      <a:pt x="63" y="588"/>
                    </a:cubicBezTo>
                    <a:cubicBezTo>
                      <a:pt x="63" y="583"/>
                      <a:pt x="63" y="577"/>
                      <a:pt x="63" y="571"/>
                    </a:cubicBezTo>
                    <a:cubicBezTo>
                      <a:pt x="63" y="554"/>
                      <a:pt x="63" y="537"/>
                      <a:pt x="63" y="520"/>
                    </a:cubicBezTo>
                    <a:cubicBezTo>
                      <a:pt x="63" y="514"/>
                      <a:pt x="63" y="508"/>
                      <a:pt x="63" y="503"/>
                    </a:cubicBezTo>
                    <a:cubicBezTo>
                      <a:pt x="63" y="485"/>
                      <a:pt x="63" y="468"/>
                      <a:pt x="63" y="451"/>
                    </a:cubicBezTo>
                    <a:cubicBezTo>
                      <a:pt x="63" y="446"/>
                      <a:pt x="63" y="440"/>
                      <a:pt x="63" y="434"/>
                    </a:cubicBezTo>
                    <a:cubicBezTo>
                      <a:pt x="58" y="405"/>
                      <a:pt x="66" y="384"/>
                      <a:pt x="89" y="363"/>
                    </a:cubicBezTo>
                    <a:cubicBezTo>
                      <a:pt x="130" y="326"/>
                      <a:pt x="168" y="285"/>
                      <a:pt x="209" y="245"/>
                    </a:cubicBezTo>
                    <a:cubicBezTo>
                      <a:pt x="220" y="234"/>
                      <a:pt x="228" y="222"/>
                      <a:pt x="234" y="207"/>
                    </a:cubicBezTo>
                    <a:cubicBezTo>
                      <a:pt x="234" y="202"/>
                      <a:pt x="234" y="198"/>
                      <a:pt x="235" y="193"/>
                    </a:cubicBezTo>
                    <a:cubicBezTo>
                      <a:pt x="235" y="176"/>
                      <a:pt x="235" y="159"/>
                      <a:pt x="235" y="142"/>
                    </a:cubicBezTo>
                    <a:cubicBezTo>
                      <a:pt x="235" y="136"/>
                      <a:pt x="235" y="130"/>
                      <a:pt x="235" y="125"/>
                    </a:cubicBezTo>
                    <a:cubicBezTo>
                      <a:pt x="235" y="114"/>
                      <a:pt x="234" y="104"/>
                      <a:pt x="234" y="93"/>
                    </a:cubicBezTo>
                    <a:cubicBezTo>
                      <a:pt x="248" y="87"/>
                      <a:pt x="258" y="74"/>
                      <a:pt x="261" y="59"/>
                    </a:cubicBezTo>
                    <a:cubicBezTo>
                      <a:pt x="264" y="72"/>
                      <a:pt x="272" y="82"/>
                      <a:pt x="283" y="88"/>
                    </a:cubicBezTo>
                    <a:cubicBezTo>
                      <a:pt x="283" y="91"/>
                      <a:pt x="283" y="94"/>
                      <a:pt x="283" y="96"/>
                    </a:cubicBezTo>
                    <a:cubicBezTo>
                      <a:pt x="283" y="114"/>
                      <a:pt x="283" y="366"/>
                      <a:pt x="283" y="372"/>
                    </a:cubicBezTo>
                    <a:cubicBezTo>
                      <a:pt x="283" y="390"/>
                      <a:pt x="283" y="407"/>
                      <a:pt x="283" y="424"/>
                    </a:cubicBezTo>
                    <a:cubicBezTo>
                      <a:pt x="286" y="438"/>
                      <a:pt x="280" y="448"/>
                      <a:pt x="271" y="457"/>
                    </a:cubicBezTo>
                    <a:cubicBezTo>
                      <a:pt x="229" y="499"/>
                      <a:pt x="188" y="540"/>
                      <a:pt x="146" y="582"/>
                    </a:cubicBezTo>
                    <a:cubicBezTo>
                      <a:pt x="141" y="580"/>
                      <a:pt x="135" y="578"/>
                      <a:pt x="129" y="578"/>
                    </a:cubicBezTo>
                    <a:cubicBezTo>
                      <a:pt x="103" y="578"/>
                      <a:pt x="83" y="598"/>
                      <a:pt x="83" y="623"/>
                    </a:cubicBezTo>
                    <a:cubicBezTo>
                      <a:pt x="83" y="648"/>
                      <a:pt x="103" y="668"/>
                      <a:pt x="129" y="668"/>
                    </a:cubicBezTo>
                    <a:cubicBezTo>
                      <a:pt x="154" y="668"/>
                      <a:pt x="175" y="648"/>
                      <a:pt x="175" y="623"/>
                    </a:cubicBezTo>
                    <a:cubicBezTo>
                      <a:pt x="175" y="620"/>
                      <a:pt x="174" y="617"/>
                      <a:pt x="173" y="614"/>
                    </a:cubicBezTo>
                    <a:cubicBezTo>
                      <a:pt x="196" y="594"/>
                      <a:pt x="216" y="572"/>
                      <a:pt x="237" y="551"/>
                    </a:cubicBezTo>
                    <a:cubicBezTo>
                      <a:pt x="265" y="523"/>
                      <a:pt x="295" y="496"/>
                      <a:pt x="321" y="465"/>
                    </a:cubicBezTo>
                    <a:cubicBezTo>
                      <a:pt x="323" y="458"/>
                      <a:pt x="325" y="451"/>
                      <a:pt x="326" y="445"/>
                    </a:cubicBezTo>
                    <a:cubicBezTo>
                      <a:pt x="326" y="428"/>
                      <a:pt x="326" y="104"/>
                      <a:pt x="326" y="100"/>
                    </a:cubicBezTo>
                    <a:cubicBezTo>
                      <a:pt x="326" y="96"/>
                      <a:pt x="326" y="92"/>
                      <a:pt x="326" y="88"/>
                    </a:cubicBezTo>
                    <a:cubicBezTo>
                      <a:pt x="339" y="80"/>
                      <a:pt x="349" y="65"/>
                      <a:pt x="349" y="47"/>
                    </a:cubicBezTo>
                    <a:cubicBezTo>
                      <a:pt x="349" y="21"/>
                      <a:pt x="329" y="0"/>
                      <a:pt x="304" y="0"/>
                    </a:cubicBezTo>
                    <a:cubicBezTo>
                      <a:pt x="282" y="0"/>
                      <a:pt x="264" y="17"/>
                      <a:pt x="260" y="39"/>
                    </a:cubicBezTo>
                    <a:cubicBezTo>
                      <a:pt x="255" y="19"/>
                      <a:pt x="238" y="5"/>
                      <a:pt x="217" y="5"/>
                    </a:cubicBezTo>
                    <a:cubicBezTo>
                      <a:pt x="192" y="5"/>
                      <a:pt x="172" y="25"/>
                      <a:pt x="172" y="51"/>
                    </a:cubicBezTo>
                    <a:cubicBezTo>
                      <a:pt x="172" y="66"/>
                      <a:pt x="180" y="81"/>
                      <a:pt x="192" y="89"/>
                    </a:cubicBezTo>
                    <a:close/>
                    <a:moveTo>
                      <a:pt x="70" y="717"/>
                    </a:moveTo>
                    <a:cubicBezTo>
                      <a:pt x="70" y="731"/>
                      <a:pt x="59" y="743"/>
                      <a:pt x="45" y="743"/>
                    </a:cubicBezTo>
                    <a:cubicBezTo>
                      <a:pt x="31" y="743"/>
                      <a:pt x="20" y="731"/>
                      <a:pt x="20" y="717"/>
                    </a:cubicBezTo>
                    <a:cubicBezTo>
                      <a:pt x="20" y="703"/>
                      <a:pt x="31" y="692"/>
                      <a:pt x="45" y="692"/>
                    </a:cubicBezTo>
                    <a:cubicBezTo>
                      <a:pt x="59" y="692"/>
                      <a:pt x="70" y="703"/>
                      <a:pt x="70" y="717"/>
                    </a:cubicBezTo>
                    <a:close/>
                    <a:moveTo>
                      <a:pt x="129" y="648"/>
                    </a:moveTo>
                    <a:cubicBezTo>
                      <a:pt x="114" y="648"/>
                      <a:pt x="102" y="637"/>
                      <a:pt x="102" y="623"/>
                    </a:cubicBezTo>
                    <a:cubicBezTo>
                      <a:pt x="102" y="609"/>
                      <a:pt x="114" y="598"/>
                      <a:pt x="129" y="598"/>
                    </a:cubicBezTo>
                    <a:cubicBezTo>
                      <a:pt x="143" y="598"/>
                      <a:pt x="155" y="609"/>
                      <a:pt x="155" y="623"/>
                    </a:cubicBezTo>
                    <a:cubicBezTo>
                      <a:pt x="155" y="637"/>
                      <a:pt x="143" y="648"/>
                      <a:pt x="129" y="648"/>
                    </a:cubicBezTo>
                    <a:close/>
                    <a:moveTo>
                      <a:pt x="217" y="24"/>
                    </a:moveTo>
                    <a:cubicBezTo>
                      <a:pt x="231" y="24"/>
                      <a:pt x="242" y="36"/>
                      <a:pt x="242" y="51"/>
                    </a:cubicBezTo>
                    <a:cubicBezTo>
                      <a:pt x="242" y="65"/>
                      <a:pt x="231" y="77"/>
                      <a:pt x="217" y="77"/>
                    </a:cubicBezTo>
                    <a:cubicBezTo>
                      <a:pt x="203" y="77"/>
                      <a:pt x="192" y="65"/>
                      <a:pt x="192" y="51"/>
                    </a:cubicBezTo>
                    <a:cubicBezTo>
                      <a:pt x="192" y="36"/>
                      <a:pt x="203" y="24"/>
                      <a:pt x="2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2" name="Freeform 16"/>
              <p:cNvSpPr>
                <a:spLocks noEditPoints="1"/>
              </p:cNvSpPr>
              <p:nvPr/>
            </p:nvSpPr>
            <p:spPr bwMode="gray">
              <a:xfrm>
                <a:off x="5044" y="756"/>
                <a:ext cx="424" cy="952"/>
              </a:xfrm>
              <a:custGeom>
                <a:avLst/>
                <a:gdLst>
                  <a:gd name="T0" fmla="*/ 24 w 179"/>
                  <a:gd name="T1" fmla="*/ 87 h 402"/>
                  <a:gd name="T2" fmla="*/ 24 w 179"/>
                  <a:gd name="T3" fmla="*/ 101 h 402"/>
                  <a:gd name="T4" fmla="*/ 24 w 179"/>
                  <a:gd name="T5" fmla="*/ 153 h 402"/>
                  <a:gd name="T6" fmla="*/ 24 w 179"/>
                  <a:gd name="T7" fmla="*/ 170 h 402"/>
                  <a:gd name="T8" fmla="*/ 24 w 179"/>
                  <a:gd name="T9" fmla="*/ 221 h 402"/>
                  <a:gd name="T10" fmla="*/ 24 w 179"/>
                  <a:gd name="T11" fmla="*/ 238 h 402"/>
                  <a:gd name="T12" fmla="*/ 31 w 179"/>
                  <a:gd name="T13" fmla="*/ 283 h 402"/>
                  <a:gd name="T14" fmla="*/ 41 w 179"/>
                  <a:gd name="T15" fmla="*/ 293 h 402"/>
                  <a:gd name="T16" fmla="*/ 66 w 179"/>
                  <a:gd name="T17" fmla="*/ 320 h 402"/>
                  <a:gd name="T18" fmla="*/ 68 w 179"/>
                  <a:gd name="T19" fmla="*/ 323 h 402"/>
                  <a:gd name="T20" fmla="*/ 91 w 179"/>
                  <a:gd name="T21" fmla="*/ 343 h 402"/>
                  <a:gd name="T22" fmla="*/ 89 w 179"/>
                  <a:gd name="T23" fmla="*/ 356 h 402"/>
                  <a:gd name="T24" fmla="*/ 134 w 179"/>
                  <a:gd name="T25" fmla="*/ 402 h 402"/>
                  <a:gd name="T26" fmla="*/ 179 w 179"/>
                  <a:gd name="T27" fmla="*/ 356 h 402"/>
                  <a:gd name="T28" fmla="*/ 134 w 179"/>
                  <a:gd name="T29" fmla="*/ 310 h 402"/>
                  <a:gd name="T30" fmla="*/ 119 w 179"/>
                  <a:gd name="T31" fmla="*/ 313 h 402"/>
                  <a:gd name="T32" fmla="*/ 102 w 179"/>
                  <a:gd name="T33" fmla="*/ 294 h 402"/>
                  <a:gd name="T34" fmla="*/ 95 w 179"/>
                  <a:gd name="T35" fmla="*/ 287 h 402"/>
                  <a:gd name="T36" fmla="*/ 68 w 179"/>
                  <a:gd name="T37" fmla="*/ 259 h 402"/>
                  <a:gd name="T38" fmla="*/ 68 w 179"/>
                  <a:gd name="T39" fmla="*/ 242 h 402"/>
                  <a:gd name="T40" fmla="*/ 68 w 179"/>
                  <a:gd name="T41" fmla="*/ 190 h 402"/>
                  <a:gd name="T42" fmla="*/ 68 w 179"/>
                  <a:gd name="T43" fmla="*/ 173 h 402"/>
                  <a:gd name="T44" fmla="*/ 68 w 179"/>
                  <a:gd name="T45" fmla="*/ 122 h 402"/>
                  <a:gd name="T46" fmla="*/ 68 w 179"/>
                  <a:gd name="T47" fmla="*/ 104 h 402"/>
                  <a:gd name="T48" fmla="*/ 67 w 179"/>
                  <a:gd name="T49" fmla="*/ 86 h 402"/>
                  <a:gd name="T50" fmla="*/ 89 w 179"/>
                  <a:gd name="T51" fmla="*/ 46 h 402"/>
                  <a:gd name="T52" fmla="*/ 45 w 179"/>
                  <a:gd name="T53" fmla="*/ 0 h 402"/>
                  <a:gd name="T54" fmla="*/ 0 w 179"/>
                  <a:gd name="T55" fmla="*/ 46 h 402"/>
                  <a:gd name="T56" fmla="*/ 24 w 179"/>
                  <a:gd name="T57" fmla="*/ 87 h 402"/>
                  <a:gd name="T58" fmla="*/ 134 w 179"/>
                  <a:gd name="T59" fmla="*/ 330 h 402"/>
                  <a:gd name="T60" fmla="*/ 160 w 179"/>
                  <a:gd name="T61" fmla="*/ 356 h 402"/>
                  <a:gd name="T62" fmla="*/ 134 w 179"/>
                  <a:gd name="T63" fmla="*/ 383 h 402"/>
                  <a:gd name="T64" fmla="*/ 109 w 179"/>
                  <a:gd name="T65" fmla="*/ 356 h 402"/>
                  <a:gd name="T66" fmla="*/ 134 w 179"/>
                  <a:gd name="T67" fmla="*/ 330 h 402"/>
                  <a:gd name="T68" fmla="*/ 45 w 179"/>
                  <a:gd name="T69" fmla="*/ 20 h 402"/>
                  <a:gd name="T70" fmla="*/ 70 w 179"/>
                  <a:gd name="T71" fmla="*/ 46 h 402"/>
                  <a:gd name="T72" fmla="*/ 45 w 179"/>
                  <a:gd name="T73" fmla="*/ 73 h 402"/>
                  <a:gd name="T74" fmla="*/ 19 w 179"/>
                  <a:gd name="T75" fmla="*/ 46 h 402"/>
                  <a:gd name="T76" fmla="*/ 45 w 179"/>
                  <a:gd name="T77" fmla="*/ 2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9" h="402">
                    <a:moveTo>
                      <a:pt x="24" y="87"/>
                    </a:moveTo>
                    <a:cubicBezTo>
                      <a:pt x="24" y="92"/>
                      <a:pt x="24" y="96"/>
                      <a:pt x="24" y="101"/>
                    </a:cubicBezTo>
                    <a:cubicBezTo>
                      <a:pt x="24" y="118"/>
                      <a:pt x="24" y="135"/>
                      <a:pt x="24" y="153"/>
                    </a:cubicBezTo>
                    <a:cubicBezTo>
                      <a:pt x="24" y="158"/>
                      <a:pt x="24" y="164"/>
                      <a:pt x="24" y="170"/>
                    </a:cubicBezTo>
                    <a:cubicBezTo>
                      <a:pt x="24" y="186"/>
                      <a:pt x="24" y="204"/>
                      <a:pt x="24" y="221"/>
                    </a:cubicBezTo>
                    <a:cubicBezTo>
                      <a:pt x="24" y="227"/>
                      <a:pt x="24" y="233"/>
                      <a:pt x="24" y="238"/>
                    </a:cubicBezTo>
                    <a:cubicBezTo>
                      <a:pt x="24" y="253"/>
                      <a:pt x="25" y="269"/>
                      <a:pt x="31" y="283"/>
                    </a:cubicBezTo>
                    <a:cubicBezTo>
                      <a:pt x="34" y="287"/>
                      <a:pt x="38" y="289"/>
                      <a:pt x="41" y="293"/>
                    </a:cubicBezTo>
                    <a:cubicBezTo>
                      <a:pt x="49" y="303"/>
                      <a:pt x="57" y="312"/>
                      <a:pt x="66" y="320"/>
                    </a:cubicBezTo>
                    <a:cubicBezTo>
                      <a:pt x="67" y="321"/>
                      <a:pt x="68" y="322"/>
                      <a:pt x="68" y="323"/>
                    </a:cubicBezTo>
                    <a:cubicBezTo>
                      <a:pt x="76" y="329"/>
                      <a:pt x="84" y="336"/>
                      <a:pt x="91" y="343"/>
                    </a:cubicBezTo>
                    <a:cubicBezTo>
                      <a:pt x="90" y="347"/>
                      <a:pt x="89" y="352"/>
                      <a:pt x="89" y="356"/>
                    </a:cubicBezTo>
                    <a:cubicBezTo>
                      <a:pt x="89" y="382"/>
                      <a:pt x="109" y="402"/>
                      <a:pt x="134" y="402"/>
                    </a:cubicBezTo>
                    <a:cubicBezTo>
                      <a:pt x="159" y="402"/>
                      <a:pt x="179" y="382"/>
                      <a:pt x="179" y="356"/>
                    </a:cubicBezTo>
                    <a:cubicBezTo>
                      <a:pt x="179" y="331"/>
                      <a:pt x="159" y="310"/>
                      <a:pt x="134" y="310"/>
                    </a:cubicBezTo>
                    <a:cubicBezTo>
                      <a:pt x="129" y="310"/>
                      <a:pt x="124" y="312"/>
                      <a:pt x="119" y="313"/>
                    </a:cubicBezTo>
                    <a:cubicBezTo>
                      <a:pt x="113" y="307"/>
                      <a:pt x="107" y="300"/>
                      <a:pt x="102" y="294"/>
                    </a:cubicBezTo>
                    <a:cubicBezTo>
                      <a:pt x="99" y="292"/>
                      <a:pt x="97" y="289"/>
                      <a:pt x="95" y="287"/>
                    </a:cubicBezTo>
                    <a:cubicBezTo>
                      <a:pt x="85" y="278"/>
                      <a:pt x="76" y="270"/>
                      <a:pt x="68" y="259"/>
                    </a:cubicBezTo>
                    <a:cubicBezTo>
                      <a:pt x="65" y="253"/>
                      <a:pt x="65" y="248"/>
                      <a:pt x="68" y="242"/>
                    </a:cubicBezTo>
                    <a:cubicBezTo>
                      <a:pt x="68" y="225"/>
                      <a:pt x="68" y="208"/>
                      <a:pt x="68" y="190"/>
                    </a:cubicBezTo>
                    <a:cubicBezTo>
                      <a:pt x="65" y="184"/>
                      <a:pt x="65" y="179"/>
                      <a:pt x="68" y="173"/>
                    </a:cubicBezTo>
                    <a:cubicBezTo>
                      <a:pt x="68" y="156"/>
                      <a:pt x="68" y="139"/>
                      <a:pt x="68" y="122"/>
                    </a:cubicBezTo>
                    <a:cubicBezTo>
                      <a:pt x="65" y="116"/>
                      <a:pt x="65" y="110"/>
                      <a:pt x="68" y="104"/>
                    </a:cubicBezTo>
                    <a:cubicBezTo>
                      <a:pt x="66" y="98"/>
                      <a:pt x="67" y="92"/>
                      <a:pt x="67" y="86"/>
                    </a:cubicBezTo>
                    <a:cubicBezTo>
                      <a:pt x="80" y="78"/>
                      <a:pt x="89" y="63"/>
                      <a:pt x="89" y="46"/>
                    </a:cubicBezTo>
                    <a:cubicBezTo>
                      <a:pt x="89" y="21"/>
                      <a:pt x="69" y="0"/>
                      <a:pt x="45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64"/>
                      <a:pt x="10" y="79"/>
                      <a:pt x="24" y="87"/>
                    </a:cubicBezTo>
                    <a:close/>
                    <a:moveTo>
                      <a:pt x="134" y="330"/>
                    </a:moveTo>
                    <a:cubicBezTo>
                      <a:pt x="148" y="330"/>
                      <a:pt x="160" y="342"/>
                      <a:pt x="160" y="356"/>
                    </a:cubicBezTo>
                    <a:cubicBezTo>
                      <a:pt x="160" y="371"/>
                      <a:pt x="148" y="383"/>
                      <a:pt x="134" y="383"/>
                    </a:cubicBezTo>
                    <a:cubicBezTo>
                      <a:pt x="120" y="383"/>
                      <a:pt x="109" y="371"/>
                      <a:pt x="109" y="356"/>
                    </a:cubicBezTo>
                    <a:cubicBezTo>
                      <a:pt x="109" y="342"/>
                      <a:pt x="120" y="330"/>
                      <a:pt x="134" y="330"/>
                    </a:cubicBezTo>
                    <a:close/>
                    <a:moveTo>
                      <a:pt x="45" y="20"/>
                    </a:moveTo>
                    <a:cubicBezTo>
                      <a:pt x="59" y="20"/>
                      <a:pt x="70" y="32"/>
                      <a:pt x="70" y="46"/>
                    </a:cubicBezTo>
                    <a:cubicBezTo>
                      <a:pt x="70" y="61"/>
                      <a:pt x="59" y="73"/>
                      <a:pt x="45" y="73"/>
                    </a:cubicBezTo>
                    <a:cubicBezTo>
                      <a:pt x="31" y="73"/>
                      <a:pt x="19" y="61"/>
                      <a:pt x="19" y="46"/>
                    </a:cubicBezTo>
                    <a:cubicBezTo>
                      <a:pt x="19" y="32"/>
                      <a:pt x="31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3" name="Freeform 17"/>
              <p:cNvSpPr>
                <a:spLocks noEditPoints="1"/>
              </p:cNvSpPr>
              <p:nvPr/>
            </p:nvSpPr>
            <p:spPr bwMode="gray">
              <a:xfrm>
                <a:off x="2179" y="747"/>
                <a:ext cx="378" cy="1384"/>
              </a:xfrm>
              <a:custGeom>
                <a:avLst/>
                <a:gdLst>
                  <a:gd name="T0" fmla="*/ 115 w 160"/>
                  <a:gd name="T1" fmla="*/ 496 h 585"/>
                  <a:gd name="T2" fmla="*/ 109 w 160"/>
                  <a:gd name="T3" fmla="*/ 497 h 585"/>
                  <a:gd name="T4" fmla="*/ 95 w 160"/>
                  <a:gd name="T5" fmla="*/ 481 h 585"/>
                  <a:gd name="T6" fmla="*/ 88 w 160"/>
                  <a:gd name="T7" fmla="*/ 474 h 585"/>
                  <a:gd name="T8" fmla="*/ 68 w 160"/>
                  <a:gd name="T9" fmla="*/ 440 h 585"/>
                  <a:gd name="T10" fmla="*/ 68 w 160"/>
                  <a:gd name="T11" fmla="*/ 88 h 585"/>
                  <a:gd name="T12" fmla="*/ 92 w 160"/>
                  <a:gd name="T13" fmla="*/ 47 h 585"/>
                  <a:gd name="T14" fmla="*/ 46 w 160"/>
                  <a:gd name="T15" fmla="*/ 0 h 585"/>
                  <a:gd name="T16" fmla="*/ 0 w 160"/>
                  <a:gd name="T17" fmla="*/ 47 h 585"/>
                  <a:gd name="T18" fmla="*/ 25 w 160"/>
                  <a:gd name="T19" fmla="*/ 88 h 585"/>
                  <a:gd name="T20" fmla="*/ 27 w 160"/>
                  <a:gd name="T21" fmla="*/ 466 h 585"/>
                  <a:gd name="T22" fmla="*/ 35 w 160"/>
                  <a:gd name="T23" fmla="*/ 481 h 585"/>
                  <a:gd name="T24" fmla="*/ 57 w 160"/>
                  <a:gd name="T25" fmla="*/ 505 h 585"/>
                  <a:gd name="T26" fmla="*/ 67 w 160"/>
                  <a:gd name="T27" fmla="*/ 515 h 585"/>
                  <a:gd name="T28" fmla="*/ 75 w 160"/>
                  <a:gd name="T29" fmla="*/ 522 h 585"/>
                  <a:gd name="T30" fmla="*/ 71 w 160"/>
                  <a:gd name="T31" fmla="*/ 541 h 585"/>
                  <a:gd name="T32" fmla="*/ 115 w 160"/>
                  <a:gd name="T33" fmla="*/ 585 h 585"/>
                  <a:gd name="T34" fmla="*/ 160 w 160"/>
                  <a:gd name="T35" fmla="*/ 541 h 585"/>
                  <a:gd name="T36" fmla="*/ 115 w 160"/>
                  <a:gd name="T37" fmla="*/ 496 h 585"/>
                  <a:gd name="T38" fmla="*/ 20 w 160"/>
                  <a:gd name="T39" fmla="*/ 47 h 585"/>
                  <a:gd name="T40" fmla="*/ 46 w 160"/>
                  <a:gd name="T41" fmla="*/ 19 h 585"/>
                  <a:gd name="T42" fmla="*/ 73 w 160"/>
                  <a:gd name="T43" fmla="*/ 47 h 585"/>
                  <a:gd name="T44" fmla="*/ 46 w 160"/>
                  <a:gd name="T45" fmla="*/ 75 h 585"/>
                  <a:gd name="T46" fmla="*/ 20 w 160"/>
                  <a:gd name="T47" fmla="*/ 47 h 585"/>
                  <a:gd name="T48" fmla="*/ 115 w 160"/>
                  <a:gd name="T49" fmla="*/ 566 h 585"/>
                  <a:gd name="T50" fmla="*/ 90 w 160"/>
                  <a:gd name="T51" fmla="*/ 541 h 585"/>
                  <a:gd name="T52" fmla="*/ 115 w 160"/>
                  <a:gd name="T53" fmla="*/ 515 h 585"/>
                  <a:gd name="T54" fmla="*/ 141 w 160"/>
                  <a:gd name="T55" fmla="*/ 541 h 585"/>
                  <a:gd name="T56" fmla="*/ 115 w 160"/>
                  <a:gd name="T57" fmla="*/ 566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585">
                    <a:moveTo>
                      <a:pt x="115" y="496"/>
                    </a:moveTo>
                    <a:cubicBezTo>
                      <a:pt x="113" y="496"/>
                      <a:pt x="111" y="496"/>
                      <a:pt x="109" y="497"/>
                    </a:cubicBezTo>
                    <a:cubicBezTo>
                      <a:pt x="104" y="491"/>
                      <a:pt x="100" y="486"/>
                      <a:pt x="95" y="481"/>
                    </a:cubicBezTo>
                    <a:cubicBezTo>
                      <a:pt x="91" y="480"/>
                      <a:pt x="89" y="477"/>
                      <a:pt x="88" y="474"/>
                    </a:cubicBezTo>
                    <a:cubicBezTo>
                      <a:pt x="77" y="465"/>
                      <a:pt x="63" y="457"/>
                      <a:pt x="68" y="440"/>
                    </a:cubicBezTo>
                    <a:cubicBezTo>
                      <a:pt x="67" y="434"/>
                      <a:pt x="68" y="91"/>
                      <a:pt x="68" y="88"/>
                    </a:cubicBezTo>
                    <a:cubicBezTo>
                      <a:pt x="82" y="80"/>
                      <a:pt x="92" y="65"/>
                      <a:pt x="92" y="47"/>
                    </a:cubicBezTo>
                    <a:cubicBezTo>
                      <a:pt x="92" y="21"/>
                      <a:pt x="72" y="0"/>
                      <a:pt x="46" y="0"/>
                    </a:cubicBezTo>
                    <a:cubicBezTo>
                      <a:pt x="21" y="0"/>
                      <a:pt x="0" y="21"/>
                      <a:pt x="0" y="47"/>
                    </a:cubicBezTo>
                    <a:cubicBezTo>
                      <a:pt x="0" y="65"/>
                      <a:pt x="10" y="80"/>
                      <a:pt x="25" y="88"/>
                    </a:cubicBezTo>
                    <a:cubicBezTo>
                      <a:pt x="25" y="101"/>
                      <a:pt x="26" y="450"/>
                      <a:pt x="27" y="466"/>
                    </a:cubicBezTo>
                    <a:cubicBezTo>
                      <a:pt x="30" y="471"/>
                      <a:pt x="32" y="476"/>
                      <a:pt x="35" y="481"/>
                    </a:cubicBezTo>
                    <a:cubicBezTo>
                      <a:pt x="42" y="489"/>
                      <a:pt x="49" y="497"/>
                      <a:pt x="57" y="505"/>
                    </a:cubicBezTo>
                    <a:cubicBezTo>
                      <a:pt x="60" y="508"/>
                      <a:pt x="63" y="512"/>
                      <a:pt x="67" y="515"/>
                    </a:cubicBezTo>
                    <a:cubicBezTo>
                      <a:pt x="69" y="518"/>
                      <a:pt x="72" y="520"/>
                      <a:pt x="75" y="522"/>
                    </a:cubicBezTo>
                    <a:cubicBezTo>
                      <a:pt x="72" y="528"/>
                      <a:pt x="71" y="534"/>
                      <a:pt x="71" y="541"/>
                    </a:cubicBezTo>
                    <a:cubicBezTo>
                      <a:pt x="71" y="565"/>
                      <a:pt x="91" y="585"/>
                      <a:pt x="115" y="585"/>
                    </a:cubicBezTo>
                    <a:cubicBezTo>
                      <a:pt x="140" y="585"/>
                      <a:pt x="160" y="565"/>
                      <a:pt x="160" y="541"/>
                    </a:cubicBezTo>
                    <a:cubicBezTo>
                      <a:pt x="160" y="516"/>
                      <a:pt x="140" y="496"/>
                      <a:pt x="115" y="496"/>
                    </a:cubicBezTo>
                    <a:close/>
                    <a:moveTo>
                      <a:pt x="20" y="47"/>
                    </a:moveTo>
                    <a:cubicBezTo>
                      <a:pt x="20" y="32"/>
                      <a:pt x="32" y="19"/>
                      <a:pt x="46" y="19"/>
                    </a:cubicBezTo>
                    <a:cubicBezTo>
                      <a:pt x="61" y="19"/>
                      <a:pt x="73" y="32"/>
                      <a:pt x="73" y="47"/>
                    </a:cubicBezTo>
                    <a:cubicBezTo>
                      <a:pt x="73" y="62"/>
                      <a:pt x="61" y="75"/>
                      <a:pt x="46" y="75"/>
                    </a:cubicBezTo>
                    <a:cubicBezTo>
                      <a:pt x="32" y="75"/>
                      <a:pt x="20" y="62"/>
                      <a:pt x="20" y="47"/>
                    </a:cubicBezTo>
                    <a:close/>
                    <a:moveTo>
                      <a:pt x="115" y="566"/>
                    </a:moveTo>
                    <a:cubicBezTo>
                      <a:pt x="101" y="566"/>
                      <a:pt x="90" y="555"/>
                      <a:pt x="90" y="541"/>
                    </a:cubicBezTo>
                    <a:cubicBezTo>
                      <a:pt x="90" y="527"/>
                      <a:pt x="101" y="515"/>
                      <a:pt x="115" y="515"/>
                    </a:cubicBezTo>
                    <a:cubicBezTo>
                      <a:pt x="129" y="515"/>
                      <a:pt x="141" y="527"/>
                      <a:pt x="141" y="541"/>
                    </a:cubicBezTo>
                    <a:cubicBezTo>
                      <a:pt x="141" y="555"/>
                      <a:pt x="129" y="566"/>
                      <a:pt x="115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4" name="Freeform 18"/>
              <p:cNvSpPr>
                <a:spLocks noEditPoints="1"/>
              </p:cNvSpPr>
              <p:nvPr/>
            </p:nvSpPr>
            <p:spPr bwMode="gray">
              <a:xfrm>
                <a:off x="2420" y="311"/>
                <a:ext cx="939" cy="1707"/>
              </a:xfrm>
              <a:custGeom>
                <a:avLst/>
                <a:gdLst>
                  <a:gd name="T0" fmla="*/ 162 w 397"/>
                  <a:gd name="T1" fmla="*/ 675 h 721"/>
                  <a:gd name="T2" fmla="*/ 137 w 397"/>
                  <a:gd name="T3" fmla="*/ 634 h 721"/>
                  <a:gd name="T4" fmla="*/ 137 w 397"/>
                  <a:gd name="T5" fmla="*/ 592 h 721"/>
                  <a:gd name="T6" fmla="*/ 135 w 397"/>
                  <a:gd name="T7" fmla="*/ 580 h 721"/>
                  <a:gd name="T8" fmla="*/ 111 w 397"/>
                  <a:gd name="T9" fmla="*/ 548 h 721"/>
                  <a:gd name="T10" fmla="*/ 104 w 397"/>
                  <a:gd name="T11" fmla="*/ 541 h 721"/>
                  <a:gd name="T12" fmla="*/ 76 w 397"/>
                  <a:gd name="T13" fmla="*/ 513 h 721"/>
                  <a:gd name="T14" fmla="*/ 70 w 397"/>
                  <a:gd name="T15" fmla="*/ 506 h 721"/>
                  <a:gd name="T16" fmla="*/ 46 w 397"/>
                  <a:gd name="T17" fmla="*/ 482 h 721"/>
                  <a:gd name="T18" fmla="*/ 44 w 397"/>
                  <a:gd name="T19" fmla="*/ 460 h 721"/>
                  <a:gd name="T20" fmla="*/ 44 w 397"/>
                  <a:gd name="T21" fmla="*/ 409 h 721"/>
                  <a:gd name="T22" fmla="*/ 44 w 397"/>
                  <a:gd name="T23" fmla="*/ 392 h 721"/>
                  <a:gd name="T24" fmla="*/ 44 w 397"/>
                  <a:gd name="T25" fmla="*/ 340 h 721"/>
                  <a:gd name="T26" fmla="*/ 43 w 397"/>
                  <a:gd name="T27" fmla="*/ 322 h 721"/>
                  <a:gd name="T28" fmla="*/ 43 w 397"/>
                  <a:gd name="T29" fmla="*/ 285 h 721"/>
                  <a:gd name="T30" fmla="*/ 61 w 397"/>
                  <a:gd name="T31" fmla="*/ 267 h 721"/>
                  <a:gd name="T32" fmla="*/ 95 w 397"/>
                  <a:gd name="T33" fmla="*/ 268 h 721"/>
                  <a:gd name="T34" fmla="*/ 112 w 397"/>
                  <a:gd name="T35" fmla="*/ 269 h 721"/>
                  <a:gd name="T36" fmla="*/ 167 w 397"/>
                  <a:gd name="T37" fmla="*/ 261 h 721"/>
                  <a:gd name="T38" fmla="*/ 343 w 397"/>
                  <a:gd name="T39" fmla="*/ 85 h 721"/>
                  <a:gd name="T40" fmla="*/ 353 w 397"/>
                  <a:gd name="T41" fmla="*/ 87 h 721"/>
                  <a:gd name="T42" fmla="*/ 397 w 397"/>
                  <a:gd name="T43" fmla="*/ 43 h 721"/>
                  <a:gd name="T44" fmla="*/ 353 w 397"/>
                  <a:gd name="T45" fmla="*/ 0 h 721"/>
                  <a:gd name="T46" fmla="*/ 310 w 397"/>
                  <a:gd name="T47" fmla="*/ 43 h 721"/>
                  <a:gd name="T48" fmla="*/ 313 w 397"/>
                  <a:gd name="T49" fmla="*/ 59 h 721"/>
                  <a:gd name="T50" fmla="*/ 179 w 397"/>
                  <a:gd name="T51" fmla="*/ 193 h 721"/>
                  <a:gd name="T52" fmla="*/ 91 w 397"/>
                  <a:gd name="T53" fmla="*/ 225 h 721"/>
                  <a:gd name="T54" fmla="*/ 74 w 397"/>
                  <a:gd name="T55" fmla="*/ 225 h 721"/>
                  <a:gd name="T56" fmla="*/ 57 w 397"/>
                  <a:gd name="T57" fmla="*/ 226 h 721"/>
                  <a:gd name="T58" fmla="*/ 1 w 397"/>
                  <a:gd name="T59" fmla="*/ 283 h 721"/>
                  <a:gd name="T60" fmla="*/ 0 w 397"/>
                  <a:gd name="T61" fmla="*/ 301 h 721"/>
                  <a:gd name="T62" fmla="*/ 1 w 397"/>
                  <a:gd name="T63" fmla="*/ 319 h 721"/>
                  <a:gd name="T64" fmla="*/ 0 w 397"/>
                  <a:gd name="T65" fmla="*/ 370 h 721"/>
                  <a:gd name="T66" fmla="*/ 1 w 397"/>
                  <a:gd name="T67" fmla="*/ 388 h 721"/>
                  <a:gd name="T68" fmla="*/ 0 w 397"/>
                  <a:gd name="T69" fmla="*/ 440 h 721"/>
                  <a:gd name="T70" fmla="*/ 1 w 397"/>
                  <a:gd name="T71" fmla="*/ 457 h 721"/>
                  <a:gd name="T72" fmla="*/ 7 w 397"/>
                  <a:gd name="T73" fmla="*/ 502 h 721"/>
                  <a:gd name="T74" fmla="*/ 15 w 397"/>
                  <a:gd name="T75" fmla="*/ 512 h 721"/>
                  <a:gd name="T76" fmla="*/ 36 w 397"/>
                  <a:gd name="T77" fmla="*/ 536 h 721"/>
                  <a:gd name="T78" fmla="*/ 47 w 397"/>
                  <a:gd name="T79" fmla="*/ 546 h 721"/>
                  <a:gd name="T80" fmla="*/ 71 w 397"/>
                  <a:gd name="T81" fmla="*/ 570 h 721"/>
                  <a:gd name="T82" fmla="*/ 82 w 397"/>
                  <a:gd name="T83" fmla="*/ 581 h 721"/>
                  <a:gd name="T84" fmla="*/ 95 w 397"/>
                  <a:gd name="T85" fmla="*/ 608 h 721"/>
                  <a:gd name="T86" fmla="*/ 94 w 397"/>
                  <a:gd name="T87" fmla="*/ 634 h 721"/>
                  <a:gd name="T88" fmla="*/ 68 w 397"/>
                  <a:gd name="T89" fmla="*/ 675 h 721"/>
                  <a:gd name="T90" fmla="*/ 115 w 397"/>
                  <a:gd name="T91" fmla="*/ 721 h 721"/>
                  <a:gd name="T92" fmla="*/ 162 w 397"/>
                  <a:gd name="T93" fmla="*/ 675 h 721"/>
                  <a:gd name="T94" fmla="*/ 353 w 397"/>
                  <a:gd name="T95" fmla="*/ 19 h 721"/>
                  <a:gd name="T96" fmla="*/ 378 w 397"/>
                  <a:gd name="T97" fmla="*/ 43 h 721"/>
                  <a:gd name="T98" fmla="*/ 353 w 397"/>
                  <a:gd name="T99" fmla="*/ 67 h 721"/>
                  <a:gd name="T100" fmla="*/ 329 w 397"/>
                  <a:gd name="T101" fmla="*/ 43 h 721"/>
                  <a:gd name="T102" fmla="*/ 353 w 397"/>
                  <a:gd name="T103" fmla="*/ 19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7" h="721">
                    <a:moveTo>
                      <a:pt x="162" y="675"/>
                    </a:moveTo>
                    <a:cubicBezTo>
                      <a:pt x="162" y="657"/>
                      <a:pt x="152" y="642"/>
                      <a:pt x="137" y="634"/>
                    </a:cubicBezTo>
                    <a:cubicBezTo>
                      <a:pt x="137" y="620"/>
                      <a:pt x="137" y="606"/>
                      <a:pt x="137" y="592"/>
                    </a:cubicBezTo>
                    <a:cubicBezTo>
                      <a:pt x="136" y="587"/>
                      <a:pt x="135" y="584"/>
                      <a:pt x="135" y="580"/>
                    </a:cubicBezTo>
                    <a:cubicBezTo>
                      <a:pt x="129" y="567"/>
                      <a:pt x="120" y="557"/>
                      <a:pt x="111" y="548"/>
                    </a:cubicBezTo>
                    <a:cubicBezTo>
                      <a:pt x="109" y="545"/>
                      <a:pt x="106" y="543"/>
                      <a:pt x="104" y="541"/>
                    </a:cubicBezTo>
                    <a:cubicBezTo>
                      <a:pt x="94" y="533"/>
                      <a:pt x="84" y="523"/>
                      <a:pt x="76" y="513"/>
                    </a:cubicBezTo>
                    <a:cubicBezTo>
                      <a:pt x="74" y="511"/>
                      <a:pt x="72" y="508"/>
                      <a:pt x="70" y="506"/>
                    </a:cubicBezTo>
                    <a:cubicBezTo>
                      <a:pt x="61" y="499"/>
                      <a:pt x="53" y="491"/>
                      <a:pt x="46" y="482"/>
                    </a:cubicBezTo>
                    <a:cubicBezTo>
                      <a:pt x="41" y="475"/>
                      <a:pt x="44" y="468"/>
                      <a:pt x="44" y="460"/>
                    </a:cubicBezTo>
                    <a:cubicBezTo>
                      <a:pt x="44" y="443"/>
                      <a:pt x="44" y="426"/>
                      <a:pt x="44" y="409"/>
                    </a:cubicBezTo>
                    <a:cubicBezTo>
                      <a:pt x="44" y="403"/>
                      <a:pt x="44" y="397"/>
                      <a:pt x="44" y="392"/>
                    </a:cubicBezTo>
                    <a:cubicBezTo>
                      <a:pt x="44" y="374"/>
                      <a:pt x="44" y="357"/>
                      <a:pt x="44" y="340"/>
                    </a:cubicBezTo>
                    <a:cubicBezTo>
                      <a:pt x="44" y="334"/>
                      <a:pt x="44" y="328"/>
                      <a:pt x="43" y="322"/>
                    </a:cubicBezTo>
                    <a:cubicBezTo>
                      <a:pt x="43" y="309"/>
                      <a:pt x="43" y="297"/>
                      <a:pt x="43" y="285"/>
                    </a:cubicBezTo>
                    <a:cubicBezTo>
                      <a:pt x="42" y="272"/>
                      <a:pt x="49" y="267"/>
                      <a:pt x="61" y="267"/>
                    </a:cubicBezTo>
                    <a:cubicBezTo>
                      <a:pt x="72" y="268"/>
                      <a:pt x="83" y="268"/>
                      <a:pt x="95" y="268"/>
                    </a:cubicBezTo>
                    <a:cubicBezTo>
                      <a:pt x="101" y="267"/>
                      <a:pt x="106" y="267"/>
                      <a:pt x="112" y="269"/>
                    </a:cubicBezTo>
                    <a:cubicBezTo>
                      <a:pt x="130" y="266"/>
                      <a:pt x="149" y="271"/>
                      <a:pt x="167" y="261"/>
                    </a:cubicBezTo>
                    <a:cubicBezTo>
                      <a:pt x="226" y="203"/>
                      <a:pt x="284" y="144"/>
                      <a:pt x="343" y="85"/>
                    </a:cubicBezTo>
                    <a:cubicBezTo>
                      <a:pt x="346" y="86"/>
                      <a:pt x="350" y="87"/>
                      <a:pt x="353" y="87"/>
                    </a:cubicBezTo>
                    <a:cubicBezTo>
                      <a:pt x="377" y="87"/>
                      <a:pt x="397" y="67"/>
                      <a:pt x="397" y="43"/>
                    </a:cubicBezTo>
                    <a:cubicBezTo>
                      <a:pt x="397" y="19"/>
                      <a:pt x="377" y="0"/>
                      <a:pt x="353" y="0"/>
                    </a:cubicBezTo>
                    <a:cubicBezTo>
                      <a:pt x="329" y="0"/>
                      <a:pt x="310" y="19"/>
                      <a:pt x="310" y="43"/>
                    </a:cubicBezTo>
                    <a:cubicBezTo>
                      <a:pt x="310" y="49"/>
                      <a:pt x="311" y="54"/>
                      <a:pt x="313" y="59"/>
                    </a:cubicBezTo>
                    <a:cubicBezTo>
                      <a:pt x="268" y="103"/>
                      <a:pt x="221" y="146"/>
                      <a:pt x="179" y="193"/>
                    </a:cubicBezTo>
                    <a:cubicBezTo>
                      <a:pt x="154" y="221"/>
                      <a:pt x="126" y="232"/>
                      <a:pt x="91" y="225"/>
                    </a:cubicBezTo>
                    <a:cubicBezTo>
                      <a:pt x="86" y="225"/>
                      <a:pt x="80" y="225"/>
                      <a:pt x="74" y="225"/>
                    </a:cubicBezTo>
                    <a:cubicBezTo>
                      <a:pt x="68" y="225"/>
                      <a:pt x="62" y="226"/>
                      <a:pt x="57" y="226"/>
                    </a:cubicBezTo>
                    <a:cubicBezTo>
                      <a:pt x="23" y="227"/>
                      <a:pt x="2" y="249"/>
                      <a:pt x="1" y="283"/>
                    </a:cubicBezTo>
                    <a:cubicBezTo>
                      <a:pt x="1" y="289"/>
                      <a:pt x="1" y="295"/>
                      <a:pt x="0" y="301"/>
                    </a:cubicBezTo>
                    <a:cubicBezTo>
                      <a:pt x="1" y="307"/>
                      <a:pt x="1" y="313"/>
                      <a:pt x="1" y="319"/>
                    </a:cubicBezTo>
                    <a:cubicBezTo>
                      <a:pt x="1" y="336"/>
                      <a:pt x="1" y="353"/>
                      <a:pt x="0" y="370"/>
                    </a:cubicBezTo>
                    <a:cubicBezTo>
                      <a:pt x="1" y="376"/>
                      <a:pt x="1" y="382"/>
                      <a:pt x="1" y="388"/>
                    </a:cubicBezTo>
                    <a:cubicBezTo>
                      <a:pt x="1" y="405"/>
                      <a:pt x="1" y="423"/>
                      <a:pt x="0" y="440"/>
                    </a:cubicBezTo>
                    <a:cubicBezTo>
                      <a:pt x="1" y="445"/>
                      <a:pt x="1" y="451"/>
                      <a:pt x="1" y="457"/>
                    </a:cubicBezTo>
                    <a:cubicBezTo>
                      <a:pt x="2" y="472"/>
                      <a:pt x="0" y="487"/>
                      <a:pt x="7" y="502"/>
                    </a:cubicBezTo>
                    <a:cubicBezTo>
                      <a:pt x="9" y="505"/>
                      <a:pt x="12" y="509"/>
                      <a:pt x="15" y="512"/>
                    </a:cubicBezTo>
                    <a:cubicBezTo>
                      <a:pt x="22" y="520"/>
                      <a:pt x="30" y="528"/>
                      <a:pt x="36" y="536"/>
                    </a:cubicBezTo>
                    <a:cubicBezTo>
                      <a:pt x="40" y="539"/>
                      <a:pt x="44" y="542"/>
                      <a:pt x="47" y="546"/>
                    </a:cubicBezTo>
                    <a:cubicBezTo>
                      <a:pt x="55" y="554"/>
                      <a:pt x="63" y="562"/>
                      <a:pt x="71" y="570"/>
                    </a:cubicBezTo>
                    <a:cubicBezTo>
                      <a:pt x="75" y="573"/>
                      <a:pt x="78" y="577"/>
                      <a:pt x="82" y="581"/>
                    </a:cubicBezTo>
                    <a:cubicBezTo>
                      <a:pt x="92" y="587"/>
                      <a:pt x="95" y="596"/>
                      <a:pt x="95" y="608"/>
                    </a:cubicBezTo>
                    <a:cubicBezTo>
                      <a:pt x="94" y="617"/>
                      <a:pt x="94" y="625"/>
                      <a:pt x="94" y="634"/>
                    </a:cubicBezTo>
                    <a:cubicBezTo>
                      <a:pt x="79" y="641"/>
                      <a:pt x="68" y="657"/>
                      <a:pt x="68" y="675"/>
                    </a:cubicBezTo>
                    <a:cubicBezTo>
                      <a:pt x="68" y="700"/>
                      <a:pt x="89" y="721"/>
                      <a:pt x="115" y="721"/>
                    </a:cubicBezTo>
                    <a:cubicBezTo>
                      <a:pt x="141" y="721"/>
                      <a:pt x="162" y="700"/>
                      <a:pt x="162" y="675"/>
                    </a:cubicBezTo>
                    <a:close/>
                    <a:moveTo>
                      <a:pt x="353" y="19"/>
                    </a:moveTo>
                    <a:cubicBezTo>
                      <a:pt x="367" y="19"/>
                      <a:pt x="378" y="30"/>
                      <a:pt x="378" y="43"/>
                    </a:cubicBezTo>
                    <a:cubicBezTo>
                      <a:pt x="378" y="57"/>
                      <a:pt x="367" y="67"/>
                      <a:pt x="353" y="67"/>
                    </a:cubicBezTo>
                    <a:cubicBezTo>
                      <a:pt x="340" y="67"/>
                      <a:pt x="329" y="57"/>
                      <a:pt x="329" y="43"/>
                    </a:cubicBezTo>
                    <a:cubicBezTo>
                      <a:pt x="329" y="30"/>
                      <a:pt x="340" y="19"/>
                      <a:pt x="35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5" name="Freeform 19"/>
              <p:cNvSpPr>
                <a:spLocks noEditPoints="1"/>
              </p:cNvSpPr>
              <p:nvPr/>
            </p:nvSpPr>
            <p:spPr bwMode="gray">
              <a:xfrm>
                <a:off x="2702" y="1279"/>
                <a:ext cx="1471" cy="1106"/>
              </a:xfrm>
              <a:custGeom>
                <a:avLst/>
                <a:gdLst>
                  <a:gd name="T0" fmla="*/ 527 w 622"/>
                  <a:gd name="T1" fmla="*/ 47 h 467"/>
                  <a:gd name="T2" fmla="*/ 554 w 622"/>
                  <a:gd name="T3" fmla="*/ 119 h 467"/>
                  <a:gd name="T4" fmla="*/ 554 w 622"/>
                  <a:gd name="T5" fmla="*/ 185 h 467"/>
                  <a:gd name="T6" fmla="*/ 554 w 622"/>
                  <a:gd name="T7" fmla="*/ 257 h 467"/>
                  <a:gd name="T8" fmla="*/ 535 w 622"/>
                  <a:gd name="T9" fmla="*/ 326 h 467"/>
                  <a:gd name="T10" fmla="*/ 424 w 622"/>
                  <a:gd name="T11" fmla="*/ 402 h 467"/>
                  <a:gd name="T12" fmla="*/ 356 w 622"/>
                  <a:gd name="T13" fmla="*/ 402 h 467"/>
                  <a:gd name="T14" fmla="*/ 287 w 622"/>
                  <a:gd name="T15" fmla="*/ 402 h 467"/>
                  <a:gd name="T16" fmla="*/ 217 w 622"/>
                  <a:gd name="T17" fmla="*/ 402 h 467"/>
                  <a:gd name="T18" fmla="*/ 149 w 622"/>
                  <a:gd name="T19" fmla="*/ 402 h 467"/>
                  <a:gd name="T20" fmla="*/ 127 w 622"/>
                  <a:gd name="T21" fmla="*/ 402 h 467"/>
                  <a:gd name="T22" fmla="*/ 71 w 622"/>
                  <a:gd name="T23" fmla="*/ 383 h 467"/>
                  <a:gd name="T24" fmla="*/ 107 w 622"/>
                  <a:gd name="T25" fmla="*/ 367 h 467"/>
                  <a:gd name="T26" fmla="*/ 176 w 622"/>
                  <a:gd name="T27" fmla="*/ 367 h 467"/>
                  <a:gd name="T28" fmla="*/ 245 w 622"/>
                  <a:gd name="T29" fmla="*/ 367 h 467"/>
                  <a:gd name="T30" fmla="*/ 314 w 622"/>
                  <a:gd name="T31" fmla="*/ 367 h 467"/>
                  <a:gd name="T32" fmla="*/ 378 w 622"/>
                  <a:gd name="T33" fmla="*/ 369 h 467"/>
                  <a:gd name="T34" fmla="*/ 418 w 622"/>
                  <a:gd name="T35" fmla="*/ 343 h 467"/>
                  <a:gd name="T36" fmla="*/ 493 w 622"/>
                  <a:gd name="T37" fmla="*/ 285 h 467"/>
                  <a:gd name="T38" fmla="*/ 493 w 622"/>
                  <a:gd name="T39" fmla="*/ 193 h 467"/>
                  <a:gd name="T40" fmla="*/ 450 w 622"/>
                  <a:gd name="T41" fmla="*/ 252 h 467"/>
                  <a:gd name="T42" fmla="*/ 362 w 622"/>
                  <a:gd name="T43" fmla="*/ 324 h 467"/>
                  <a:gd name="T44" fmla="*/ 293 w 622"/>
                  <a:gd name="T45" fmla="*/ 323 h 467"/>
                  <a:gd name="T46" fmla="*/ 224 w 622"/>
                  <a:gd name="T47" fmla="*/ 324 h 467"/>
                  <a:gd name="T48" fmla="*/ 155 w 622"/>
                  <a:gd name="T49" fmla="*/ 324 h 467"/>
                  <a:gd name="T50" fmla="*/ 86 w 622"/>
                  <a:gd name="T51" fmla="*/ 324 h 467"/>
                  <a:gd name="T52" fmla="*/ 44 w 622"/>
                  <a:gd name="T53" fmla="*/ 300 h 467"/>
                  <a:gd name="T54" fmla="*/ 44 w 622"/>
                  <a:gd name="T55" fmla="*/ 392 h 467"/>
                  <a:gd name="T56" fmla="*/ 41 w 622"/>
                  <a:gd name="T57" fmla="*/ 423 h 467"/>
                  <a:gd name="T58" fmla="*/ 127 w 622"/>
                  <a:gd name="T59" fmla="*/ 444 h 467"/>
                  <a:gd name="T60" fmla="*/ 170 w 622"/>
                  <a:gd name="T61" fmla="*/ 444 h 467"/>
                  <a:gd name="T62" fmla="*/ 238 w 622"/>
                  <a:gd name="T63" fmla="*/ 444 h 467"/>
                  <a:gd name="T64" fmla="*/ 307 w 622"/>
                  <a:gd name="T65" fmla="*/ 444 h 467"/>
                  <a:gd name="T66" fmla="*/ 376 w 622"/>
                  <a:gd name="T67" fmla="*/ 444 h 467"/>
                  <a:gd name="T68" fmla="*/ 445 w 622"/>
                  <a:gd name="T69" fmla="*/ 444 h 467"/>
                  <a:gd name="T70" fmla="*/ 572 w 622"/>
                  <a:gd name="T71" fmla="*/ 348 h 467"/>
                  <a:gd name="T72" fmla="*/ 598 w 622"/>
                  <a:gd name="T73" fmla="*/ 275 h 467"/>
                  <a:gd name="T74" fmla="*/ 598 w 622"/>
                  <a:gd name="T75" fmla="*/ 206 h 467"/>
                  <a:gd name="T76" fmla="*/ 598 w 622"/>
                  <a:gd name="T77" fmla="*/ 137 h 467"/>
                  <a:gd name="T78" fmla="*/ 622 w 622"/>
                  <a:gd name="T79" fmla="*/ 47 h 467"/>
                  <a:gd name="T80" fmla="*/ 44 w 622"/>
                  <a:gd name="T81" fmla="*/ 373 h 467"/>
                  <a:gd name="T82" fmla="*/ 44 w 622"/>
                  <a:gd name="T83" fmla="*/ 319 h 467"/>
                  <a:gd name="T84" fmla="*/ 44 w 622"/>
                  <a:gd name="T85" fmla="*/ 373 h 467"/>
                  <a:gd name="T86" fmla="*/ 547 w 622"/>
                  <a:gd name="T87" fmla="*/ 47 h 467"/>
                  <a:gd name="T88" fmla="*/ 602 w 622"/>
                  <a:gd name="T89" fmla="*/ 4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22" h="467">
                    <a:moveTo>
                      <a:pt x="575" y="0"/>
                    </a:moveTo>
                    <a:cubicBezTo>
                      <a:pt x="549" y="0"/>
                      <a:pt x="527" y="21"/>
                      <a:pt x="527" y="47"/>
                    </a:cubicBezTo>
                    <a:cubicBezTo>
                      <a:pt x="527" y="66"/>
                      <a:pt x="539" y="82"/>
                      <a:pt x="555" y="90"/>
                    </a:cubicBezTo>
                    <a:cubicBezTo>
                      <a:pt x="554" y="99"/>
                      <a:pt x="554" y="109"/>
                      <a:pt x="554" y="119"/>
                    </a:cubicBezTo>
                    <a:cubicBezTo>
                      <a:pt x="554" y="124"/>
                      <a:pt x="554" y="129"/>
                      <a:pt x="554" y="133"/>
                    </a:cubicBezTo>
                    <a:cubicBezTo>
                      <a:pt x="556" y="151"/>
                      <a:pt x="556" y="168"/>
                      <a:pt x="554" y="185"/>
                    </a:cubicBezTo>
                    <a:cubicBezTo>
                      <a:pt x="556" y="191"/>
                      <a:pt x="556" y="197"/>
                      <a:pt x="554" y="203"/>
                    </a:cubicBezTo>
                    <a:cubicBezTo>
                      <a:pt x="555" y="221"/>
                      <a:pt x="556" y="239"/>
                      <a:pt x="554" y="257"/>
                    </a:cubicBezTo>
                    <a:cubicBezTo>
                      <a:pt x="554" y="263"/>
                      <a:pt x="554" y="267"/>
                      <a:pt x="554" y="271"/>
                    </a:cubicBezTo>
                    <a:cubicBezTo>
                      <a:pt x="558" y="294"/>
                      <a:pt x="553" y="311"/>
                      <a:pt x="535" y="326"/>
                    </a:cubicBezTo>
                    <a:cubicBezTo>
                      <a:pt x="514" y="343"/>
                      <a:pt x="496" y="362"/>
                      <a:pt x="479" y="382"/>
                    </a:cubicBezTo>
                    <a:cubicBezTo>
                      <a:pt x="464" y="400"/>
                      <a:pt x="446" y="406"/>
                      <a:pt x="424" y="402"/>
                    </a:cubicBezTo>
                    <a:cubicBezTo>
                      <a:pt x="419" y="402"/>
                      <a:pt x="413" y="403"/>
                      <a:pt x="407" y="401"/>
                    </a:cubicBezTo>
                    <a:cubicBezTo>
                      <a:pt x="389" y="403"/>
                      <a:pt x="372" y="402"/>
                      <a:pt x="356" y="402"/>
                    </a:cubicBezTo>
                    <a:cubicBezTo>
                      <a:pt x="350" y="402"/>
                      <a:pt x="344" y="403"/>
                      <a:pt x="338" y="401"/>
                    </a:cubicBezTo>
                    <a:cubicBezTo>
                      <a:pt x="321" y="403"/>
                      <a:pt x="304" y="402"/>
                      <a:pt x="287" y="402"/>
                    </a:cubicBezTo>
                    <a:cubicBezTo>
                      <a:pt x="281" y="403"/>
                      <a:pt x="275" y="403"/>
                      <a:pt x="269" y="401"/>
                    </a:cubicBezTo>
                    <a:cubicBezTo>
                      <a:pt x="252" y="403"/>
                      <a:pt x="234" y="402"/>
                      <a:pt x="217" y="402"/>
                    </a:cubicBezTo>
                    <a:cubicBezTo>
                      <a:pt x="212" y="403"/>
                      <a:pt x="206" y="403"/>
                      <a:pt x="200" y="401"/>
                    </a:cubicBezTo>
                    <a:cubicBezTo>
                      <a:pt x="183" y="403"/>
                      <a:pt x="166" y="402"/>
                      <a:pt x="149" y="402"/>
                    </a:cubicBezTo>
                    <a:cubicBezTo>
                      <a:pt x="143" y="403"/>
                      <a:pt x="137" y="403"/>
                      <a:pt x="131" y="402"/>
                    </a:cubicBezTo>
                    <a:cubicBezTo>
                      <a:pt x="130" y="402"/>
                      <a:pt x="128" y="402"/>
                      <a:pt x="127" y="402"/>
                    </a:cubicBezTo>
                    <a:cubicBezTo>
                      <a:pt x="119" y="389"/>
                      <a:pt x="104" y="380"/>
                      <a:pt x="87" y="380"/>
                    </a:cubicBezTo>
                    <a:cubicBezTo>
                      <a:pt x="81" y="380"/>
                      <a:pt x="76" y="381"/>
                      <a:pt x="71" y="383"/>
                    </a:cubicBezTo>
                    <a:cubicBezTo>
                      <a:pt x="77" y="378"/>
                      <a:pt x="81" y="373"/>
                      <a:pt x="84" y="367"/>
                    </a:cubicBezTo>
                    <a:cubicBezTo>
                      <a:pt x="92" y="367"/>
                      <a:pt x="99" y="367"/>
                      <a:pt x="107" y="367"/>
                    </a:cubicBezTo>
                    <a:cubicBezTo>
                      <a:pt x="125" y="366"/>
                      <a:pt x="143" y="366"/>
                      <a:pt x="162" y="366"/>
                    </a:cubicBezTo>
                    <a:cubicBezTo>
                      <a:pt x="166" y="366"/>
                      <a:pt x="171" y="366"/>
                      <a:pt x="176" y="367"/>
                    </a:cubicBezTo>
                    <a:cubicBezTo>
                      <a:pt x="193" y="366"/>
                      <a:pt x="210" y="366"/>
                      <a:pt x="227" y="366"/>
                    </a:cubicBezTo>
                    <a:cubicBezTo>
                      <a:pt x="233" y="366"/>
                      <a:pt x="239" y="366"/>
                      <a:pt x="245" y="367"/>
                    </a:cubicBezTo>
                    <a:cubicBezTo>
                      <a:pt x="262" y="366"/>
                      <a:pt x="279" y="366"/>
                      <a:pt x="296" y="366"/>
                    </a:cubicBezTo>
                    <a:cubicBezTo>
                      <a:pt x="302" y="366"/>
                      <a:pt x="308" y="366"/>
                      <a:pt x="314" y="367"/>
                    </a:cubicBezTo>
                    <a:cubicBezTo>
                      <a:pt x="331" y="366"/>
                      <a:pt x="348" y="366"/>
                      <a:pt x="365" y="366"/>
                    </a:cubicBezTo>
                    <a:cubicBezTo>
                      <a:pt x="370" y="368"/>
                      <a:pt x="374" y="370"/>
                      <a:pt x="378" y="369"/>
                    </a:cubicBezTo>
                    <a:cubicBezTo>
                      <a:pt x="380" y="369"/>
                      <a:pt x="381" y="367"/>
                      <a:pt x="382" y="366"/>
                    </a:cubicBezTo>
                    <a:cubicBezTo>
                      <a:pt x="396" y="362"/>
                      <a:pt x="408" y="355"/>
                      <a:pt x="418" y="343"/>
                    </a:cubicBezTo>
                    <a:cubicBezTo>
                      <a:pt x="438" y="323"/>
                      <a:pt x="458" y="303"/>
                      <a:pt x="478" y="283"/>
                    </a:cubicBezTo>
                    <a:cubicBezTo>
                      <a:pt x="483" y="284"/>
                      <a:pt x="488" y="285"/>
                      <a:pt x="493" y="285"/>
                    </a:cubicBezTo>
                    <a:cubicBezTo>
                      <a:pt x="519" y="285"/>
                      <a:pt x="539" y="265"/>
                      <a:pt x="539" y="239"/>
                    </a:cubicBezTo>
                    <a:cubicBezTo>
                      <a:pt x="539" y="214"/>
                      <a:pt x="519" y="193"/>
                      <a:pt x="493" y="193"/>
                    </a:cubicBezTo>
                    <a:cubicBezTo>
                      <a:pt x="468" y="193"/>
                      <a:pt x="448" y="214"/>
                      <a:pt x="448" y="239"/>
                    </a:cubicBezTo>
                    <a:cubicBezTo>
                      <a:pt x="448" y="244"/>
                      <a:pt x="448" y="248"/>
                      <a:pt x="450" y="252"/>
                    </a:cubicBezTo>
                    <a:cubicBezTo>
                      <a:pt x="429" y="273"/>
                      <a:pt x="409" y="292"/>
                      <a:pt x="389" y="314"/>
                    </a:cubicBezTo>
                    <a:cubicBezTo>
                      <a:pt x="381" y="322"/>
                      <a:pt x="373" y="326"/>
                      <a:pt x="362" y="324"/>
                    </a:cubicBezTo>
                    <a:cubicBezTo>
                      <a:pt x="356" y="323"/>
                      <a:pt x="350" y="323"/>
                      <a:pt x="345" y="323"/>
                    </a:cubicBezTo>
                    <a:cubicBezTo>
                      <a:pt x="328" y="323"/>
                      <a:pt x="310" y="323"/>
                      <a:pt x="293" y="323"/>
                    </a:cubicBezTo>
                    <a:cubicBezTo>
                      <a:pt x="287" y="323"/>
                      <a:pt x="281" y="323"/>
                      <a:pt x="275" y="323"/>
                    </a:cubicBezTo>
                    <a:cubicBezTo>
                      <a:pt x="258" y="324"/>
                      <a:pt x="241" y="324"/>
                      <a:pt x="224" y="324"/>
                    </a:cubicBezTo>
                    <a:cubicBezTo>
                      <a:pt x="218" y="324"/>
                      <a:pt x="212" y="324"/>
                      <a:pt x="207" y="324"/>
                    </a:cubicBezTo>
                    <a:cubicBezTo>
                      <a:pt x="190" y="324"/>
                      <a:pt x="172" y="324"/>
                      <a:pt x="155" y="324"/>
                    </a:cubicBezTo>
                    <a:cubicBezTo>
                      <a:pt x="149" y="323"/>
                      <a:pt x="143" y="323"/>
                      <a:pt x="138" y="323"/>
                    </a:cubicBezTo>
                    <a:cubicBezTo>
                      <a:pt x="120" y="323"/>
                      <a:pt x="103" y="323"/>
                      <a:pt x="86" y="324"/>
                    </a:cubicBezTo>
                    <a:cubicBezTo>
                      <a:pt x="85" y="324"/>
                      <a:pt x="85" y="324"/>
                      <a:pt x="84" y="324"/>
                    </a:cubicBezTo>
                    <a:cubicBezTo>
                      <a:pt x="76" y="310"/>
                      <a:pt x="61" y="300"/>
                      <a:pt x="44" y="300"/>
                    </a:cubicBezTo>
                    <a:cubicBezTo>
                      <a:pt x="20" y="300"/>
                      <a:pt x="0" y="321"/>
                      <a:pt x="0" y="346"/>
                    </a:cubicBezTo>
                    <a:cubicBezTo>
                      <a:pt x="0" y="371"/>
                      <a:pt x="20" y="392"/>
                      <a:pt x="44" y="392"/>
                    </a:cubicBezTo>
                    <a:cubicBezTo>
                      <a:pt x="49" y="392"/>
                      <a:pt x="54" y="391"/>
                      <a:pt x="58" y="389"/>
                    </a:cubicBezTo>
                    <a:cubicBezTo>
                      <a:pt x="48" y="397"/>
                      <a:pt x="41" y="410"/>
                      <a:pt x="41" y="423"/>
                    </a:cubicBezTo>
                    <a:cubicBezTo>
                      <a:pt x="41" y="447"/>
                      <a:pt x="61" y="467"/>
                      <a:pt x="87" y="467"/>
                    </a:cubicBezTo>
                    <a:cubicBezTo>
                      <a:pt x="104" y="467"/>
                      <a:pt x="119" y="458"/>
                      <a:pt x="127" y="444"/>
                    </a:cubicBezTo>
                    <a:cubicBezTo>
                      <a:pt x="135" y="444"/>
                      <a:pt x="144" y="444"/>
                      <a:pt x="152" y="444"/>
                    </a:cubicBezTo>
                    <a:cubicBezTo>
                      <a:pt x="158" y="444"/>
                      <a:pt x="164" y="444"/>
                      <a:pt x="170" y="444"/>
                    </a:cubicBezTo>
                    <a:cubicBezTo>
                      <a:pt x="186" y="444"/>
                      <a:pt x="203" y="444"/>
                      <a:pt x="220" y="444"/>
                    </a:cubicBezTo>
                    <a:cubicBezTo>
                      <a:pt x="226" y="444"/>
                      <a:pt x="232" y="444"/>
                      <a:pt x="238" y="444"/>
                    </a:cubicBezTo>
                    <a:cubicBezTo>
                      <a:pt x="255" y="444"/>
                      <a:pt x="273" y="444"/>
                      <a:pt x="290" y="444"/>
                    </a:cubicBezTo>
                    <a:cubicBezTo>
                      <a:pt x="296" y="444"/>
                      <a:pt x="302" y="444"/>
                      <a:pt x="307" y="444"/>
                    </a:cubicBezTo>
                    <a:cubicBezTo>
                      <a:pt x="325" y="444"/>
                      <a:pt x="341" y="444"/>
                      <a:pt x="358" y="444"/>
                    </a:cubicBezTo>
                    <a:cubicBezTo>
                      <a:pt x="364" y="444"/>
                      <a:pt x="370" y="444"/>
                      <a:pt x="376" y="444"/>
                    </a:cubicBezTo>
                    <a:cubicBezTo>
                      <a:pt x="393" y="444"/>
                      <a:pt x="410" y="444"/>
                      <a:pt x="428" y="444"/>
                    </a:cubicBezTo>
                    <a:cubicBezTo>
                      <a:pt x="434" y="444"/>
                      <a:pt x="439" y="444"/>
                      <a:pt x="445" y="444"/>
                    </a:cubicBezTo>
                    <a:cubicBezTo>
                      <a:pt x="468" y="445"/>
                      <a:pt x="485" y="436"/>
                      <a:pt x="501" y="419"/>
                    </a:cubicBezTo>
                    <a:cubicBezTo>
                      <a:pt x="524" y="395"/>
                      <a:pt x="547" y="371"/>
                      <a:pt x="572" y="348"/>
                    </a:cubicBezTo>
                    <a:cubicBezTo>
                      <a:pt x="589" y="333"/>
                      <a:pt x="598" y="315"/>
                      <a:pt x="598" y="292"/>
                    </a:cubicBezTo>
                    <a:cubicBezTo>
                      <a:pt x="598" y="286"/>
                      <a:pt x="598" y="280"/>
                      <a:pt x="598" y="275"/>
                    </a:cubicBezTo>
                    <a:cubicBezTo>
                      <a:pt x="598" y="257"/>
                      <a:pt x="598" y="240"/>
                      <a:pt x="598" y="223"/>
                    </a:cubicBezTo>
                    <a:cubicBezTo>
                      <a:pt x="598" y="218"/>
                      <a:pt x="598" y="212"/>
                      <a:pt x="598" y="206"/>
                    </a:cubicBezTo>
                    <a:cubicBezTo>
                      <a:pt x="598" y="189"/>
                      <a:pt x="598" y="172"/>
                      <a:pt x="598" y="154"/>
                    </a:cubicBezTo>
                    <a:cubicBezTo>
                      <a:pt x="598" y="148"/>
                      <a:pt x="598" y="143"/>
                      <a:pt x="598" y="137"/>
                    </a:cubicBezTo>
                    <a:cubicBezTo>
                      <a:pt x="598" y="120"/>
                      <a:pt x="598" y="104"/>
                      <a:pt x="598" y="88"/>
                    </a:cubicBezTo>
                    <a:cubicBezTo>
                      <a:pt x="612" y="80"/>
                      <a:pt x="622" y="65"/>
                      <a:pt x="622" y="47"/>
                    </a:cubicBezTo>
                    <a:cubicBezTo>
                      <a:pt x="622" y="21"/>
                      <a:pt x="601" y="0"/>
                      <a:pt x="575" y="0"/>
                    </a:cubicBezTo>
                    <a:close/>
                    <a:moveTo>
                      <a:pt x="44" y="373"/>
                    </a:moveTo>
                    <a:cubicBezTo>
                      <a:pt x="30" y="373"/>
                      <a:pt x="19" y="361"/>
                      <a:pt x="19" y="346"/>
                    </a:cubicBezTo>
                    <a:cubicBezTo>
                      <a:pt x="19" y="331"/>
                      <a:pt x="30" y="319"/>
                      <a:pt x="44" y="319"/>
                    </a:cubicBezTo>
                    <a:cubicBezTo>
                      <a:pt x="58" y="319"/>
                      <a:pt x="70" y="331"/>
                      <a:pt x="70" y="346"/>
                    </a:cubicBezTo>
                    <a:cubicBezTo>
                      <a:pt x="70" y="361"/>
                      <a:pt x="58" y="373"/>
                      <a:pt x="44" y="373"/>
                    </a:cubicBezTo>
                    <a:close/>
                    <a:moveTo>
                      <a:pt x="575" y="75"/>
                    </a:moveTo>
                    <a:cubicBezTo>
                      <a:pt x="559" y="75"/>
                      <a:pt x="547" y="62"/>
                      <a:pt x="547" y="47"/>
                    </a:cubicBezTo>
                    <a:cubicBezTo>
                      <a:pt x="547" y="32"/>
                      <a:pt x="559" y="19"/>
                      <a:pt x="575" y="19"/>
                    </a:cubicBezTo>
                    <a:cubicBezTo>
                      <a:pt x="590" y="19"/>
                      <a:pt x="602" y="32"/>
                      <a:pt x="602" y="47"/>
                    </a:cubicBezTo>
                    <a:cubicBezTo>
                      <a:pt x="602" y="62"/>
                      <a:pt x="590" y="75"/>
                      <a:pt x="575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6" name="Freeform 20"/>
              <p:cNvSpPr>
                <a:spLocks noEditPoints="1"/>
              </p:cNvSpPr>
              <p:nvPr/>
            </p:nvSpPr>
            <p:spPr bwMode="gray">
              <a:xfrm>
                <a:off x="2673" y="1005"/>
                <a:ext cx="206" cy="549"/>
              </a:xfrm>
              <a:custGeom>
                <a:avLst/>
                <a:gdLst>
                  <a:gd name="T0" fmla="*/ 87 w 87"/>
                  <a:gd name="T1" fmla="*/ 46 h 232"/>
                  <a:gd name="T2" fmla="*/ 43 w 87"/>
                  <a:gd name="T3" fmla="*/ 0 h 232"/>
                  <a:gd name="T4" fmla="*/ 0 w 87"/>
                  <a:gd name="T5" fmla="*/ 46 h 232"/>
                  <a:gd name="T6" fmla="*/ 21 w 87"/>
                  <a:gd name="T7" fmla="*/ 85 h 232"/>
                  <a:gd name="T8" fmla="*/ 21 w 87"/>
                  <a:gd name="T9" fmla="*/ 101 h 232"/>
                  <a:gd name="T10" fmla="*/ 23 w 87"/>
                  <a:gd name="T11" fmla="*/ 148 h 232"/>
                  <a:gd name="T12" fmla="*/ 0 w 87"/>
                  <a:gd name="T13" fmla="*/ 187 h 232"/>
                  <a:gd name="T14" fmla="*/ 43 w 87"/>
                  <a:gd name="T15" fmla="*/ 232 h 232"/>
                  <a:gd name="T16" fmla="*/ 87 w 87"/>
                  <a:gd name="T17" fmla="*/ 187 h 232"/>
                  <a:gd name="T18" fmla="*/ 64 w 87"/>
                  <a:gd name="T19" fmla="*/ 148 h 232"/>
                  <a:gd name="T20" fmla="*/ 65 w 87"/>
                  <a:gd name="T21" fmla="*/ 122 h 232"/>
                  <a:gd name="T22" fmla="*/ 65 w 87"/>
                  <a:gd name="T23" fmla="*/ 105 h 232"/>
                  <a:gd name="T24" fmla="*/ 64 w 87"/>
                  <a:gd name="T25" fmla="*/ 86 h 232"/>
                  <a:gd name="T26" fmla="*/ 87 w 87"/>
                  <a:gd name="T27" fmla="*/ 46 h 232"/>
                  <a:gd name="T28" fmla="*/ 67 w 87"/>
                  <a:gd name="T29" fmla="*/ 187 h 232"/>
                  <a:gd name="T30" fmla="*/ 43 w 87"/>
                  <a:gd name="T31" fmla="*/ 213 h 232"/>
                  <a:gd name="T32" fmla="*/ 19 w 87"/>
                  <a:gd name="T33" fmla="*/ 187 h 232"/>
                  <a:gd name="T34" fmla="*/ 43 w 87"/>
                  <a:gd name="T35" fmla="*/ 162 h 232"/>
                  <a:gd name="T36" fmla="*/ 67 w 87"/>
                  <a:gd name="T37" fmla="*/ 187 h 232"/>
                  <a:gd name="T38" fmla="*/ 43 w 87"/>
                  <a:gd name="T39" fmla="*/ 72 h 232"/>
                  <a:gd name="T40" fmla="*/ 19 w 87"/>
                  <a:gd name="T41" fmla="*/ 46 h 232"/>
                  <a:gd name="T42" fmla="*/ 43 w 87"/>
                  <a:gd name="T43" fmla="*/ 19 h 232"/>
                  <a:gd name="T44" fmla="*/ 67 w 87"/>
                  <a:gd name="T45" fmla="*/ 46 h 232"/>
                  <a:gd name="T46" fmla="*/ 43 w 87"/>
                  <a:gd name="T47" fmla="*/ 7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7" h="232">
                    <a:moveTo>
                      <a:pt x="87" y="46"/>
                    </a:moveTo>
                    <a:cubicBezTo>
                      <a:pt x="87" y="20"/>
                      <a:pt x="67" y="0"/>
                      <a:pt x="43" y="0"/>
                    </a:cubicBezTo>
                    <a:cubicBezTo>
                      <a:pt x="19" y="0"/>
                      <a:pt x="0" y="20"/>
                      <a:pt x="0" y="46"/>
                    </a:cubicBezTo>
                    <a:cubicBezTo>
                      <a:pt x="0" y="63"/>
                      <a:pt x="8" y="77"/>
                      <a:pt x="21" y="85"/>
                    </a:cubicBezTo>
                    <a:cubicBezTo>
                      <a:pt x="21" y="91"/>
                      <a:pt x="21" y="96"/>
                      <a:pt x="21" y="101"/>
                    </a:cubicBezTo>
                    <a:cubicBezTo>
                      <a:pt x="22" y="117"/>
                      <a:pt x="22" y="132"/>
                      <a:pt x="23" y="148"/>
                    </a:cubicBezTo>
                    <a:cubicBezTo>
                      <a:pt x="9" y="156"/>
                      <a:pt x="0" y="170"/>
                      <a:pt x="0" y="187"/>
                    </a:cubicBezTo>
                    <a:cubicBezTo>
                      <a:pt x="0" y="212"/>
                      <a:pt x="19" y="232"/>
                      <a:pt x="43" y="232"/>
                    </a:cubicBezTo>
                    <a:cubicBezTo>
                      <a:pt x="67" y="232"/>
                      <a:pt x="87" y="212"/>
                      <a:pt x="87" y="187"/>
                    </a:cubicBezTo>
                    <a:cubicBezTo>
                      <a:pt x="87" y="170"/>
                      <a:pt x="77" y="156"/>
                      <a:pt x="64" y="148"/>
                    </a:cubicBezTo>
                    <a:cubicBezTo>
                      <a:pt x="64" y="139"/>
                      <a:pt x="64" y="130"/>
                      <a:pt x="65" y="122"/>
                    </a:cubicBezTo>
                    <a:cubicBezTo>
                      <a:pt x="63" y="116"/>
                      <a:pt x="63" y="110"/>
                      <a:pt x="65" y="105"/>
                    </a:cubicBezTo>
                    <a:cubicBezTo>
                      <a:pt x="65" y="98"/>
                      <a:pt x="64" y="92"/>
                      <a:pt x="64" y="86"/>
                    </a:cubicBezTo>
                    <a:cubicBezTo>
                      <a:pt x="77" y="78"/>
                      <a:pt x="87" y="63"/>
                      <a:pt x="87" y="46"/>
                    </a:cubicBezTo>
                    <a:close/>
                    <a:moveTo>
                      <a:pt x="67" y="187"/>
                    </a:moveTo>
                    <a:cubicBezTo>
                      <a:pt x="67" y="201"/>
                      <a:pt x="56" y="213"/>
                      <a:pt x="43" y="213"/>
                    </a:cubicBezTo>
                    <a:cubicBezTo>
                      <a:pt x="30" y="213"/>
                      <a:pt x="19" y="201"/>
                      <a:pt x="19" y="187"/>
                    </a:cubicBezTo>
                    <a:cubicBezTo>
                      <a:pt x="19" y="173"/>
                      <a:pt x="30" y="162"/>
                      <a:pt x="43" y="162"/>
                    </a:cubicBezTo>
                    <a:cubicBezTo>
                      <a:pt x="56" y="162"/>
                      <a:pt x="67" y="173"/>
                      <a:pt x="67" y="187"/>
                    </a:cubicBezTo>
                    <a:close/>
                    <a:moveTo>
                      <a:pt x="43" y="72"/>
                    </a:moveTo>
                    <a:cubicBezTo>
                      <a:pt x="30" y="72"/>
                      <a:pt x="19" y="60"/>
                      <a:pt x="19" y="46"/>
                    </a:cubicBezTo>
                    <a:cubicBezTo>
                      <a:pt x="19" y="31"/>
                      <a:pt x="30" y="19"/>
                      <a:pt x="43" y="19"/>
                    </a:cubicBezTo>
                    <a:cubicBezTo>
                      <a:pt x="56" y="19"/>
                      <a:pt x="67" y="31"/>
                      <a:pt x="67" y="46"/>
                    </a:cubicBezTo>
                    <a:cubicBezTo>
                      <a:pt x="67" y="60"/>
                      <a:pt x="56" y="72"/>
                      <a:pt x="43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07" name="Freeform 21"/>
              <p:cNvSpPr>
                <a:spLocks noEditPoints="1"/>
              </p:cNvSpPr>
              <p:nvPr/>
            </p:nvSpPr>
            <p:spPr bwMode="gray">
              <a:xfrm>
                <a:off x="3371" y="946"/>
                <a:ext cx="459" cy="471"/>
              </a:xfrm>
              <a:custGeom>
                <a:avLst/>
                <a:gdLst>
                  <a:gd name="T0" fmla="*/ 46 w 194"/>
                  <a:gd name="T1" fmla="*/ 109 h 199"/>
                  <a:gd name="T2" fmla="*/ 0 w 194"/>
                  <a:gd name="T3" fmla="*/ 154 h 199"/>
                  <a:gd name="T4" fmla="*/ 46 w 194"/>
                  <a:gd name="T5" fmla="*/ 199 h 199"/>
                  <a:gd name="T6" fmla="*/ 92 w 194"/>
                  <a:gd name="T7" fmla="*/ 154 h 199"/>
                  <a:gd name="T8" fmla="*/ 90 w 194"/>
                  <a:gd name="T9" fmla="*/ 141 h 199"/>
                  <a:gd name="T10" fmla="*/ 138 w 194"/>
                  <a:gd name="T11" fmla="*/ 93 h 199"/>
                  <a:gd name="T12" fmla="*/ 149 w 194"/>
                  <a:gd name="T13" fmla="*/ 95 h 199"/>
                  <a:gd name="T14" fmla="*/ 194 w 194"/>
                  <a:gd name="T15" fmla="*/ 48 h 199"/>
                  <a:gd name="T16" fmla="*/ 149 w 194"/>
                  <a:gd name="T17" fmla="*/ 0 h 199"/>
                  <a:gd name="T18" fmla="*/ 104 w 194"/>
                  <a:gd name="T19" fmla="*/ 48 h 199"/>
                  <a:gd name="T20" fmla="*/ 107 w 194"/>
                  <a:gd name="T21" fmla="*/ 65 h 199"/>
                  <a:gd name="T22" fmla="*/ 61 w 194"/>
                  <a:gd name="T23" fmla="*/ 112 h 199"/>
                  <a:gd name="T24" fmla="*/ 46 w 194"/>
                  <a:gd name="T25" fmla="*/ 109 h 199"/>
                  <a:gd name="T26" fmla="*/ 149 w 194"/>
                  <a:gd name="T27" fmla="*/ 20 h 199"/>
                  <a:gd name="T28" fmla="*/ 174 w 194"/>
                  <a:gd name="T29" fmla="*/ 48 h 199"/>
                  <a:gd name="T30" fmla="*/ 149 w 194"/>
                  <a:gd name="T31" fmla="*/ 75 h 199"/>
                  <a:gd name="T32" fmla="*/ 123 w 194"/>
                  <a:gd name="T33" fmla="*/ 48 h 199"/>
                  <a:gd name="T34" fmla="*/ 149 w 194"/>
                  <a:gd name="T35" fmla="*/ 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4" h="199">
                    <a:moveTo>
                      <a:pt x="46" y="109"/>
                    </a:moveTo>
                    <a:cubicBezTo>
                      <a:pt x="21" y="109"/>
                      <a:pt x="0" y="129"/>
                      <a:pt x="0" y="154"/>
                    </a:cubicBezTo>
                    <a:cubicBezTo>
                      <a:pt x="0" y="179"/>
                      <a:pt x="21" y="199"/>
                      <a:pt x="46" y="199"/>
                    </a:cubicBezTo>
                    <a:cubicBezTo>
                      <a:pt x="71" y="199"/>
                      <a:pt x="92" y="179"/>
                      <a:pt x="92" y="154"/>
                    </a:cubicBezTo>
                    <a:cubicBezTo>
                      <a:pt x="92" y="149"/>
                      <a:pt x="91" y="145"/>
                      <a:pt x="90" y="141"/>
                    </a:cubicBezTo>
                    <a:cubicBezTo>
                      <a:pt x="106" y="125"/>
                      <a:pt x="122" y="109"/>
                      <a:pt x="138" y="93"/>
                    </a:cubicBezTo>
                    <a:cubicBezTo>
                      <a:pt x="142" y="94"/>
                      <a:pt x="145" y="95"/>
                      <a:pt x="149" y="95"/>
                    </a:cubicBezTo>
                    <a:cubicBezTo>
                      <a:pt x="173" y="95"/>
                      <a:pt x="194" y="74"/>
                      <a:pt x="194" y="48"/>
                    </a:cubicBezTo>
                    <a:cubicBezTo>
                      <a:pt x="194" y="22"/>
                      <a:pt x="173" y="0"/>
                      <a:pt x="149" y="0"/>
                    </a:cubicBezTo>
                    <a:cubicBezTo>
                      <a:pt x="124" y="0"/>
                      <a:pt x="104" y="22"/>
                      <a:pt x="104" y="48"/>
                    </a:cubicBezTo>
                    <a:cubicBezTo>
                      <a:pt x="104" y="54"/>
                      <a:pt x="105" y="60"/>
                      <a:pt x="107" y="65"/>
                    </a:cubicBezTo>
                    <a:cubicBezTo>
                      <a:pt x="92" y="81"/>
                      <a:pt x="76" y="96"/>
                      <a:pt x="61" y="112"/>
                    </a:cubicBezTo>
                    <a:cubicBezTo>
                      <a:pt x="56" y="110"/>
                      <a:pt x="51" y="109"/>
                      <a:pt x="46" y="109"/>
                    </a:cubicBezTo>
                    <a:close/>
                    <a:moveTo>
                      <a:pt x="149" y="20"/>
                    </a:moveTo>
                    <a:cubicBezTo>
                      <a:pt x="163" y="20"/>
                      <a:pt x="174" y="32"/>
                      <a:pt x="174" y="48"/>
                    </a:cubicBezTo>
                    <a:cubicBezTo>
                      <a:pt x="174" y="63"/>
                      <a:pt x="163" y="75"/>
                      <a:pt x="149" y="75"/>
                    </a:cubicBezTo>
                    <a:cubicBezTo>
                      <a:pt x="135" y="75"/>
                      <a:pt x="123" y="63"/>
                      <a:pt x="123" y="48"/>
                    </a:cubicBezTo>
                    <a:cubicBezTo>
                      <a:pt x="123" y="32"/>
                      <a:pt x="135" y="20"/>
                      <a:pt x="14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</p:grpSp>
        <p:sp>
          <p:nvSpPr>
            <p:cNvPr id="10244" name="Textfeld 10243"/>
            <p:cNvSpPr txBox="1"/>
            <p:nvPr/>
          </p:nvSpPr>
          <p:spPr>
            <a:xfrm>
              <a:off x="6876646" y="2510831"/>
              <a:ext cx="580370" cy="2424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ycle	</a:t>
              </a:r>
              <a:endPara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903" name="Group 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806104" y="2089659"/>
              <a:ext cx="380726" cy="360239"/>
              <a:chOff x="1973" y="174"/>
              <a:chExt cx="3736" cy="3976"/>
            </a:xfrm>
            <a:solidFill>
              <a:srgbClr val="2387AA"/>
            </a:solidFill>
          </p:grpSpPr>
          <p:sp>
            <p:nvSpPr>
              <p:cNvPr id="904" name="Freeform 5"/>
              <p:cNvSpPr>
                <a:spLocks/>
              </p:cNvSpPr>
              <p:nvPr/>
            </p:nvSpPr>
            <p:spPr bwMode="gray">
              <a:xfrm>
                <a:off x="2919" y="174"/>
                <a:ext cx="675" cy="1844"/>
              </a:xfrm>
              <a:custGeom>
                <a:avLst/>
                <a:gdLst>
                  <a:gd name="T0" fmla="*/ 34 w 285"/>
                  <a:gd name="T1" fmla="*/ 326 h 779"/>
                  <a:gd name="T2" fmla="*/ 26 w 285"/>
                  <a:gd name="T3" fmla="*/ 347 h 779"/>
                  <a:gd name="T4" fmla="*/ 26 w 285"/>
                  <a:gd name="T5" fmla="*/ 674 h 779"/>
                  <a:gd name="T6" fmla="*/ 26 w 285"/>
                  <a:gd name="T7" fmla="*/ 690 h 779"/>
                  <a:gd name="T8" fmla="*/ 0 w 285"/>
                  <a:gd name="T9" fmla="*/ 732 h 779"/>
                  <a:gd name="T10" fmla="*/ 47 w 285"/>
                  <a:gd name="T11" fmla="*/ 779 h 779"/>
                  <a:gd name="T12" fmla="*/ 94 w 285"/>
                  <a:gd name="T13" fmla="*/ 732 h 779"/>
                  <a:gd name="T14" fmla="*/ 69 w 285"/>
                  <a:gd name="T15" fmla="*/ 690 h 779"/>
                  <a:gd name="T16" fmla="*/ 70 w 285"/>
                  <a:gd name="T17" fmla="*/ 367 h 779"/>
                  <a:gd name="T18" fmla="*/ 79 w 285"/>
                  <a:gd name="T19" fmla="*/ 339 h 779"/>
                  <a:gd name="T20" fmla="*/ 250 w 285"/>
                  <a:gd name="T21" fmla="*/ 167 h 779"/>
                  <a:gd name="T22" fmla="*/ 253 w 285"/>
                  <a:gd name="T23" fmla="*/ 163 h 779"/>
                  <a:gd name="T24" fmla="*/ 252 w 285"/>
                  <a:gd name="T25" fmla="*/ 164 h 779"/>
                  <a:gd name="T26" fmla="*/ 260 w 285"/>
                  <a:gd name="T27" fmla="*/ 109 h 779"/>
                  <a:gd name="T28" fmla="*/ 260 w 285"/>
                  <a:gd name="T29" fmla="*/ 92 h 779"/>
                  <a:gd name="T30" fmla="*/ 260 w 285"/>
                  <a:gd name="T31" fmla="*/ 89 h 779"/>
                  <a:gd name="T32" fmla="*/ 285 w 285"/>
                  <a:gd name="T33" fmla="*/ 47 h 779"/>
                  <a:gd name="T34" fmla="*/ 239 w 285"/>
                  <a:gd name="T35" fmla="*/ 0 h 779"/>
                  <a:gd name="T36" fmla="*/ 193 w 285"/>
                  <a:gd name="T37" fmla="*/ 47 h 779"/>
                  <a:gd name="T38" fmla="*/ 217 w 285"/>
                  <a:gd name="T39" fmla="*/ 88 h 779"/>
                  <a:gd name="T40" fmla="*/ 217 w 285"/>
                  <a:gd name="T41" fmla="*/ 88 h 779"/>
                  <a:gd name="T42" fmla="*/ 187 w 285"/>
                  <a:gd name="T43" fmla="*/ 171 h 779"/>
                  <a:gd name="T44" fmla="*/ 34 w 285"/>
                  <a:gd name="T45" fmla="*/ 32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5" h="779">
                    <a:moveTo>
                      <a:pt x="34" y="326"/>
                    </a:moveTo>
                    <a:cubicBezTo>
                      <a:pt x="31" y="333"/>
                      <a:pt x="28" y="339"/>
                      <a:pt x="26" y="347"/>
                    </a:cubicBezTo>
                    <a:cubicBezTo>
                      <a:pt x="26" y="364"/>
                      <a:pt x="26" y="657"/>
                      <a:pt x="26" y="674"/>
                    </a:cubicBezTo>
                    <a:cubicBezTo>
                      <a:pt x="26" y="679"/>
                      <a:pt x="26" y="684"/>
                      <a:pt x="26" y="690"/>
                    </a:cubicBezTo>
                    <a:cubicBezTo>
                      <a:pt x="11" y="697"/>
                      <a:pt x="0" y="713"/>
                      <a:pt x="0" y="732"/>
                    </a:cubicBezTo>
                    <a:cubicBezTo>
                      <a:pt x="0" y="758"/>
                      <a:pt x="21" y="779"/>
                      <a:pt x="47" y="779"/>
                    </a:cubicBezTo>
                    <a:cubicBezTo>
                      <a:pt x="73" y="779"/>
                      <a:pt x="94" y="758"/>
                      <a:pt x="94" y="732"/>
                    </a:cubicBezTo>
                    <a:cubicBezTo>
                      <a:pt x="94" y="714"/>
                      <a:pt x="84" y="698"/>
                      <a:pt x="69" y="690"/>
                    </a:cubicBezTo>
                    <a:cubicBezTo>
                      <a:pt x="68" y="675"/>
                      <a:pt x="67" y="384"/>
                      <a:pt x="70" y="367"/>
                    </a:cubicBezTo>
                    <a:cubicBezTo>
                      <a:pt x="65" y="355"/>
                      <a:pt x="71" y="347"/>
                      <a:pt x="79" y="339"/>
                    </a:cubicBezTo>
                    <a:cubicBezTo>
                      <a:pt x="136" y="282"/>
                      <a:pt x="193" y="224"/>
                      <a:pt x="250" y="167"/>
                    </a:cubicBezTo>
                    <a:cubicBezTo>
                      <a:pt x="251" y="166"/>
                      <a:pt x="252" y="165"/>
                      <a:pt x="253" y="163"/>
                    </a:cubicBezTo>
                    <a:cubicBezTo>
                      <a:pt x="253" y="163"/>
                      <a:pt x="253" y="163"/>
                      <a:pt x="252" y="164"/>
                    </a:cubicBezTo>
                    <a:cubicBezTo>
                      <a:pt x="261" y="146"/>
                      <a:pt x="259" y="127"/>
                      <a:pt x="260" y="109"/>
                    </a:cubicBezTo>
                    <a:cubicBezTo>
                      <a:pt x="260" y="103"/>
                      <a:pt x="260" y="97"/>
                      <a:pt x="260" y="92"/>
                    </a:cubicBezTo>
                    <a:cubicBezTo>
                      <a:pt x="260" y="91"/>
                      <a:pt x="260" y="90"/>
                      <a:pt x="260" y="89"/>
                    </a:cubicBezTo>
                    <a:cubicBezTo>
                      <a:pt x="275" y="81"/>
                      <a:pt x="285" y="65"/>
                      <a:pt x="285" y="47"/>
                    </a:cubicBezTo>
                    <a:cubicBezTo>
                      <a:pt x="285" y="21"/>
                      <a:pt x="265" y="0"/>
                      <a:pt x="239" y="0"/>
                    </a:cubicBezTo>
                    <a:cubicBezTo>
                      <a:pt x="214" y="0"/>
                      <a:pt x="193" y="21"/>
                      <a:pt x="193" y="47"/>
                    </a:cubicBezTo>
                    <a:cubicBezTo>
                      <a:pt x="193" y="64"/>
                      <a:pt x="203" y="80"/>
                      <a:pt x="217" y="88"/>
                    </a:cubicBezTo>
                    <a:cubicBezTo>
                      <a:pt x="217" y="88"/>
                      <a:pt x="217" y="88"/>
                      <a:pt x="217" y="88"/>
                    </a:cubicBezTo>
                    <a:cubicBezTo>
                      <a:pt x="224" y="122"/>
                      <a:pt x="213" y="147"/>
                      <a:pt x="187" y="171"/>
                    </a:cubicBezTo>
                    <a:cubicBezTo>
                      <a:pt x="134" y="221"/>
                      <a:pt x="84" y="274"/>
                      <a:pt x="34" y="3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05" name="Freeform 6"/>
              <p:cNvSpPr>
                <a:spLocks noEditPoints="1"/>
              </p:cNvSpPr>
              <p:nvPr/>
            </p:nvSpPr>
            <p:spPr bwMode="gray">
              <a:xfrm>
                <a:off x="4363" y="356"/>
                <a:ext cx="1346" cy="1932"/>
              </a:xfrm>
              <a:custGeom>
                <a:avLst/>
                <a:gdLst>
                  <a:gd name="T0" fmla="*/ 561 w 569"/>
                  <a:gd name="T1" fmla="*/ 679 h 816"/>
                  <a:gd name="T2" fmla="*/ 469 w 569"/>
                  <a:gd name="T3" fmla="*/ 654 h 816"/>
                  <a:gd name="T4" fmla="*/ 407 w 569"/>
                  <a:gd name="T5" fmla="*/ 654 h 816"/>
                  <a:gd name="T6" fmla="*/ 339 w 569"/>
                  <a:gd name="T7" fmla="*/ 654 h 816"/>
                  <a:gd name="T8" fmla="*/ 270 w 569"/>
                  <a:gd name="T9" fmla="*/ 654 h 816"/>
                  <a:gd name="T10" fmla="*/ 184 w 569"/>
                  <a:gd name="T11" fmla="*/ 654 h 816"/>
                  <a:gd name="T12" fmla="*/ 142 w 569"/>
                  <a:gd name="T13" fmla="*/ 620 h 816"/>
                  <a:gd name="T14" fmla="*/ 111 w 569"/>
                  <a:gd name="T15" fmla="*/ 589 h 816"/>
                  <a:gd name="T16" fmla="*/ 78 w 569"/>
                  <a:gd name="T17" fmla="*/ 551 h 816"/>
                  <a:gd name="T18" fmla="*/ 78 w 569"/>
                  <a:gd name="T19" fmla="*/ 482 h 816"/>
                  <a:gd name="T20" fmla="*/ 78 w 569"/>
                  <a:gd name="T21" fmla="*/ 414 h 816"/>
                  <a:gd name="T22" fmla="*/ 131 w 569"/>
                  <a:gd name="T23" fmla="*/ 345 h 816"/>
                  <a:gd name="T24" fmla="*/ 160 w 569"/>
                  <a:gd name="T25" fmla="*/ 262 h 816"/>
                  <a:gd name="T26" fmla="*/ 184 w 569"/>
                  <a:gd name="T27" fmla="*/ 46 h 816"/>
                  <a:gd name="T28" fmla="*/ 94 w 569"/>
                  <a:gd name="T29" fmla="*/ 46 h 816"/>
                  <a:gd name="T30" fmla="*/ 117 w 569"/>
                  <a:gd name="T31" fmla="*/ 259 h 816"/>
                  <a:gd name="T32" fmla="*/ 45 w 569"/>
                  <a:gd name="T33" fmla="*/ 370 h 816"/>
                  <a:gd name="T34" fmla="*/ 35 w 569"/>
                  <a:gd name="T35" fmla="*/ 410 h 816"/>
                  <a:gd name="T36" fmla="*/ 34 w 569"/>
                  <a:gd name="T37" fmla="*/ 479 h 816"/>
                  <a:gd name="T38" fmla="*/ 34 w 569"/>
                  <a:gd name="T39" fmla="*/ 548 h 816"/>
                  <a:gd name="T40" fmla="*/ 56 w 569"/>
                  <a:gd name="T41" fmla="*/ 596 h 816"/>
                  <a:gd name="T42" fmla="*/ 91 w 569"/>
                  <a:gd name="T43" fmla="*/ 630 h 816"/>
                  <a:gd name="T44" fmla="*/ 125 w 569"/>
                  <a:gd name="T45" fmla="*/ 665 h 816"/>
                  <a:gd name="T46" fmla="*/ 159 w 569"/>
                  <a:gd name="T47" fmla="*/ 693 h 816"/>
                  <a:gd name="T48" fmla="*/ 225 w 569"/>
                  <a:gd name="T49" fmla="*/ 696 h 816"/>
                  <a:gd name="T50" fmla="*/ 294 w 569"/>
                  <a:gd name="T51" fmla="*/ 696 h 816"/>
                  <a:gd name="T52" fmla="*/ 362 w 569"/>
                  <a:gd name="T53" fmla="*/ 696 h 816"/>
                  <a:gd name="T54" fmla="*/ 432 w 569"/>
                  <a:gd name="T55" fmla="*/ 696 h 816"/>
                  <a:gd name="T56" fmla="*/ 510 w 569"/>
                  <a:gd name="T57" fmla="*/ 729 h 816"/>
                  <a:gd name="T58" fmla="*/ 433 w 569"/>
                  <a:gd name="T59" fmla="*/ 753 h 816"/>
                  <a:gd name="T60" fmla="*/ 312 w 569"/>
                  <a:gd name="T61" fmla="*/ 753 h 816"/>
                  <a:gd name="T62" fmla="*/ 174 w 569"/>
                  <a:gd name="T63" fmla="*/ 753 h 816"/>
                  <a:gd name="T64" fmla="*/ 126 w 569"/>
                  <a:gd name="T65" fmla="*/ 734 h 816"/>
                  <a:gd name="T66" fmla="*/ 92 w 569"/>
                  <a:gd name="T67" fmla="*/ 701 h 816"/>
                  <a:gd name="T68" fmla="*/ 89 w 569"/>
                  <a:gd name="T69" fmla="*/ 683 h 816"/>
                  <a:gd name="T70" fmla="*/ 0 w 569"/>
                  <a:gd name="T71" fmla="*/ 683 h 816"/>
                  <a:gd name="T72" fmla="*/ 55 w 569"/>
                  <a:gd name="T73" fmla="*/ 725 h 816"/>
                  <a:gd name="T74" fmla="*/ 86 w 569"/>
                  <a:gd name="T75" fmla="*/ 756 h 816"/>
                  <a:gd name="T76" fmla="*/ 122 w 569"/>
                  <a:gd name="T77" fmla="*/ 789 h 816"/>
                  <a:gd name="T78" fmla="*/ 471 w 569"/>
                  <a:gd name="T79" fmla="*/ 796 h 816"/>
                  <a:gd name="T80" fmla="*/ 524 w 569"/>
                  <a:gd name="T81" fmla="*/ 816 h 816"/>
                  <a:gd name="T82" fmla="*/ 526 w 569"/>
                  <a:gd name="T83" fmla="*/ 726 h 816"/>
                  <a:gd name="T84" fmla="*/ 139 w 569"/>
                  <a:gd name="T85" fmla="*/ 19 h 816"/>
                  <a:gd name="T86" fmla="*/ 139 w 569"/>
                  <a:gd name="T87" fmla="*/ 73 h 816"/>
                  <a:gd name="T88" fmla="*/ 44 w 569"/>
                  <a:gd name="T89" fmla="*/ 707 h 816"/>
                  <a:gd name="T90" fmla="*/ 44 w 569"/>
                  <a:gd name="T91" fmla="*/ 658 h 816"/>
                  <a:gd name="T92" fmla="*/ 44 w 569"/>
                  <a:gd name="T93" fmla="*/ 707 h 816"/>
                  <a:gd name="T94" fmla="*/ 498 w 569"/>
                  <a:gd name="T95" fmla="*/ 771 h 816"/>
                  <a:gd name="T96" fmla="*/ 549 w 569"/>
                  <a:gd name="T97" fmla="*/ 771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9" h="816">
                    <a:moveTo>
                      <a:pt x="526" y="726"/>
                    </a:moveTo>
                    <a:cubicBezTo>
                      <a:pt x="546" y="720"/>
                      <a:pt x="561" y="702"/>
                      <a:pt x="561" y="679"/>
                    </a:cubicBezTo>
                    <a:cubicBezTo>
                      <a:pt x="561" y="652"/>
                      <a:pt x="539" y="629"/>
                      <a:pt x="512" y="629"/>
                    </a:cubicBezTo>
                    <a:cubicBezTo>
                      <a:pt x="493" y="629"/>
                      <a:pt x="477" y="640"/>
                      <a:pt x="469" y="654"/>
                    </a:cubicBezTo>
                    <a:cubicBezTo>
                      <a:pt x="466" y="654"/>
                      <a:pt x="464" y="654"/>
                      <a:pt x="462" y="654"/>
                    </a:cubicBezTo>
                    <a:cubicBezTo>
                      <a:pt x="444" y="654"/>
                      <a:pt x="426" y="654"/>
                      <a:pt x="407" y="654"/>
                    </a:cubicBezTo>
                    <a:cubicBezTo>
                      <a:pt x="404" y="654"/>
                      <a:pt x="401" y="654"/>
                      <a:pt x="397" y="654"/>
                    </a:cubicBezTo>
                    <a:cubicBezTo>
                      <a:pt x="377" y="654"/>
                      <a:pt x="358" y="654"/>
                      <a:pt x="339" y="654"/>
                    </a:cubicBezTo>
                    <a:cubicBezTo>
                      <a:pt x="335" y="654"/>
                      <a:pt x="332" y="654"/>
                      <a:pt x="328" y="654"/>
                    </a:cubicBezTo>
                    <a:cubicBezTo>
                      <a:pt x="309" y="654"/>
                      <a:pt x="290" y="654"/>
                      <a:pt x="270" y="654"/>
                    </a:cubicBezTo>
                    <a:cubicBezTo>
                      <a:pt x="267" y="654"/>
                      <a:pt x="263" y="654"/>
                      <a:pt x="259" y="654"/>
                    </a:cubicBezTo>
                    <a:cubicBezTo>
                      <a:pt x="234" y="654"/>
                      <a:pt x="209" y="654"/>
                      <a:pt x="184" y="654"/>
                    </a:cubicBezTo>
                    <a:cubicBezTo>
                      <a:pt x="183" y="654"/>
                      <a:pt x="181" y="654"/>
                      <a:pt x="181" y="654"/>
                    </a:cubicBezTo>
                    <a:cubicBezTo>
                      <a:pt x="162" y="649"/>
                      <a:pt x="155" y="632"/>
                      <a:pt x="142" y="620"/>
                    </a:cubicBezTo>
                    <a:cubicBezTo>
                      <a:pt x="134" y="614"/>
                      <a:pt x="128" y="607"/>
                      <a:pt x="122" y="599"/>
                    </a:cubicBezTo>
                    <a:cubicBezTo>
                      <a:pt x="118" y="596"/>
                      <a:pt x="115" y="593"/>
                      <a:pt x="111" y="589"/>
                    </a:cubicBezTo>
                    <a:cubicBezTo>
                      <a:pt x="102" y="582"/>
                      <a:pt x="94" y="574"/>
                      <a:pt x="87" y="565"/>
                    </a:cubicBezTo>
                    <a:cubicBezTo>
                      <a:pt x="83" y="562"/>
                      <a:pt x="77" y="559"/>
                      <a:pt x="78" y="551"/>
                    </a:cubicBezTo>
                    <a:cubicBezTo>
                      <a:pt x="78" y="534"/>
                      <a:pt x="78" y="517"/>
                      <a:pt x="78" y="500"/>
                    </a:cubicBezTo>
                    <a:cubicBezTo>
                      <a:pt x="78" y="494"/>
                      <a:pt x="78" y="488"/>
                      <a:pt x="78" y="482"/>
                    </a:cubicBezTo>
                    <a:cubicBezTo>
                      <a:pt x="78" y="465"/>
                      <a:pt x="78" y="448"/>
                      <a:pt x="78" y="431"/>
                    </a:cubicBezTo>
                    <a:cubicBezTo>
                      <a:pt x="78" y="425"/>
                      <a:pt x="78" y="419"/>
                      <a:pt x="78" y="414"/>
                    </a:cubicBezTo>
                    <a:cubicBezTo>
                      <a:pt x="75" y="403"/>
                      <a:pt x="78" y="396"/>
                      <a:pt x="86" y="389"/>
                    </a:cubicBezTo>
                    <a:cubicBezTo>
                      <a:pt x="101" y="375"/>
                      <a:pt x="115" y="358"/>
                      <a:pt x="131" y="345"/>
                    </a:cubicBezTo>
                    <a:cubicBezTo>
                      <a:pt x="151" y="327"/>
                      <a:pt x="161" y="306"/>
                      <a:pt x="160" y="280"/>
                    </a:cubicBezTo>
                    <a:cubicBezTo>
                      <a:pt x="160" y="274"/>
                      <a:pt x="160" y="268"/>
                      <a:pt x="160" y="262"/>
                    </a:cubicBezTo>
                    <a:cubicBezTo>
                      <a:pt x="160" y="245"/>
                      <a:pt x="159" y="99"/>
                      <a:pt x="159" y="87"/>
                    </a:cubicBezTo>
                    <a:cubicBezTo>
                      <a:pt x="174" y="79"/>
                      <a:pt x="184" y="64"/>
                      <a:pt x="184" y="46"/>
                    </a:cubicBezTo>
                    <a:cubicBezTo>
                      <a:pt x="184" y="21"/>
                      <a:pt x="164" y="0"/>
                      <a:pt x="139" y="0"/>
                    </a:cubicBezTo>
                    <a:cubicBezTo>
                      <a:pt x="114" y="0"/>
                      <a:pt x="94" y="21"/>
                      <a:pt x="94" y="46"/>
                    </a:cubicBezTo>
                    <a:cubicBezTo>
                      <a:pt x="94" y="64"/>
                      <a:pt x="104" y="79"/>
                      <a:pt x="118" y="86"/>
                    </a:cubicBezTo>
                    <a:cubicBezTo>
                      <a:pt x="117" y="92"/>
                      <a:pt x="118" y="253"/>
                      <a:pt x="117" y="259"/>
                    </a:cubicBezTo>
                    <a:cubicBezTo>
                      <a:pt x="122" y="285"/>
                      <a:pt x="116" y="305"/>
                      <a:pt x="94" y="322"/>
                    </a:cubicBezTo>
                    <a:cubicBezTo>
                      <a:pt x="77" y="336"/>
                      <a:pt x="62" y="355"/>
                      <a:pt x="45" y="370"/>
                    </a:cubicBezTo>
                    <a:cubicBezTo>
                      <a:pt x="39" y="377"/>
                      <a:pt x="34" y="383"/>
                      <a:pt x="34" y="392"/>
                    </a:cubicBezTo>
                    <a:cubicBezTo>
                      <a:pt x="36" y="398"/>
                      <a:pt x="36" y="404"/>
                      <a:pt x="35" y="410"/>
                    </a:cubicBezTo>
                    <a:cubicBezTo>
                      <a:pt x="36" y="428"/>
                      <a:pt x="36" y="445"/>
                      <a:pt x="34" y="462"/>
                    </a:cubicBezTo>
                    <a:cubicBezTo>
                      <a:pt x="36" y="467"/>
                      <a:pt x="36" y="473"/>
                      <a:pt x="34" y="479"/>
                    </a:cubicBezTo>
                    <a:cubicBezTo>
                      <a:pt x="36" y="496"/>
                      <a:pt x="36" y="513"/>
                      <a:pt x="34" y="530"/>
                    </a:cubicBezTo>
                    <a:cubicBezTo>
                      <a:pt x="36" y="536"/>
                      <a:pt x="36" y="542"/>
                      <a:pt x="34" y="548"/>
                    </a:cubicBezTo>
                    <a:cubicBezTo>
                      <a:pt x="37" y="560"/>
                      <a:pt x="31" y="573"/>
                      <a:pt x="43" y="582"/>
                    </a:cubicBezTo>
                    <a:cubicBezTo>
                      <a:pt x="47" y="587"/>
                      <a:pt x="52" y="591"/>
                      <a:pt x="56" y="596"/>
                    </a:cubicBezTo>
                    <a:cubicBezTo>
                      <a:pt x="64" y="603"/>
                      <a:pt x="70" y="610"/>
                      <a:pt x="78" y="616"/>
                    </a:cubicBezTo>
                    <a:cubicBezTo>
                      <a:pt x="82" y="621"/>
                      <a:pt x="86" y="626"/>
                      <a:pt x="91" y="630"/>
                    </a:cubicBezTo>
                    <a:cubicBezTo>
                      <a:pt x="98" y="637"/>
                      <a:pt x="105" y="644"/>
                      <a:pt x="111" y="651"/>
                    </a:cubicBezTo>
                    <a:cubicBezTo>
                      <a:pt x="117" y="655"/>
                      <a:pt x="121" y="660"/>
                      <a:pt x="125" y="665"/>
                    </a:cubicBezTo>
                    <a:cubicBezTo>
                      <a:pt x="133" y="672"/>
                      <a:pt x="142" y="680"/>
                      <a:pt x="150" y="688"/>
                    </a:cubicBezTo>
                    <a:cubicBezTo>
                      <a:pt x="153" y="690"/>
                      <a:pt x="156" y="691"/>
                      <a:pt x="159" y="693"/>
                    </a:cubicBezTo>
                    <a:cubicBezTo>
                      <a:pt x="175" y="697"/>
                      <a:pt x="192" y="694"/>
                      <a:pt x="208" y="696"/>
                    </a:cubicBezTo>
                    <a:cubicBezTo>
                      <a:pt x="214" y="696"/>
                      <a:pt x="219" y="696"/>
                      <a:pt x="225" y="696"/>
                    </a:cubicBezTo>
                    <a:cubicBezTo>
                      <a:pt x="242" y="696"/>
                      <a:pt x="259" y="696"/>
                      <a:pt x="276" y="696"/>
                    </a:cubicBezTo>
                    <a:cubicBezTo>
                      <a:pt x="282" y="696"/>
                      <a:pt x="288" y="696"/>
                      <a:pt x="294" y="696"/>
                    </a:cubicBezTo>
                    <a:cubicBezTo>
                      <a:pt x="311" y="696"/>
                      <a:pt x="328" y="696"/>
                      <a:pt x="346" y="696"/>
                    </a:cubicBezTo>
                    <a:cubicBezTo>
                      <a:pt x="351" y="696"/>
                      <a:pt x="357" y="696"/>
                      <a:pt x="362" y="696"/>
                    </a:cubicBezTo>
                    <a:cubicBezTo>
                      <a:pt x="379" y="696"/>
                      <a:pt x="397" y="696"/>
                      <a:pt x="414" y="696"/>
                    </a:cubicBezTo>
                    <a:cubicBezTo>
                      <a:pt x="420" y="696"/>
                      <a:pt x="426" y="696"/>
                      <a:pt x="432" y="696"/>
                    </a:cubicBezTo>
                    <a:cubicBezTo>
                      <a:pt x="443" y="696"/>
                      <a:pt x="454" y="696"/>
                      <a:pt x="465" y="695"/>
                    </a:cubicBezTo>
                    <a:cubicBezTo>
                      <a:pt x="472" y="714"/>
                      <a:pt x="489" y="728"/>
                      <a:pt x="510" y="729"/>
                    </a:cubicBezTo>
                    <a:cubicBezTo>
                      <a:pt x="498" y="732"/>
                      <a:pt x="488" y="741"/>
                      <a:pt x="483" y="753"/>
                    </a:cubicBezTo>
                    <a:cubicBezTo>
                      <a:pt x="472" y="752"/>
                      <a:pt x="438" y="753"/>
                      <a:pt x="433" y="753"/>
                    </a:cubicBezTo>
                    <a:cubicBezTo>
                      <a:pt x="416" y="753"/>
                      <a:pt x="399" y="753"/>
                      <a:pt x="381" y="753"/>
                    </a:cubicBezTo>
                    <a:cubicBezTo>
                      <a:pt x="376" y="753"/>
                      <a:pt x="329" y="753"/>
                      <a:pt x="312" y="753"/>
                    </a:cubicBezTo>
                    <a:cubicBezTo>
                      <a:pt x="306" y="753"/>
                      <a:pt x="261" y="753"/>
                      <a:pt x="244" y="753"/>
                    </a:cubicBezTo>
                    <a:cubicBezTo>
                      <a:pt x="238" y="753"/>
                      <a:pt x="192" y="753"/>
                      <a:pt x="174" y="753"/>
                    </a:cubicBezTo>
                    <a:cubicBezTo>
                      <a:pt x="169" y="753"/>
                      <a:pt x="163" y="753"/>
                      <a:pt x="157" y="753"/>
                    </a:cubicBezTo>
                    <a:cubicBezTo>
                      <a:pt x="141" y="756"/>
                      <a:pt x="135" y="742"/>
                      <a:pt x="126" y="734"/>
                    </a:cubicBezTo>
                    <a:cubicBezTo>
                      <a:pt x="121" y="731"/>
                      <a:pt x="117" y="727"/>
                      <a:pt x="113" y="721"/>
                    </a:cubicBezTo>
                    <a:cubicBezTo>
                      <a:pt x="106" y="715"/>
                      <a:pt x="99" y="707"/>
                      <a:pt x="92" y="701"/>
                    </a:cubicBezTo>
                    <a:cubicBezTo>
                      <a:pt x="90" y="700"/>
                      <a:pt x="88" y="698"/>
                      <a:pt x="87" y="697"/>
                    </a:cubicBezTo>
                    <a:cubicBezTo>
                      <a:pt x="88" y="692"/>
                      <a:pt x="89" y="688"/>
                      <a:pt x="89" y="683"/>
                    </a:cubicBezTo>
                    <a:cubicBezTo>
                      <a:pt x="89" y="659"/>
                      <a:pt x="69" y="639"/>
                      <a:pt x="44" y="639"/>
                    </a:cubicBezTo>
                    <a:cubicBezTo>
                      <a:pt x="20" y="639"/>
                      <a:pt x="0" y="659"/>
                      <a:pt x="0" y="683"/>
                    </a:cubicBezTo>
                    <a:cubicBezTo>
                      <a:pt x="0" y="707"/>
                      <a:pt x="20" y="726"/>
                      <a:pt x="44" y="726"/>
                    </a:cubicBezTo>
                    <a:cubicBezTo>
                      <a:pt x="48" y="726"/>
                      <a:pt x="52" y="726"/>
                      <a:pt x="55" y="725"/>
                    </a:cubicBezTo>
                    <a:cubicBezTo>
                      <a:pt x="56" y="726"/>
                      <a:pt x="57" y="727"/>
                      <a:pt x="58" y="728"/>
                    </a:cubicBezTo>
                    <a:cubicBezTo>
                      <a:pt x="68" y="736"/>
                      <a:pt x="78" y="745"/>
                      <a:pt x="86" y="756"/>
                    </a:cubicBezTo>
                    <a:cubicBezTo>
                      <a:pt x="88" y="758"/>
                      <a:pt x="90" y="760"/>
                      <a:pt x="93" y="762"/>
                    </a:cubicBezTo>
                    <a:cubicBezTo>
                      <a:pt x="102" y="771"/>
                      <a:pt x="112" y="780"/>
                      <a:pt x="122" y="789"/>
                    </a:cubicBezTo>
                    <a:cubicBezTo>
                      <a:pt x="124" y="790"/>
                      <a:pt x="127" y="791"/>
                      <a:pt x="130" y="793"/>
                    </a:cubicBezTo>
                    <a:cubicBezTo>
                      <a:pt x="146" y="794"/>
                      <a:pt x="465" y="793"/>
                      <a:pt x="471" y="796"/>
                    </a:cubicBezTo>
                    <a:cubicBezTo>
                      <a:pt x="476" y="796"/>
                      <a:pt x="481" y="795"/>
                      <a:pt x="486" y="795"/>
                    </a:cubicBezTo>
                    <a:cubicBezTo>
                      <a:pt x="494" y="807"/>
                      <a:pt x="508" y="816"/>
                      <a:pt x="524" y="816"/>
                    </a:cubicBezTo>
                    <a:cubicBezTo>
                      <a:pt x="548" y="816"/>
                      <a:pt x="569" y="796"/>
                      <a:pt x="569" y="771"/>
                    </a:cubicBezTo>
                    <a:cubicBezTo>
                      <a:pt x="569" y="747"/>
                      <a:pt x="549" y="727"/>
                      <a:pt x="526" y="726"/>
                    </a:cubicBezTo>
                    <a:close/>
                    <a:moveTo>
                      <a:pt x="113" y="46"/>
                    </a:moveTo>
                    <a:cubicBezTo>
                      <a:pt x="113" y="31"/>
                      <a:pt x="125" y="19"/>
                      <a:pt x="139" y="19"/>
                    </a:cubicBezTo>
                    <a:cubicBezTo>
                      <a:pt x="153" y="19"/>
                      <a:pt x="164" y="31"/>
                      <a:pt x="164" y="46"/>
                    </a:cubicBezTo>
                    <a:cubicBezTo>
                      <a:pt x="164" y="61"/>
                      <a:pt x="153" y="73"/>
                      <a:pt x="139" y="73"/>
                    </a:cubicBezTo>
                    <a:cubicBezTo>
                      <a:pt x="125" y="73"/>
                      <a:pt x="113" y="61"/>
                      <a:pt x="113" y="46"/>
                    </a:cubicBezTo>
                    <a:close/>
                    <a:moveTo>
                      <a:pt x="44" y="707"/>
                    </a:moveTo>
                    <a:cubicBezTo>
                      <a:pt x="30" y="707"/>
                      <a:pt x="19" y="696"/>
                      <a:pt x="19" y="683"/>
                    </a:cubicBezTo>
                    <a:cubicBezTo>
                      <a:pt x="19" y="669"/>
                      <a:pt x="30" y="658"/>
                      <a:pt x="44" y="658"/>
                    </a:cubicBezTo>
                    <a:cubicBezTo>
                      <a:pt x="58" y="658"/>
                      <a:pt x="70" y="669"/>
                      <a:pt x="70" y="683"/>
                    </a:cubicBezTo>
                    <a:cubicBezTo>
                      <a:pt x="70" y="696"/>
                      <a:pt x="58" y="707"/>
                      <a:pt x="44" y="707"/>
                    </a:cubicBezTo>
                    <a:close/>
                    <a:moveTo>
                      <a:pt x="524" y="796"/>
                    </a:moveTo>
                    <a:cubicBezTo>
                      <a:pt x="510" y="796"/>
                      <a:pt x="498" y="785"/>
                      <a:pt x="498" y="771"/>
                    </a:cubicBezTo>
                    <a:cubicBezTo>
                      <a:pt x="498" y="757"/>
                      <a:pt x="510" y="746"/>
                      <a:pt x="524" y="746"/>
                    </a:cubicBezTo>
                    <a:cubicBezTo>
                      <a:pt x="538" y="746"/>
                      <a:pt x="549" y="757"/>
                      <a:pt x="549" y="771"/>
                    </a:cubicBezTo>
                    <a:cubicBezTo>
                      <a:pt x="549" y="785"/>
                      <a:pt x="538" y="796"/>
                      <a:pt x="524" y="7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06" name="Freeform 7"/>
              <p:cNvSpPr>
                <a:spLocks noEditPoints="1"/>
              </p:cNvSpPr>
              <p:nvPr/>
            </p:nvSpPr>
            <p:spPr bwMode="gray">
              <a:xfrm>
                <a:off x="4580" y="529"/>
                <a:ext cx="469" cy="1110"/>
              </a:xfrm>
              <a:custGeom>
                <a:avLst/>
                <a:gdLst>
                  <a:gd name="T0" fmla="*/ 129 w 198"/>
                  <a:gd name="T1" fmla="*/ 89 h 469"/>
                  <a:gd name="T2" fmla="*/ 128 w 198"/>
                  <a:gd name="T3" fmla="*/ 133 h 469"/>
                  <a:gd name="T4" fmla="*/ 128 w 198"/>
                  <a:gd name="T5" fmla="*/ 151 h 469"/>
                  <a:gd name="T6" fmla="*/ 128 w 198"/>
                  <a:gd name="T7" fmla="*/ 203 h 469"/>
                  <a:gd name="T8" fmla="*/ 128 w 198"/>
                  <a:gd name="T9" fmla="*/ 221 h 469"/>
                  <a:gd name="T10" fmla="*/ 128 w 198"/>
                  <a:gd name="T11" fmla="*/ 272 h 469"/>
                  <a:gd name="T12" fmla="*/ 128 w 198"/>
                  <a:gd name="T13" fmla="*/ 290 h 469"/>
                  <a:gd name="T14" fmla="*/ 117 w 198"/>
                  <a:gd name="T15" fmla="*/ 325 h 469"/>
                  <a:gd name="T16" fmla="*/ 65 w 198"/>
                  <a:gd name="T17" fmla="*/ 378 h 469"/>
                  <a:gd name="T18" fmla="*/ 47 w 198"/>
                  <a:gd name="T19" fmla="*/ 375 h 469"/>
                  <a:gd name="T20" fmla="*/ 0 w 198"/>
                  <a:gd name="T21" fmla="*/ 422 h 469"/>
                  <a:gd name="T22" fmla="*/ 47 w 198"/>
                  <a:gd name="T23" fmla="*/ 469 h 469"/>
                  <a:gd name="T24" fmla="*/ 94 w 198"/>
                  <a:gd name="T25" fmla="*/ 422 h 469"/>
                  <a:gd name="T26" fmla="*/ 92 w 198"/>
                  <a:gd name="T27" fmla="*/ 408 h 469"/>
                  <a:gd name="T28" fmla="*/ 155 w 198"/>
                  <a:gd name="T29" fmla="*/ 345 h 469"/>
                  <a:gd name="T30" fmla="*/ 172 w 198"/>
                  <a:gd name="T31" fmla="*/ 310 h 469"/>
                  <a:gd name="T32" fmla="*/ 172 w 198"/>
                  <a:gd name="T33" fmla="*/ 292 h 469"/>
                  <a:gd name="T34" fmla="*/ 172 w 198"/>
                  <a:gd name="T35" fmla="*/ 241 h 469"/>
                  <a:gd name="T36" fmla="*/ 172 w 198"/>
                  <a:gd name="T37" fmla="*/ 224 h 469"/>
                  <a:gd name="T38" fmla="*/ 172 w 198"/>
                  <a:gd name="T39" fmla="*/ 172 h 469"/>
                  <a:gd name="T40" fmla="*/ 172 w 198"/>
                  <a:gd name="T41" fmla="*/ 154 h 469"/>
                  <a:gd name="T42" fmla="*/ 172 w 198"/>
                  <a:gd name="T43" fmla="*/ 102 h 469"/>
                  <a:gd name="T44" fmla="*/ 172 w 198"/>
                  <a:gd name="T45" fmla="*/ 89 h 469"/>
                  <a:gd name="T46" fmla="*/ 198 w 198"/>
                  <a:gd name="T47" fmla="*/ 47 h 469"/>
                  <a:gd name="T48" fmla="*/ 150 w 198"/>
                  <a:gd name="T49" fmla="*/ 0 h 469"/>
                  <a:gd name="T50" fmla="*/ 101 w 198"/>
                  <a:gd name="T51" fmla="*/ 47 h 469"/>
                  <a:gd name="T52" fmla="*/ 129 w 198"/>
                  <a:gd name="T53" fmla="*/ 89 h 469"/>
                  <a:gd name="T54" fmla="*/ 47 w 198"/>
                  <a:gd name="T55" fmla="*/ 450 h 469"/>
                  <a:gd name="T56" fmla="*/ 19 w 198"/>
                  <a:gd name="T57" fmla="*/ 422 h 469"/>
                  <a:gd name="T58" fmla="*/ 47 w 198"/>
                  <a:gd name="T59" fmla="*/ 394 h 469"/>
                  <a:gd name="T60" fmla="*/ 75 w 198"/>
                  <a:gd name="T61" fmla="*/ 422 h 469"/>
                  <a:gd name="T62" fmla="*/ 47 w 198"/>
                  <a:gd name="T63" fmla="*/ 45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8" h="469">
                    <a:moveTo>
                      <a:pt x="129" y="89"/>
                    </a:moveTo>
                    <a:cubicBezTo>
                      <a:pt x="130" y="104"/>
                      <a:pt x="130" y="119"/>
                      <a:pt x="128" y="133"/>
                    </a:cubicBezTo>
                    <a:cubicBezTo>
                      <a:pt x="130" y="139"/>
                      <a:pt x="130" y="145"/>
                      <a:pt x="128" y="151"/>
                    </a:cubicBezTo>
                    <a:cubicBezTo>
                      <a:pt x="130" y="168"/>
                      <a:pt x="130" y="186"/>
                      <a:pt x="128" y="203"/>
                    </a:cubicBezTo>
                    <a:cubicBezTo>
                      <a:pt x="130" y="209"/>
                      <a:pt x="130" y="215"/>
                      <a:pt x="128" y="221"/>
                    </a:cubicBezTo>
                    <a:cubicBezTo>
                      <a:pt x="130" y="238"/>
                      <a:pt x="130" y="255"/>
                      <a:pt x="128" y="272"/>
                    </a:cubicBezTo>
                    <a:cubicBezTo>
                      <a:pt x="130" y="278"/>
                      <a:pt x="130" y="284"/>
                      <a:pt x="128" y="290"/>
                    </a:cubicBezTo>
                    <a:cubicBezTo>
                      <a:pt x="132" y="304"/>
                      <a:pt x="128" y="315"/>
                      <a:pt x="117" y="325"/>
                    </a:cubicBezTo>
                    <a:cubicBezTo>
                      <a:pt x="99" y="342"/>
                      <a:pt x="82" y="361"/>
                      <a:pt x="65" y="378"/>
                    </a:cubicBezTo>
                    <a:cubicBezTo>
                      <a:pt x="59" y="376"/>
                      <a:pt x="53" y="375"/>
                      <a:pt x="47" y="375"/>
                    </a:cubicBezTo>
                    <a:cubicBezTo>
                      <a:pt x="21" y="375"/>
                      <a:pt x="0" y="396"/>
                      <a:pt x="0" y="422"/>
                    </a:cubicBezTo>
                    <a:cubicBezTo>
                      <a:pt x="0" y="448"/>
                      <a:pt x="21" y="469"/>
                      <a:pt x="47" y="469"/>
                    </a:cubicBezTo>
                    <a:cubicBezTo>
                      <a:pt x="73" y="469"/>
                      <a:pt x="94" y="448"/>
                      <a:pt x="94" y="422"/>
                    </a:cubicBezTo>
                    <a:cubicBezTo>
                      <a:pt x="94" y="417"/>
                      <a:pt x="93" y="413"/>
                      <a:pt x="92" y="408"/>
                    </a:cubicBezTo>
                    <a:cubicBezTo>
                      <a:pt x="113" y="387"/>
                      <a:pt x="134" y="366"/>
                      <a:pt x="155" y="345"/>
                    </a:cubicBezTo>
                    <a:cubicBezTo>
                      <a:pt x="165" y="335"/>
                      <a:pt x="169" y="323"/>
                      <a:pt x="172" y="310"/>
                    </a:cubicBezTo>
                    <a:cubicBezTo>
                      <a:pt x="172" y="304"/>
                      <a:pt x="172" y="298"/>
                      <a:pt x="172" y="292"/>
                    </a:cubicBezTo>
                    <a:cubicBezTo>
                      <a:pt x="172" y="275"/>
                      <a:pt x="172" y="258"/>
                      <a:pt x="172" y="241"/>
                    </a:cubicBezTo>
                    <a:cubicBezTo>
                      <a:pt x="172" y="235"/>
                      <a:pt x="172" y="230"/>
                      <a:pt x="172" y="224"/>
                    </a:cubicBezTo>
                    <a:cubicBezTo>
                      <a:pt x="172" y="207"/>
                      <a:pt x="172" y="189"/>
                      <a:pt x="172" y="172"/>
                    </a:cubicBezTo>
                    <a:cubicBezTo>
                      <a:pt x="172" y="166"/>
                      <a:pt x="172" y="160"/>
                      <a:pt x="172" y="154"/>
                    </a:cubicBezTo>
                    <a:cubicBezTo>
                      <a:pt x="172" y="137"/>
                      <a:pt x="172" y="120"/>
                      <a:pt x="172" y="102"/>
                    </a:cubicBezTo>
                    <a:cubicBezTo>
                      <a:pt x="172" y="98"/>
                      <a:pt x="172" y="93"/>
                      <a:pt x="172" y="89"/>
                    </a:cubicBezTo>
                    <a:cubicBezTo>
                      <a:pt x="187" y="81"/>
                      <a:pt x="198" y="65"/>
                      <a:pt x="198" y="47"/>
                    </a:cubicBezTo>
                    <a:cubicBezTo>
                      <a:pt x="198" y="21"/>
                      <a:pt x="176" y="0"/>
                      <a:pt x="150" y="0"/>
                    </a:cubicBezTo>
                    <a:cubicBezTo>
                      <a:pt x="123" y="0"/>
                      <a:pt x="101" y="21"/>
                      <a:pt x="101" y="47"/>
                    </a:cubicBezTo>
                    <a:cubicBezTo>
                      <a:pt x="101" y="66"/>
                      <a:pt x="113" y="82"/>
                      <a:pt x="129" y="89"/>
                    </a:cubicBezTo>
                    <a:close/>
                    <a:moveTo>
                      <a:pt x="47" y="450"/>
                    </a:moveTo>
                    <a:cubicBezTo>
                      <a:pt x="32" y="450"/>
                      <a:pt x="19" y="437"/>
                      <a:pt x="19" y="422"/>
                    </a:cubicBezTo>
                    <a:cubicBezTo>
                      <a:pt x="19" y="407"/>
                      <a:pt x="32" y="394"/>
                      <a:pt x="47" y="394"/>
                    </a:cubicBezTo>
                    <a:cubicBezTo>
                      <a:pt x="62" y="394"/>
                      <a:pt x="75" y="407"/>
                      <a:pt x="75" y="422"/>
                    </a:cubicBezTo>
                    <a:cubicBezTo>
                      <a:pt x="75" y="437"/>
                      <a:pt x="62" y="450"/>
                      <a:pt x="47" y="4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07" name="Freeform 8"/>
              <p:cNvSpPr>
                <a:spLocks noEditPoints="1"/>
              </p:cNvSpPr>
              <p:nvPr/>
            </p:nvSpPr>
            <p:spPr bwMode="gray">
              <a:xfrm>
                <a:off x="3246" y="2340"/>
                <a:ext cx="920" cy="1803"/>
              </a:xfrm>
              <a:custGeom>
                <a:avLst/>
                <a:gdLst>
                  <a:gd name="T0" fmla="*/ 368 w 389"/>
                  <a:gd name="T1" fmla="*/ 670 h 762"/>
                  <a:gd name="T2" fmla="*/ 368 w 389"/>
                  <a:gd name="T3" fmla="*/ 601 h 762"/>
                  <a:gd name="T4" fmla="*/ 368 w 389"/>
                  <a:gd name="T5" fmla="*/ 531 h 762"/>
                  <a:gd name="T6" fmla="*/ 368 w 389"/>
                  <a:gd name="T7" fmla="*/ 462 h 762"/>
                  <a:gd name="T8" fmla="*/ 368 w 389"/>
                  <a:gd name="T9" fmla="*/ 393 h 762"/>
                  <a:gd name="T10" fmla="*/ 368 w 389"/>
                  <a:gd name="T11" fmla="*/ 324 h 762"/>
                  <a:gd name="T12" fmla="*/ 368 w 389"/>
                  <a:gd name="T13" fmla="*/ 254 h 762"/>
                  <a:gd name="T14" fmla="*/ 368 w 389"/>
                  <a:gd name="T15" fmla="*/ 186 h 762"/>
                  <a:gd name="T16" fmla="*/ 351 w 389"/>
                  <a:gd name="T17" fmla="*/ 134 h 762"/>
                  <a:gd name="T18" fmla="*/ 317 w 389"/>
                  <a:gd name="T19" fmla="*/ 100 h 762"/>
                  <a:gd name="T20" fmla="*/ 282 w 389"/>
                  <a:gd name="T21" fmla="*/ 65 h 762"/>
                  <a:gd name="T22" fmla="*/ 248 w 389"/>
                  <a:gd name="T23" fmla="*/ 31 h 762"/>
                  <a:gd name="T24" fmla="*/ 194 w 389"/>
                  <a:gd name="T25" fmla="*/ 20 h 762"/>
                  <a:gd name="T26" fmla="*/ 125 w 389"/>
                  <a:gd name="T27" fmla="*/ 20 h 762"/>
                  <a:gd name="T28" fmla="*/ 84 w 389"/>
                  <a:gd name="T29" fmla="*/ 20 h 762"/>
                  <a:gd name="T30" fmla="*/ 0 w 389"/>
                  <a:gd name="T31" fmla="*/ 44 h 762"/>
                  <a:gd name="T32" fmla="*/ 87 w 389"/>
                  <a:gd name="T33" fmla="*/ 64 h 762"/>
                  <a:gd name="T34" fmla="*/ 146 w 389"/>
                  <a:gd name="T35" fmla="*/ 64 h 762"/>
                  <a:gd name="T36" fmla="*/ 214 w 389"/>
                  <a:gd name="T37" fmla="*/ 64 h 762"/>
                  <a:gd name="T38" fmla="*/ 254 w 389"/>
                  <a:gd name="T39" fmla="*/ 98 h 762"/>
                  <a:gd name="T40" fmla="*/ 288 w 389"/>
                  <a:gd name="T41" fmla="*/ 133 h 762"/>
                  <a:gd name="T42" fmla="*/ 322 w 389"/>
                  <a:gd name="T43" fmla="*/ 168 h 762"/>
                  <a:gd name="T44" fmla="*/ 325 w 389"/>
                  <a:gd name="T45" fmla="*/ 234 h 762"/>
                  <a:gd name="T46" fmla="*/ 325 w 389"/>
                  <a:gd name="T47" fmla="*/ 303 h 762"/>
                  <a:gd name="T48" fmla="*/ 325 w 389"/>
                  <a:gd name="T49" fmla="*/ 372 h 762"/>
                  <a:gd name="T50" fmla="*/ 325 w 389"/>
                  <a:gd name="T51" fmla="*/ 442 h 762"/>
                  <a:gd name="T52" fmla="*/ 325 w 389"/>
                  <a:gd name="T53" fmla="*/ 510 h 762"/>
                  <a:gd name="T54" fmla="*/ 325 w 389"/>
                  <a:gd name="T55" fmla="*/ 580 h 762"/>
                  <a:gd name="T56" fmla="*/ 325 w 389"/>
                  <a:gd name="T57" fmla="*/ 649 h 762"/>
                  <a:gd name="T58" fmla="*/ 300 w 389"/>
                  <a:gd name="T59" fmla="*/ 716 h 762"/>
                  <a:gd name="T60" fmla="*/ 389 w 389"/>
                  <a:gd name="T61" fmla="*/ 716 h 762"/>
                  <a:gd name="T62" fmla="*/ 46 w 389"/>
                  <a:gd name="T63" fmla="*/ 70 h 762"/>
                  <a:gd name="T64" fmla="*/ 46 w 389"/>
                  <a:gd name="T65" fmla="*/ 19 h 762"/>
                  <a:gd name="T66" fmla="*/ 46 w 389"/>
                  <a:gd name="T67" fmla="*/ 7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9" h="762">
                    <a:moveTo>
                      <a:pt x="367" y="677"/>
                    </a:moveTo>
                    <a:cubicBezTo>
                      <a:pt x="367" y="674"/>
                      <a:pt x="368" y="672"/>
                      <a:pt x="368" y="670"/>
                    </a:cubicBezTo>
                    <a:cubicBezTo>
                      <a:pt x="368" y="664"/>
                      <a:pt x="368" y="658"/>
                      <a:pt x="368" y="652"/>
                    </a:cubicBezTo>
                    <a:cubicBezTo>
                      <a:pt x="368" y="635"/>
                      <a:pt x="368" y="618"/>
                      <a:pt x="368" y="601"/>
                    </a:cubicBezTo>
                    <a:cubicBezTo>
                      <a:pt x="368" y="595"/>
                      <a:pt x="368" y="589"/>
                      <a:pt x="368" y="583"/>
                    </a:cubicBezTo>
                    <a:cubicBezTo>
                      <a:pt x="368" y="566"/>
                      <a:pt x="368" y="548"/>
                      <a:pt x="368" y="531"/>
                    </a:cubicBezTo>
                    <a:cubicBezTo>
                      <a:pt x="368" y="525"/>
                      <a:pt x="368" y="519"/>
                      <a:pt x="368" y="513"/>
                    </a:cubicBezTo>
                    <a:cubicBezTo>
                      <a:pt x="368" y="496"/>
                      <a:pt x="368" y="479"/>
                      <a:pt x="368" y="462"/>
                    </a:cubicBezTo>
                    <a:cubicBezTo>
                      <a:pt x="368" y="456"/>
                      <a:pt x="368" y="451"/>
                      <a:pt x="368" y="445"/>
                    </a:cubicBezTo>
                    <a:cubicBezTo>
                      <a:pt x="368" y="428"/>
                      <a:pt x="368" y="411"/>
                      <a:pt x="368" y="393"/>
                    </a:cubicBezTo>
                    <a:cubicBezTo>
                      <a:pt x="368" y="387"/>
                      <a:pt x="368" y="381"/>
                      <a:pt x="368" y="376"/>
                    </a:cubicBezTo>
                    <a:cubicBezTo>
                      <a:pt x="368" y="358"/>
                      <a:pt x="368" y="341"/>
                      <a:pt x="368" y="324"/>
                    </a:cubicBezTo>
                    <a:cubicBezTo>
                      <a:pt x="368" y="318"/>
                      <a:pt x="368" y="312"/>
                      <a:pt x="368" y="306"/>
                    </a:cubicBezTo>
                    <a:cubicBezTo>
                      <a:pt x="368" y="289"/>
                      <a:pt x="368" y="272"/>
                      <a:pt x="368" y="254"/>
                    </a:cubicBezTo>
                    <a:cubicBezTo>
                      <a:pt x="368" y="249"/>
                      <a:pt x="368" y="243"/>
                      <a:pt x="368" y="237"/>
                    </a:cubicBezTo>
                    <a:cubicBezTo>
                      <a:pt x="368" y="220"/>
                      <a:pt x="368" y="203"/>
                      <a:pt x="368" y="186"/>
                    </a:cubicBezTo>
                    <a:cubicBezTo>
                      <a:pt x="368" y="180"/>
                      <a:pt x="368" y="174"/>
                      <a:pt x="368" y="168"/>
                    </a:cubicBezTo>
                    <a:cubicBezTo>
                      <a:pt x="366" y="155"/>
                      <a:pt x="359" y="144"/>
                      <a:pt x="351" y="134"/>
                    </a:cubicBezTo>
                    <a:cubicBezTo>
                      <a:pt x="348" y="133"/>
                      <a:pt x="346" y="131"/>
                      <a:pt x="345" y="128"/>
                    </a:cubicBezTo>
                    <a:cubicBezTo>
                      <a:pt x="335" y="120"/>
                      <a:pt x="325" y="110"/>
                      <a:pt x="317" y="100"/>
                    </a:cubicBezTo>
                    <a:cubicBezTo>
                      <a:pt x="315" y="97"/>
                      <a:pt x="313" y="95"/>
                      <a:pt x="311" y="93"/>
                    </a:cubicBezTo>
                    <a:cubicBezTo>
                      <a:pt x="300" y="85"/>
                      <a:pt x="291" y="75"/>
                      <a:pt x="282" y="65"/>
                    </a:cubicBezTo>
                    <a:cubicBezTo>
                      <a:pt x="280" y="63"/>
                      <a:pt x="278" y="60"/>
                      <a:pt x="277" y="59"/>
                    </a:cubicBezTo>
                    <a:cubicBezTo>
                      <a:pt x="267" y="49"/>
                      <a:pt x="257" y="40"/>
                      <a:pt x="248" y="31"/>
                    </a:cubicBezTo>
                    <a:cubicBezTo>
                      <a:pt x="244" y="29"/>
                      <a:pt x="240" y="26"/>
                      <a:pt x="237" y="24"/>
                    </a:cubicBezTo>
                    <a:cubicBezTo>
                      <a:pt x="223" y="21"/>
                      <a:pt x="208" y="20"/>
                      <a:pt x="194" y="20"/>
                    </a:cubicBezTo>
                    <a:cubicBezTo>
                      <a:pt x="188" y="20"/>
                      <a:pt x="183" y="20"/>
                      <a:pt x="177" y="19"/>
                    </a:cubicBezTo>
                    <a:cubicBezTo>
                      <a:pt x="159" y="20"/>
                      <a:pt x="142" y="20"/>
                      <a:pt x="125" y="20"/>
                    </a:cubicBezTo>
                    <a:cubicBezTo>
                      <a:pt x="119" y="20"/>
                      <a:pt x="113" y="20"/>
                      <a:pt x="107" y="19"/>
                    </a:cubicBezTo>
                    <a:cubicBezTo>
                      <a:pt x="100" y="19"/>
                      <a:pt x="92" y="20"/>
                      <a:pt x="84" y="20"/>
                    </a:cubicBezTo>
                    <a:cubicBezTo>
                      <a:pt x="76" y="8"/>
                      <a:pt x="62" y="0"/>
                      <a:pt x="46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6" y="89"/>
                    </a:cubicBezTo>
                    <a:cubicBezTo>
                      <a:pt x="64" y="89"/>
                      <a:pt x="80" y="79"/>
                      <a:pt x="87" y="64"/>
                    </a:cubicBezTo>
                    <a:cubicBezTo>
                      <a:pt x="101" y="64"/>
                      <a:pt x="115" y="64"/>
                      <a:pt x="129" y="64"/>
                    </a:cubicBezTo>
                    <a:cubicBezTo>
                      <a:pt x="134" y="64"/>
                      <a:pt x="140" y="64"/>
                      <a:pt x="146" y="64"/>
                    </a:cubicBezTo>
                    <a:cubicBezTo>
                      <a:pt x="163" y="64"/>
                      <a:pt x="180" y="64"/>
                      <a:pt x="197" y="64"/>
                    </a:cubicBezTo>
                    <a:cubicBezTo>
                      <a:pt x="203" y="64"/>
                      <a:pt x="209" y="64"/>
                      <a:pt x="214" y="64"/>
                    </a:cubicBezTo>
                    <a:cubicBezTo>
                      <a:pt x="228" y="67"/>
                      <a:pt x="234" y="79"/>
                      <a:pt x="242" y="88"/>
                    </a:cubicBezTo>
                    <a:cubicBezTo>
                      <a:pt x="246" y="92"/>
                      <a:pt x="250" y="95"/>
                      <a:pt x="254" y="98"/>
                    </a:cubicBezTo>
                    <a:cubicBezTo>
                      <a:pt x="261" y="106"/>
                      <a:pt x="269" y="114"/>
                      <a:pt x="277" y="123"/>
                    </a:cubicBezTo>
                    <a:cubicBezTo>
                      <a:pt x="281" y="126"/>
                      <a:pt x="284" y="129"/>
                      <a:pt x="288" y="133"/>
                    </a:cubicBezTo>
                    <a:cubicBezTo>
                      <a:pt x="296" y="141"/>
                      <a:pt x="304" y="149"/>
                      <a:pt x="312" y="157"/>
                    </a:cubicBezTo>
                    <a:cubicBezTo>
                      <a:pt x="315" y="160"/>
                      <a:pt x="319" y="164"/>
                      <a:pt x="322" y="168"/>
                    </a:cubicBezTo>
                    <a:cubicBezTo>
                      <a:pt x="328" y="184"/>
                      <a:pt x="324" y="200"/>
                      <a:pt x="325" y="217"/>
                    </a:cubicBezTo>
                    <a:cubicBezTo>
                      <a:pt x="325" y="223"/>
                      <a:pt x="325" y="228"/>
                      <a:pt x="325" y="234"/>
                    </a:cubicBezTo>
                    <a:cubicBezTo>
                      <a:pt x="325" y="251"/>
                      <a:pt x="325" y="268"/>
                      <a:pt x="325" y="285"/>
                    </a:cubicBezTo>
                    <a:cubicBezTo>
                      <a:pt x="325" y="291"/>
                      <a:pt x="325" y="297"/>
                      <a:pt x="325" y="303"/>
                    </a:cubicBezTo>
                    <a:cubicBezTo>
                      <a:pt x="325" y="320"/>
                      <a:pt x="325" y="337"/>
                      <a:pt x="325" y="355"/>
                    </a:cubicBezTo>
                    <a:cubicBezTo>
                      <a:pt x="325" y="361"/>
                      <a:pt x="325" y="366"/>
                      <a:pt x="325" y="372"/>
                    </a:cubicBezTo>
                    <a:cubicBezTo>
                      <a:pt x="325" y="390"/>
                      <a:pt x="325" y="407"/>
                      <a:pt x="325" y="424"/>
                    </a:cubicBezTo>
                    <a:cubicBezTo>
                      <a:pt x="325" y="430"/>
                      <a:pt x="325" y="436"/>
                      <a:pt x="325" y="442"/>
                    </a:cubicBezTo>
                    <a:cubicBezTo>
                      <a:pt x="325" y="459"/>
                      <a:pt x="325" y="476"/>
                      <a:pt x="325" y="493"/>
                    </a:cubicBezTo>
                    <a:cubicBezTo>
                      <a:pt x="325" y="499"/>
                      <a:pt x="325" y="505"/>
                      <a:pt x="325" y="510"/>
                    </a:cubicBezTo>
                    <a:cubicBezTo>
                      <a:pt x="325" y="527"/>
                      <a:pt x="325" y="545"/>
                      <a:pt x="325" y="562"/>
                    </a:cubicBezTo>
                    <a:cubicBezTo>
                      <a:pt x="325" y="568"/>
                      <a:pt x="325" y="574"/>
                      <a:pt x="325" y="580"/>
                    </a:cubicBezTo>
                    <a:cubicBezTo>
                      <a:pt x="325" y="597"/>
                      <a:pt x="325" y="614"/>
                      <a:pt x="325" y="631"/>
                    </a:cubicBezTo>
                    <a:cubicBezTo>
                      <a:pt x="325" y="637"/>
                      <a:pt x="325" y="643"/>
                      <a:pt x="325" y="649"/>
                    </a:cubicBezTo>
                    <a:cubicBezTo>
                      <a:pt x="325" y="657"/>
                      <a:pt x="325" y="666"/>
                      <a:pt x="325" y="675"/>
                    </a:cubicBezTo>
                    <a:cubicBezTo>
                      <a:pt x="310" y="682"/>
                      <a:pt x="300" y="698"/>
                      <a:pt x="300" y="716"/>
                    </a:cubicBezTo>
                    <a:cubicBezTo>
                      <a:pt x="300" y="742"/>
                      <a:pt x="320" y="762"/>
                      <a:pt x="345" y="762"/>
                    </a:cubicBezTo>
                    <a:cubicBezTo>
                      <a:pt x="369" y="762"/>
                      <a:pt x="389" y="742"/>
                      <a:pt x="389" y="716"/>
                    </a:cubicBezTo>
                    <a:cubicBezTo>
                      <a:pt x="389" y="699"/>
                      <a:pt x="380" y="685"/>
                      <a:pt x="367" y="677"/>
                    </a:cubicBezTo>
                    <a:close/>
                    <a:moveTo>
                      <a:pt x="46" y="70"/>
                    </a:moveTo>
                    <a:cubicBezTo>
                      <a:pt x="31" y="70"/>
                      <a:pt x="19" y="58"/>
                      <a:pt x="19" y="44"/>
                    </a:cubicBezTo>
                    <a:cubicBezTo>
                      <a:pt x="19" y="30"/>
                      <a:pt x="31" y="19"/>
                      <a:pt x="46" y="19"/>
                    </a:cubicBezTo>
                    <a:cubicBezTo>
                      <a:pt x="60" y="19"/>
                      <a:pt x="72" y="30"/>
                      <a:pt x="72" y="44"/>
                    </a:cubicBezTo>
                    <a:cubicBezTo>
                      <a:pt x="72" y="58"/>
                      <a:pt x="60" y="70"/>
                      <a:pt x="46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08" name="Freeform 9"/>
              <p:cNvSpPr>
                <a:spLocks noEditPoints="1"/>
              </p:cNvSpPr>
              <p:nvPr/>
            </p:nvSpPr>
            <p:spPr bwMode="gray">
              <a:xfrm>
                <a:off x="4734" y="1147"/>
                <a:ext cx="923" cy="734"/>
              </a:xfrm>
              <a:custGeom>
                <a:avLst/>
                <a:gdLst>
                  <a:gd name="T0" fmla="*/ 282 w 390"/>
                  <a:gd name="T1" fmla="*/ 90 h 310"/>
                  <a:gd name="T2" fmla="*/ 292 w 390"/>
                  <a:gd name="T3" fmla="*/ 89 h 310"/>
                  <a:gd name="T4" fmla="*/ 307 w 390"/>
                  <a:gd name="T5" fmla="*/ 104 h 310"/>
                  <a:gd name="T6" fmla="*/ 320 w 390"/>
                  <a:gd name="T7" fmla="*/ 118 h 310"/>
                  <a:gd name="T8" fmla="*/ 341 w 390"/>
                  <a:gd name="T9" fmla="*/ 139 h 310"/>
                  <a:gd name="T10" fmla="*/ 347 w 390"/>
                  <a:gd name="T11" fmla="*/ 160 h 310"/>
                  <a:gd name="T12" fmla="*/ 346 w 390"/>
                  <a:gd name="T13" fmla="*/ 211 h 310"/>
                  <a:gd name="T14" fmla="*/ 314 w 390"/>
                  <a:gd name="T15" fmla="*/ 242 h 310"/>
                  <a:gd name="T16" fmla="*/ 262 w 390"/>
                  <a:gd name="T17" fmla="*/ 242 h 310"/>
                  <a:gd name="T18" fmla="*/ 194 w 390"/>
                  <a:gd name="T19" fmla="*/ 242 h 310"/>
                  <a:gd name="T20" fmla="*/ 176 w 390"/>
                  <a:gd name="T21" fmla="*/ 242 h 310"/>
                  <a:gd name="T22" fmla="*/ 124 w 390"/>
                  <a:gd name="T23" fmla="*/ 242 h 310"/>
                  <a:gd name="T24" fmla="*/ 107 w 390"/>
                  <a:gd name="T25" fmla="*/ 242 h 310"/>
                  <a:gd name="T26" fmla="*/ 83 w 390"/>
                  <a:gd name="T27" fmla="*/ 242 h 310"/>
                  <a:gd name="T28" fmla="*/ 45 w 390"/>
                  <a:gd name="T29" fmla="*/ 220 h 310"/>
                  <a:gd name="T30" fmla="*/ 0 w 390"/>
                  <a:gd name="T31" fmla="*/ 265 h 310"/>
                  <a:gd name="T32" fmla="*/ 45 w 390"/>
                  <a:gd name="T33" fmla="*/ 310 h 310"/>
                  <a:gd name="T34" fmla="*/ 86 w 390"/>
                  <a:gd name="T35" fmla="*/ 283 h 310"/>
                  <a:gd name="T36" fmla="*/ 127 w 390"/>
                  <a:gd name="T37" fmla="*/ 285 h 310"/>
                  <a:gd name="T38" fmla="*/ 145 w 390"/>
                  <a:gd name="T39" fmla="*/ 286 h 310"/>
                  <a:gd name="T40" fmla="*/ 197 w 390"/>
                  <a:gd name="T41" fmla="*/ 285 h 310"/>
                  <a:gd name="T42" fmla="*/ 214 w 390"/>
                  <a:gd name="T43" fmla="*/ 286 h 310"/>
                  <a:gd name="T44" fmla="*/ 265 w 390"/>
                  <a:gd name="T45" fmla="*/ 285 h 310"/>
                  <a:gd name="T46" fmla="*/ 283 w 390"/>
                  <a:gd name="T47" fmla="*/ 286 h 310"/>
                  <a:gd name="T48" fmla="*/ 334 w 390"/>
                  <a:gd name="T49" fmla="*/ 285 h 310"/>
                  <a:gd name="T50" fmla="*/ 355 w 390"/>
                  <a:gd name="T51" fmla="*/ 282 h 310"/>
                  <a:gd name="T52" fmla="*/ 386 w 390"/>
                  <a:gd name="T53" fmla="*/ 252 h 310"/>
                  <a:gd name="T54" fmla="*/ 390 w 390"/>
                  <a:gd name="T55" fmla="*/ 231 h 310"/>
                  <a:gd name="T56" fmla="*/ 390 w 390"/>
                  <a:gd name="T57" fmla="*/ 180 h 310"/>
                  <a:gd name="T58" fmla="*/ 390 w 390"/>
                  <a:gd name="T59" fmla="*/ 163 h 310"/>
                  <a:gd name="T60" fmla="*/ 382 w 390"/>
                  <a:gd name="T61" fmla="*/ 121 h 310"/>
                  <a:gd name="T62" fmla="*/ 376 w 390"/>
                  <a:gd name="T63" fmla="*/ 112 h 310"/>
                  <a:gd name="T64" fmla="*/ 348 w 390"/>
                  <a:gd name="T65" fmla="*/ 84 h 310"/>
                  <a:gd name="T66" fmla="*/ 341 w 390"/>
                  <a:gd name="T67" fmla="*/ 77 h 310"/>
                  <a:gd name="T68" fmla="*/ 324 w 390"/>
                  <a:gd name="T69" fmla="*/ 62 h 310"/>
                  <a:gd name="T70" fmla="*/ 327 w 390"/>
                  <a:gd name="T71" fmla="*/ 45 h 310"/>
                  <a:gd name="T72" fmla="*/ 282 w 390"/>
                  <a:gd name="T73" fmla="*/ 0 h 310"/>
                  <a:gd name="T74" fmla="*/ 237 w 390"/>
                  <a:gd name="T75" fmla="*/ 45 h 310"/>
                  <a:gd name="T76" fmla="*/ 282 w 390"/>
                  <a:gd name="T77" fmla="*/ 90 h 310"/>
                  <a:gd name="T78" fmla="*/ 282 w 390"/>
                  <a:gd name="T79" fmla="*/ 19 h 310"/>
                  <a:gd name="T80" fmla="*/ 307 w 390"/>
                  <a:gd name="T81" fmla="*/ 45 h 310"/>
                  <a:gd name="T82" fmla="*/ 282 w 390"/>
                  <a:gd name="T83" fmla="*/ 70 h 310"/>
                  <a:gd name="T84" fmla="*/ 257 w 390"/>
                  <a:gd name="T85" fmla="*/ 45 h 310"/>
                  <a:gd name="T86" fmla="*/ 282 w 390"/>
                  <a:gd name="T87" fmla="*/ 1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0" h="310">
                    <a:moveTo>
                      <a:pt x="282" y="90"/>
                    </a:moveTo>
                    <a:cubicBezTo>
                      <a:pt x="285" y="90"/>
                      <a:pt x="288" y="89"/>
                      <a:pt x="292" y="89"/>
                    </a:cubicBezTo>
                    <a:cubicBezTo>
                      <a:pt x="297" y="93"/>
                      <a:pt x="302" y="98"/>
                      <a:pt x="307" y="104"/>
                    </a:cubicBezTo>
                    <a:cubicBezTo>
                      <a:pt x="312" y="108"/>
                      <a:pt x="317" y="113"/>
                      <a:pt x="320" y="118"/>
                    </a:cubicBezTo>
                    <a:cubicBezTo>
                      <a:pt x="327" y="125"/>
                      <a:pt x="334" y="132"/>
                      <a:pt x="341" y="139"/>
                    </a:cubicBezTo>
                    <a:cubicBezTo>
                      <a:pt x="348" y="144"/>
                      <a:pt x="348" y="152"/>
                      <a:pt x="347" y="160"/>
                    </a:cubicBezTo>
                    <a:cubicBezTo>
                      <a:pt x="348" y="177"/>
                      <a:pt x="348" y="194"/>
                      <a:pt x="346" y="211"/>
                    </a:cubicBezTo>
                    <a:cubicBezTo>
                      <a:pt x="350" y="240"/>
                      <a:pt x="346" y="244"/>
                      <a:pt x="314" y="242"/>
                    </a:cubicBezTo>
                    <a:cubicBezTo>
                      <a:pt x="297" y="242"/>
                      <a:pt x="279" y="242"/>
                      <a:pt x="262" y="242"/>
                    </a:cubicBezTo>
                    <a:cubicBezTo>
                      <a:pt x="239" y="242"/>
                      <a:pt x="216" y="242"/>
                      <a:pt x="194" y="242"/>
                    </a:cubicBezTo>
                    <a:cubicBezTo>
                      <a:pt x="188" y="242"/>
                      <a:pt x="182" y="242"/>
                      <a:pt x="176" y="242"/>
                    </a:cubicBezTo>
                    <a:cubicBezTo>
                      <a:pt x="159" y="242"/>
                      <a:pt x="142" y="242"/>
                      <a:pt x="124" y="242"/>
                    </a:cubicBezTo>
                    <a:cubicBezTo>
                      <a:pt x="118" y="242"/>
                      <a:pt x="113" y="242"/>
                      <a:pt x="107" y="242"/>
                    </a:cubicBezTo>
                    <a:cubicBezTo>
                      <a:pt x="99" y="242"/>
                      <a:pt x="91" y="242"/>
                      <a:pt x="83" y="242"/>
                    </a:cubicBezTo>
                    <a:cubicBezTo>
                      <a:pt x="75" y="229"/>
                      <a:pt x="61" y="220"/>
                      <a:pt x="45" y="220"/>
                    </a:cubicBezTo>
                    <a:cubicBezTo>
                      <a:pt x="20" y="220"/>
                      <a:pt x="0" y="240"/>
                      <a:pt x="0" y="265"/>
                    </a:cubicBezTo>
                    <a:cubicBezTo>
                      <a:pt x="0" y="290"/>
                      <a:pt x="20" y="310"/>
                      <a:pt x="45" y="310"/>
                    </a:cubicBezTo>
                    <a:cubicBezTo>
                      <a:pt x="63" y="310"/>
                      <a:pt x="79" y="299"/>
                      <a:pt x="86" y="283"/>
                    </a:cubicBezTo>
                    <a:cubicBezTo>
                      <a:pt x="100" y="284"/>
                      <a:pt x="114" y="284"/>
                      <a:pt x="127" y="285"/>
                    </a:cubicBezTo>
                    <a:cubicBezTo>
                      <a:pt x="133" y="284"/>
                      <a:pt x="139" y="284"/>
                      <a:pt x="145" y="286"/>
                    </a:cubicBezTo>
                    <a:cubicBezTo>
                      <a:pt x="163" y="283"/>
                      <a:pt x="180" y="284"/>
                      <a:pt x="197" y="285"/>
                    </a:cubicBezTo>
                    <a:cubicBezTo>
                      <a:pt x="202" y="284"/>
                      <a:pt x="208" y="284"/>
                      <a:pt x="214" y="286"/>
                    </a:cubicBezTo>
                    <a:cubicBezTo>
                      <a:pt x="231" y="283"/>
                      <a:pt x="248" y="284"/>
                      <a:pt x="265" y="285"/>
                    </a:cubicBezTo>
                    <a:cubicBezTo>
                      <a:pt x="271" y="284"/>
                      <a:pt x="277" y="284"/>
                      <a:pt x="283" y="286"/>
                    </a:cubicBezTo>
                    <a:cubicBezTo>
                      <a:pt x="300" y="283"/>
                      <a:pt x="318" y="284"/>
                      <a:pt x="334" y="285"/>
                    </a:cubicBezTo>
                    <a:cubicBezTo>
                      <a:pt x="341" y="284"/>
                      <a:pt x="348" y="283"/>
                      <a:pt x="355" y="282"/>
                    </a:cubicBezTo>
                    <a:cubicBezTo>
                      <a:pt x="368" y="275"/>
                      <a:pt x="378" y="265"/>
                      <a:pt x="386" y="252"/>
                    </a:cubicBezTo>
                    <a:cubicBezTo>
                      <a:pt x="388" y="245"/>
                      <a:pt x="388" y="239"/>
                      <a:pt x="390" y="231"/>
                    </a:cubicBezTo>
                    <a:cubicBezTo>
                      <a:pt x="390" y="214"/>
                      <a:pt x="390" y="197"/>
                      <a:pt x="390" y="180"/>
                    </a:cubicBezTo>
                    <a:cubicBezTo>
                      <a:pt x="390" y="174"/>
                      <a:pt x="390" y="169"/>
                      <a:pt x="390" y="163"/>
                    </a:cubicBezTo>
                    <a:cubicBezTo>
                      <a:pt x="390" y="149"/>
                      <a:pt x="389" y="135"/>
                      <a:pt x="382" y="121"/>
                    </a:cubicBezTo>
                    <a:cubicBezTo>
                      <a:pt x="380" y="118"/>
                      <a:pt x="378" y="115"/>
                      <a:pt x="376" y="112"/>
                    </a:cubicBezTo>
                    <a:cubicBezTo>
                      <a:pt x="365" y="104"/>
                      <a:pt x="356" y="94"/>
                      <a:pt x="348" y="84"/>
                    </a:cubicBezTo>
                    <a:cubicBezTo>
                      <a:pt x="346" y="82"/>
                      <a:pt x="343" y="79"/>
                      <a:pt x="341" y="77"/>
                    </a:cubicBezTo>
                    <a:cubicBezTo>
                      <a:pt x="335" y="72"/>
                      <a:pt x="329" y="67"/>
                      <a:pt x="324" y="62"/>
                    </a:cubicBezTo>
                    <a:cubicBezTo>
                      <a:pt x="326" y="56"/>
                      <a:pt x="327" y="51"/>
                      <a:pt x="327" y="45"/>
                    </a:cubicBezTo>
                    <a:cubicBezTo>
                      <a:pt x="327" y="20"/>
                      <a:pt x="307" y="0"/>
                      <a:pt x="282" y="0"/>
                    </a:cubicBezTo>
                    <a:cubicBezTo>
                      <a:pt x="257" y="0"/>
                      <a:pt x="237" y="20"/>
                      <a:pt x="237" y="45"/>
                    </a:cubicBezTo>
                    <a:cubicBezTo>
                      <a:pt x="237" y="70"/>
                      <a:pt x="257" y="90"/>
                      <a:pt x="282" y="90"/>
                    </a:cubicBezTo>
                    <a:close/>
                    <a:moveTo>
                      <a:pt x="282" y="19"/>
                    </a:moveTo>
                    <a:cubicBezTo>
                      <a:pt x="296" y="19"/>
                      <a:pt x="307" y="31"/>
                      <a:pt x="307" y="45"/>
                    </a:cubicBezTo>
                    <a:cubicBezTo>
                      <a:pt x="307" y="59"/>
                      <a:pt x="296" y="70"/>
                      <a:pt x="282" y="70"/>
                    </a:cubicBezTo>
                    <a:cubicBezTo>
                      <a:pt x="268" y="70"/>
                      <a:pt x="257" y="59"/>
                      <a:pt x="257" y="45"/>
                    </a:cubicBezTo>
                    <a:cubicBezTo>
                      <a:pt x="257" y="31"/>
                      <a:pt x="268" y="19"/>
                      <a:pt x="28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09" name="Freeform 10"/>
              <p:cNvSpPr>
                <a:spLocks noEditPoints="1"/>
              </p:cNvSpPr>
              <p:nvPr/>
            </p:nvSpPr>
            <p:spPr bwMode="gray">
              <a:xfrm>
                <a:off x="2368" y="293"/>
                <a:ext cx="700" cy="527"/>
              </a:xfrm>
              <a:custGeom>
                <a:avLst/>
                <a:gdLst>
                  <a:gd name="T0" fmla="*/ 45 w 296"/>
                  <a:gd name="T1" fmla="*/ 223 h 223"/>
                  <a:gd name="T2" fmla="*/ 90 w 296"/>
                  <a:gd name="T3" fmla="*/ 178 h 223"/>
                  <a:gd name="T4" fmla="*/ 88 w 296"/>
                  <a:gd name="T5" fmla="*/ 166 h 223"/>
                  <a:gd name="T6" fmla="*/ 94 w 296"/>
                  <a:gd name="T7" fmla="*/ 160 h 223"/>
                  <a:gd name="T8" fmla="*/ 127 w 296"/>
                  <a:gd name="T9" fmla="*/ 149 h 223"/>
                  <a:gd name="T10" fmla="*/ 179 w 296"/>
                  <a:gd name="T11" fmla="*/ 142 h 223"/>
                  <a:gd name="T12" fmla="*/ 239 w 296"/>
                  <a:gd name="T13" fmla="*/ 86 h 223"/>
                  <a:gd name="T14" fmla="*/ 251 w 296"/>
                  <a:gd name="T15" fmla="*/ 88 h 223"/>
                  <a:gd name="T16" fmla="*/ 296 w 296"/>
                  <a:gd name="T17" fmla="*/ 44 h 223"/>
                  <a:gd name="T18" fmla="*/ 251 w 296"/>
                  <a:gd name="T19" fmla="*/ 0 h 223"/>
                  <a:gd name="T20" fmla="*/ 206 w 296"/>
                  <a:gd name="T21" fmla="*/ 44 h 223"/>
                  <a:gd name="T22" fmla="*/ 208 w 296"/>
                  <a:gd name="T23" fmla="*/ 57 h 223"/>
                  <a:gd name="T24" fmla="*/ 191 w 296"/>
                  <a:gd name="T25" fmla="*/ 74 h 223"/>
                  <a:gd name="T26" fmla="*/ 106 w 296"/>
                  <a:gd name="T27" fmla="*/ 106 h 223"/>
                  <a:gd name="T28" fmla="*/ 82 w 296"/>
                  <a:gd name="T29" fmla="*/ 114 h 223"/>
                  <a:gd name="T30" fmla="*/ 78 w 296"/>
                  <a:gd name="T31" fmla="*/ 117 h 223"/>
                  <a:gd name="T32" fmla="*/ 72 w 296"/>
                  <a:gd name="T33" fmla="*/ 121 h 223"/>
                  <a:gd name="T34" fmla="*/ 68 w 296"/>
                  <a:gd name="T35" fmla="*/ 125 h 223"/>
                  <a:gd name="T36" fmla="*/ 65 w 296"/>
                  <a:gd name="T37" fmla="*/ 128 h 223"/>
                  <a:gd name="T38" fmla="*/ 65 w 296"/>
                  <a:gd name="T39" fmla="*/ 127 h 223"/>
                  <a:gd name="T40" fmla="*/ 62 w 296"/>
                  <a:gd name="T41" fmla="*/ 131 h 223"/>
                  <a:gd name="T42" fmla="*/ 58 w 296"/>
                  <a:gd name="T43" fmla="*/ 135 h 223"/>
                  <a:gd name="T44" fmla="*/ 57 w 296"/>
                  <a:gd name="T45" fmla="*/ 135 h 223"/>
                  <a:gd name="T46" fmla="*/ 45 w 296"/>
                  <a:gd name="T47" fmla="*/ 134 h 223"/>
                  <a:gd name="T48" fmla="*/ 0 w 296"/>
                  <a:gd name="T49" fmla="*/ 178 h 223"/>
                  <a:gd name="T50" fmla="*/ 45 w 296"/>
                  <a:gd name="T51" fmla="*/ 223 h 223"/>
                  <a:gd name="T52" fmla="*/ 251 w 296"/>
                  <a:gd name="T53" fmla="*/ 20 h 223"/>
                  <a:gd name="T54" fmla="*/ 276 w 296"/>
                  <a:gd name="T55" fmla="*/ 44 h 223"/>
                  <a:gd name="T56" fmla="*/ 251 w 296"/>
                  <a:gd name="T57" fmla="*/ 68 h 223"/>
                  <a:gd name="T58" fmla="*/ 225 w 296"/>
                  <a:gd name="T59" fmla="*/ 44 h 223"/>
                  <a:gd name="T60" fmla="*/ 251 w 296"/>
                  <a:gd name="T61" fmla="*/ 20 h 223"/>
                  <a:gd name="T62" fmla="*/ 45 w 296"/>
                  <a:gd name="T63" fmla="*/ 153 h 223"/>
                  <a:gd name="T64" fmla="*/ 70 w 296"/>
                  <a:gd name="T65" fmla="*/ 178 h 223"/>
                  <a:gd name="T66" fmla="*/ 45 w 296"/>
                  <a:gd name="T67" fmla="*/ 204 h 223"/>
                  <a:gd name="T68" fmla="*/ 20 w 296"/>
                  <a:gd name="T69" fmla="*/ 178 h 223"/>
                  <a:gd name="T70" fmla="*/ 45 w 296"/>
                  <a:gd name="T71" fmla="*/ 1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6" h="223">
                    <a:moveTo>
                      <a:pt x="45" y="223"/>
                    </a:moveTo>
                    <a:cubicBezTo>
                      <a:pt x="70" y="223"/>
                      <a:pt x="90" y="203"/>
                      <a:pt x="90" y="178"/>
                    </a:cubicBezTo>
                    <a:cubicBezTo>
                      <a:pt x="90" y="174"/>
                      <a:pt x="89" y="170"/>
                      <a:pt x="88" y="166"/>
                    </a:cubicBezTo>
                    <a:cubicBezTo>
                      <a:pt x="90" y="164"/>
                      <a:pt x="92" y="162"/>
                      <a:pt x="94" y="160"/>
                    </a:cubicBezTo>
                    <a:cubicBezTo>
                      <a:pt x="103" y="149"/>
                      <a:pt x="114" y="145"/>
                      <a:pt x="127" y="149"/>
                    </a:cubicBezTo>
                    <a:cubicBezTo>
                      <a:pt x="144" y="146"/>
                      <a:pt x="162" y="150"/>
                      <a:pt x="179" y="142"/>
                    </a:cubicBezTo>
                    <a:cubicBezTo>
                      <a:pt x="201" y="126"/>
                      <a:pt x="219" y="106"/>
                      <a:pt x="239" y="86"/>
                    </a:cubicBezTo>
                    <a:cubicBezTo>
                      <a:pt x="243" y="87"/>
                      <a:pt x="247" y="88"/>
                      <a:pt x="251" y="88"/>
                    </a:cubicBezTo>
                    <a:cubicBezTo>
                      <a:pt x="275" y="88"/>
                      <a:pt x="296" y="68"/>
                      <a:pt x="296" y="44"/>
                    </a:cubicBezTo>
                    <a:cubicBezTo>
                      <a:pt x="296" y="20"/>
                      <a:pt x="275" y="0"/>
                      <a:pt x="251" y="0"/>
                    </a:cubicBezTo>
                    <a:cubicBezTo>
                      <a:pt x="226" y="0"/>
                      <a:pt x="206" y="20"/>
                      <a:pt x="206" y="44"/>
                    </a:cubicBezTo>
                    <a:cubicBezTo>
                      <a:pt x="206" y="49"/>
                      <a:pt x="207" y="53"/>
                      <a:pt x="208" y="57"/>
                    </a:cubicBezTo>
                    <a:cubicBezTo>
                      <a:pt x="202" y="63"/>
                      <a:pt x="195" y="68"/>
                      <a:pt x="191" y="74"/>
                    </a:cubicBezTo>
                    <a:cubicBezTo>
                      <a:pt x="169" y="104"/>
                      <a:pt x="141" y="112"/>
                      <a:pt x="106" y="106"/>
                    </a:cubicBezTo>
                    <a:cubicBezTo>
                      <a:pt x="98" y="109"/>
                      <a:pt x="90" y="112"/>
                      <a:pt x="82" y="114"/>
                    </a:cubicBezTo>
                    <a:cubicBezTo>
                      <a:pt x="80" y="115"/>
                      <a:pt x="79" y="116"/>
                      <a:pt x="78" y="117"/>
                    </a:cubicBezTo>
                    <a:cubicBezTo>
                      <a:pt x="77" y="120"/>
                      <a:pt x="75" y="121"/>
                      <a:pt x="72" y="121"/>
                    </a:cubicBezTo>
                    <a:cubicBezTo>
                      <a:pt x="71" y="122"/>
                      <a:pt x="70" y="123"/>
                      <a:pt x="68" y="125"/>
                    </a:cubicBezTo>
                    <a:cubicBezTo>
                      <a:pt x="68" y="125"/>
                      <a:pt x="66" y="127"/>
                      <a:pt x="65" y="128"/>
                    </a:cubicBezTo>
                    <a:cubicBezTo>
                      <a:pt x="65" y="127"/>
                      <a:pt x="65" y="127"/>
                      <a:pt x="65" y="127"/>
                    </a:cubicBezTo>
                    <a:cubicBezTo>
                      <a:pt x="64" y="129"/>
                      <a:pt x="63" y="130"/>
                      <a:pt x="62" y="131"/>
                    </a:cubicBezTo>
                    <a:cubicBezTo>
                      <a:pt x="61" y="133"/>
                      <a:pt x="59" y="133"/>
                      <a:pt x="58" y="135"/>
                    </a:cubicBezTo>
                    <a:cubicBezTo>
                      <a:pt x="58" y="135"/>
                      <a:pt x="58" y="135"/>
                      <a:pt x="57" y="135"/>
                    </a:cubicBezTo>
                    <a:cubicBezTo>
                      <a:pt x="53" y="134"/>
                      <a:pt x="49" y="134"/>
                      <a:pt x="45" y="134"/>
                    </a:cubicBezTo>
                    <a:cubicBezTo>
                      <a:pt x="20" y="134"/>
                      <a:pt x="0" y="154"/>
                      <a:pt x="0" y="178"/>
                    </a:cubicBezTo>
                    <a:cubicBezTo>
                      <a:pt x="0" y="203"/>
                      <a:pt x="20" y="223"/>
                      <a:pt x="45" y="223"/>
                    </a:cubicBezTo>
                    <a:close/>
                    <a:moveTo>
                      <a:pt x="251" y="20"/>
                    </a:moveTo>
                    <a:cubicBezTo>
                      <a:pt x="265" y="20"/>
                      <a:pt x="276" y="31"/>
                      <a:pt x="276" y="44"/>
                    </a:cubicBezTo>
                    <a:cubicBezTo>
                      <a:pt x="276" y="57"/>
                      <a:pt x="265" y="68"/>
                      <a:pt x="251" y="68"/>
                    </a:cubicBezTo>
                    <a:cubicBezTo>
                      <a:pt x="237" y="68"/>
                      <a:pt x="225" y="57"/>
                      <a:pt x="225" y="44"/>
                    </a:cubicBezTo>
                    <a:cubicBezTo>
                      <a:pt x="225" y="31"/>
                      <a:pt x="237" y="20"/>
                      <a:pt x="251" y="20"/>
                    </a:cubicBezTo>
                    <a:close/>
                    <a:moveTo>
                      <a:pt x="45" y="153"/>
                    </a:moveTo>
                    <a:cubicBezTo>
                      <a:pt x="59" y="153"/>
                      <a:pt x="70" y="164"/>
                      <a:pt x="70" y="178"/>
                    </a:cubicBezTo>
                    <a:cubicBezTo>
                      <a:pt x="70" y="192"/>
                      <a:pt x="59" y="204"/>
                      <a:pt x="45" y="204"/>
                    </a:cubicBezTo>
                    <a:cubicBezTo>
                      <a:pt x="31" y="204"/>
                      <a:pt x="20" y="192"/>
                      <a:pt x="20" y="178"/>
                    </a:cubicBezTo>
                    <a:cubicBezTo>
                      <a:pt x="20" y="164"/>
                      <a:pt x="31" y="153"/>
                      <a:pt x="45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0" name="Freeform 11"/>
              <p:cNvSpPr>
                <a:spLocks noEditPoints="1"/>
              </p:cNvSpPr>
              <p:nvPr/>
            </p:nvSpPr>
            <p:spPr bwMode="gray">
              <a:xfrm>
                <a:off x="4036" y="219"/>
                <a:ext cx="1637" cy="3931"/>
              </a:xfrm>
              <a:custGeom>
                <a:avLst/>
                <a:gdLst>
                  <a:gd name="T0" fmla="*/ 412 w 692"/>
                  <a:gd name="T1" fmla="*/ 899 h 1661"/>
                  <a:gd name="T2" fmla="*/ 154 w 692"/>
                  <a:gd name="T3" fmla="*/ 899 h 1661"/>
                  <a:gd name="T4" fmla="*/ 135 w 692"/>
                  <a:gd name="T5" fmla="*/ 483 h 1661"/>
                  <a:gd name="T6" fmla="*/ 95 w 692"/>
                  <a:gd name="T7" fmla="*/ 404 h 1661"/>
                  <a:gd name="T8" fmla="*/ 51 w 692"/>
                  <a:gd name="T9" fmla="*/ 359 h 1661"/>
                  <a:gd name="T10" fmla="*/ 84 w 692"/>
                  <a:gd name="T11" fmla="*/ 92 h 1661"/>
                  <a:gd name="T12" fmla="*/ 98 w 692"/>
                  <a:gd name="T13" fmla="*/ 0 h 1661"/>
                  <a:gd name="T14" fmla="*/ 42 w 692"/>
                  <a:gd name="T15" fmla="*/ 73 h 1661"/>
                  <a:gd name="T16" fmla="*/ 20 w 692"/>
                  <a:gd name="T17" fmla="*/ 390 h 1661"/>
                  <a:gd name="T18" fmla="*/ 65 w 692"/>
                  <a:gd name="T19" fmla="*/ 434 h 1661"/>
                  <a:gd name="T20" fmla="*/ 92 w 692"/>
                  <a:gd name="T21" fmla="*/ 531 h 1661"/>
                  <a:gd name="T22" fmla="*/ 92 w 692"/>
                  <a:gd name="T23" fmla="*/ 617 h 1661"/>
                  <a:gd name="T24" fmla="*/ 92 w 692"/>
                  <a:gd name="T25" fmla="*/ 738 h 1661"/>
                  <a:gd name="T26" fmla="*/ 92 w 692"/>
                  <a:gd name="T27" fmla="*/ 824 h 1661"/>
                  <a:gd name="T28" fmla="*/ 106 w 692"/>
                  <a:gd name="T29" fmla="*/ 924 h 1661"/>
                  <a:gd name="T30" fmla="*/ 175 w 692"/>
                  <a:gd name="T31" fmla="*/ 942 h 1661"/>
                  <a:gd name="T32" fmla="*/ 298 w 692"/>
                  <a:gd name="T33" fmla="*/ 942 h 1661"/>
                  <a:gd name="T34" fmla="*/ 381 w 692"/>
                  <a:gd name="T35" fmla="*/ 942 h 1661"/>
                  <a:gd name="T36" fmla="*/ 505 w 692"/>
                  <a:gd name="T37" fmla="*/ 942 h 1661"/>
                  <a:gd name="T38" fmla="*/ 515 w 692"/>
                  <a:gd name="T39" fmla="*/ 969 h 1661"/>
                  <a:gd name="T40" fmla="*/ 429 w 692"/>
                  <a:gd name="T41" fmla="*/ 968 h 1661"/>
                  <a:gd name="T42" fmla="*/ 342 w 692"/>
                  <a:gd name="T43" fmla="*/ 968 h 1661"/>
                  <a:gd name="T44" fmla="*/ 222 w 692"/>
                  <a:gd name="T45" fmla="*/ 968 h 1661"/>
                  <a:gd name="T46" fmla="*/ 88 w 692"/>
                  <a:gd name="T47" fmla="*/ 1037 h 1661"/>
                  <a:gd name="T48" fmla="*/ 106 w 692"/>
                  <a:gd name="T49" fmla="*/ 1661 h 1661"/>
                  <a:gd name="T50" fmla="*/ 125 w 692"/>
                  <a:gd name="T51" fmla="*/ 1332 h 1661"/>
                  <a:gd name="T52" fmla="*/ 210 w 692"/>
                  <a:gd name="T53" fmla="*/ 1298 h 1661"/>
                  <a:gd name="T54" fmla="*/ 249 w 692"/>
                  <a:gd name="T55" fmla="*/ 1196 h 1661"/>
                  <a:gd name="T56" fmla="*/ 284 w 692"/>
                  <a:gd name="T57" fmla="*/ 1093 h 1661"/>
                  <a:gd name="T58" fmla="*/ 375 w 692"/>
                  <a:gd name="T59" fmla="*/ 1118 h 1661"/>
                  <a:gd name="T60" fmla="*/ 335 w 692"/>
                  <a:gd name="T61" fmla="*/ 1049 h 1661"/>
                  <a:gd name="T62" fmla="*/ 263 w 692"/>
                  <a:gd name="T63" fmla="*/ 1048 h 1661"/>
                  <a:gd name="T64" fmla="*/ 206 w 692"/>
                  <a:gd name="T65" fmla="*/ 1176 h 1661"/>
                  <a:gd name="T66" fmla="*/ 167 w 692"/>
                  <a:gd name="T67" fmla="*/ 1268 h 1661"/>
                  <a:gd name="T68" fmla="*/ 125 w 692"/>
                  <a:gd name="T69" fmla="*/ 1131 h 1661"/>
                  <a:gd name="T70" fmla="*/ 167 w 692"/>
                  <a:gd name="T71" fmla="*/ 1017 h 1661"/>
                  <a:gd name="T72" fmla="*/ 515 w 692"/>
                  <a:gd name="T73" fmla="*/ 1012 h 1661"/>
                  <a:gd name="T74" fmla="*/ 566 w 692"/>
                  <a:gd name="T75" fmla="*/ 1033 h 1661"/>
                  <a:gd name="T76" fmla="*/ 486 w 692"/>
                  <a:gd name="T77" fmla="*/ 1049 h 1661"/>
                  <a:gd name="T78" fmla="*/ 394 w 692"/>
                  <a:gd name="T79" fmla="*/ 1123 h 1661"/>
                  <a:gd name="T80" fmla="*/ 380 w 692"/>
                  <a:gd name="T81" fmla="*/ 1210 h 1661"/>
                  <a:gd name="T82" fmla="*/ 468 w 692"/>
                  <a:gd name="T83" fmla="*/ 1107 h 1661"/>
                  <a:gd name="T84" fmla="*/ 595 w 692"/>
                  <a:gd name="T85" fmla="*/ 1116 h 1661"/>
                  <a:gd name="T86" fmla="*/ 588 w 692"/>
                  <a:gd name="T87" fmla="*/ 1022 h 1661"/>
                  <a:gd name="T88" fmla="*/ 607 w 692"/>
                  <a:gd name="T89" fmla="*/ 940 h 1661"/>
                  <a:gd name="T90" fmla="*/ 647 w 692"/>
                  <a:gd name="T91" fmla="*/ 874 h 1661"/>
                  <a:gd name="T92" fmla="*/ 98 w 692"/>
                  <a:gd name="T93" fmla="*/ 75 h 1661"/>
                  <a:gd name="T94" fmla="*/ 167 w 692"/>
                  <a:gd name="T95" fmla="*/ 1288 h 1661"/>
                  <a:gd name="T96" fmla="*/ 140 w 692"/>
                  <a:gd name="T97" fmla="*/ 1313 h 1661"/>
                  <a:gd name="T98" fmla="*/ 106 w 692"/>
                  <a:gd name="T99" fmla="*/ 1641 h 1661"/>
                  <a:gd name="T100" fmla="*/ 133 w 692"/>
                  <a:gd name="T101" fmla="*/ 1613 h 1661"/>
                  <a:gd name="T102" fmla="*/ 595 w 692"/>
                  <a:gd name="T103" fmla="*/ 1097 h 1661"/>
                  <a:gd name="T104" fmla="*/ 586 w 692"/>
                  <a:gd name="T105" fmla="*/ 984 h 1661"/>
                  <a:gd name="T106" fmla="*/ 559 w 692"/>
                  <a:gd name="T107" fmla="*/ 954 h 1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2" h="1661">
                    <a:moveTo>
                      <a:pt x="647" y="874"/>
                    </a:moveTo>
                    <a:cubicBezTo>
                      <a:pt x="630" y="874"/>
                      <a:pt x="614" y="885"/>
                      <a:pt x="607" y="900"/>
                    </a:cubicBezTo>
                    <a:cubicBezTo>
                      <a:pt x="594" y="900"/>
                      <a:pt x="418" y="899"/>
                      <a:pt x="412" y="899"/>
                    </a:cubicBezTo>
                    <a:cubicBezTo>
                      <a:pt x="395" y="899"/>
                      <a:pt x="378" y="899"/>
                      <a:pt x="361" y="899"/>
                    </a:cubicBezTo>
                    <a:cubicBezTo>
                      <a:pt x="355" y="899"/>
                      <a:pt x="349" y="899"/>
                      <a:pt x="343" y="899"/>
                    </a:cubicBezTo>
                    <a:cubicBezTo>
                      <a:pt x="326" y="899"/>
                      <a:pt x="171" y="899"/>
                      <a:pt x="154" y="899"/>
                    </a:cubicBezTo>
                    <a:cubicBezTo>
                      <a:pt x="149" y="900"/>
                      <a:pt x="144" y="901"/>
                      <a:pt x="140" y="897"/>
                    </a:cubicBezTo>
                    <a:cubicBezTo>
                      <a:pt x="127" y="880"/>
                      <a:pt x="136" y="862"/>
                      <a:pt x="135" y="845"/>
                    </a:cubicBezTo>
                    <a:cubicBezTo>
                      <a:pt x="133" y="839"/>
                      <a:pt x="133" y="489"/>
                      <a:pt x="135" y="483"/>
                    </a:cubicBezTo>
                    <a:cubicBezTo>
                      <a:pt x="133" y="468"/>
                      <a:pt x="135" y="452"/>
                      <a:pt x="128" y="438"/>
                    </a:cubicBezTo>
                    <a:cubicBezTo>
                      <a:pt x="126" y="436"/>
                      <a:pt x="124" y="434"/>
                      <a:pt x="123" y="432"/>
                    </a:cubicBezTo>
                    <a:cubicBezTo>
                      <a:pt x="113" y="423"/>
                      <a:pt x="104" y="414"/>
                      <a:pt x="95" y="404"/>
                    </a:cubicBezTo>
                    <a:cubicBezTo>
                      <a:pt x="91" y="401"/>
                      <a:pt x="87" y="398"/>
                      <a:pt x="85" y="393"/>
                    </a:cubicBezTo>
                    <a:cubicBezTo>
                      <a:pt x="79" y="387"/>
                      <a:pt x="71" y="380"/>
                      <a:pt x="65" y="373"/>
                    </a:cubicBezTo>
                    <a:cubicBezTo>
                      <a:pt x="59" y="369"/>
                      <a:pt x="54" y="364"/>
                      <a:pt x="51" y="359"/>
                    </a:cubicBezTo>
                    <a:cubicBezTo>
                      <a:pt x="37" y="348"/>
                      <a:pt x="44" y="168"/>
                      <a:pt x="44" y="162"/>
                    </a:cubicBezTo>
                    <a:cubicBezTo>
                      <a:pt x="39" y="143"/>
                      <a:pt x="45" y="126"/>
                      <a:pt x="62" y="113"/>
                    </a:cubicBezTo>
                    <a:cubicBezTo>
                      <a:pt x="70" y="107"/>
                      <a:pt x="77" y="99"/>
                      <a:pt x="84" y="92"/>
                    </a:cubicBezTo>
                    <a:cubicBezTo>
                      <a:pt x="88" y="93"/>
                      <a:pt x="93" y="94"/>
                      <a:pt x="98" y="94"/>
                    </a:cubicBezTo>
                    <a:cubicBezTo>
                      <a:pt x="124" y="94"/>
                      <a:pt x="145" y="73"/>
                      <a:pt x="145" y="47"/>
                    </a:cubicBezTo>
                    <a:cubicBezTo>
                      <a:pt x="145" y="21"/>
                      <a:pt x="124" y="0"/>
                      <a:pt x="98" y="0"/>
                    </a:cubicBezTo>
                    <a:cubicBezTo>
                      <a:pt x="72" y="0"/>
                      <a:pt x="51" y="21"/>
                      <a:pt x="51" y="47"/>
                    </a:cubicBezTo>
                    <a:cubicBezTo>
                      <a:pt x="51" y="53"/>
                      <a:pt x="52" y="58"/>
                      <a:pt x="53" y="63"/>
                    </a:cubicBezTo>
                    <a:cubicBezTo>
                      <a:pt x="50" y="66"/>
                      <a:pt x="46" y="70"/>
                      <a:pt x="42" y="73"/>
                    </a:cubicBezTo>
                    <a:cubicBezTo>
                      <a:pt x="23" y="93"/>
                      <a:pt x="0" y="110"/>
                      <a:pt x="0" y="142"/>
                    </a:cubicBezTo>
                    <a:cubicBezTo>
                      <a:pt x="2" y="148"/>
                      <a:pt x="2" y="358"/>
                      <a:pt x="2" y="362"/>
                    </a:cubicBezTo>
                    <a:cubicBezTo>
                      <a:pt x="6" y="373"/>
                      <a:pt x="13" y="381"/>
                      <a:pt x="20" y="390"/>
                    </a:cubicBezTo>
                    <a:cubicBezTo>
                      <a:pt x="25" y="394"/>
                      <a:pt x="29" y="399"/>
                      <a:pt x="34" y="404"/>
                    </a:cubicBezTo>
                    <a:cubicBezTo>
                      <a:pt x="41" y="410"/>
                      <a:pt x="48" y="418"/>
                      <a:pt x="54" y="424"/>
                    </a:cubicBezTo>
                    <a:cubicBezTo>
                      <a:pt x="58" y="428"/>
                      <a:pt x="61" y="431"/>
                      <a:pt x="65" y="434"/>
                    </a:cubicBezTo>
                    <a:cubicBezTo>
                      <a:pt x="74" y="441"/>
                      <a:pt x="81" y="450"/>
                      <a:pt x="89" y="459"/>
                    </a:cubicBezTo>
                    <a:cubicBezTo>
                      <a:pt x="95" y="465"/>
                      <a:pt x="92" y="473"/>
                      <a:pt x="92" y="479"/>
                    </a:cubicBezTo>
                    <a:cubicBezTo>
                      <a:pt x="92" y="497"/>
                      <a:pt x="92" y="514"/>
                      <a:pt x="92" y="531"/>
                    </a:cubicBezTo>
                    <a:cubicBezTo>
                      <a:pt x="92" y="537"/>
                      <a:pt x="92" y="543"/>
                      <a:pt x="92" y="549"/>
                    </a:cubicBezTo>
                    <a:cubicBezTo>
                      <a:pt x="92" y="566"/>
                      <a:pt x="92" y="583"/>
                      <a:pt x="92" y="600"/>
                    </a:cubicBezTo>
                    <a:cubicBezTo>
                      <a:pt x="92" y="606"/>
                      <a:pt x="92" y="611"/>
                      <a:pt x="92" y="617"/>
                    </a:cubicBezTo>
                    <a:cubicBezTo>
                      <a:pt x="92" y="634"/>
                      <a:pt x="92" y="652"/>
                      <a:pt x="92" y="669"/>
                    </a:cubicBezTo>
                    <a:cubicBezTo>
                      <a:pt x="92" y="675"/>
                      <a:pt x="92" y="681"/>
                      <a:pt x="92" y="687"/>
                    </a:cubicBezTo>
                    <a:cubicBezTo>
                      <a:pt x="92" y="704"/>
                      <a:pt x="92" y="720"/>
                      <a:pt x="92" y="738"/>
                    </a:cubicBezTo>
                    <a:cubicBezTo>
                      <a:pt x="92" y="743"/>
                      <a:pt x="92" y="749"/>
                      <a:pt x="92" y="755"/>
                    </a:cubicBezTo>
                    <a:cubicBezTo>
                      <a:pt x="92" y="772"/>
                      <a:pt x="92" y="790"/>
                      <a:pt x="92" y="807"/>
                    </a:cubicBezTo>
                    <a:cubicBezTo>
                      <a:pt x="92" y="813"/>
                      <a:pt x="92" y="819"/>
                      <a:pt x="92" y="824"/>
                    </a:cubicBezTo>
                    <a:cubicBezTo>
                      <a:pt x="92" y="841"/>
                      <a:pt x="92" y="858"/>
                      <a:pt x="92" y="875"/>
                    </a:cubicBezTo>
                    <a:cubicBezTo>
                      <a:pt x="92" y="881"/>
                      <a:pt x="92" y="887"/>
                      <a:pt x="92" y="893"/>
                    </a:cubicBezTo>
                    <a:cubicBezTo>
                      <a:pt x="95" y="904"/>
                      <a:pt x="98" y="914"/>
                      <a:pt x="106" y="924"/>
                    </a:cubicBezTo>
                    <a:cubicBezTo>
                      <a:pt x="109" y="927"/>
                      <a:pt x="112" y="931"/>
                      <a:pt x="116" y="934"/>
                    </a:cubicBezTo>
                    <a:cubicBezTo>
                      <a:pt x="130" y="941"/>
                      <a:pt x="146" y="942"/>
                      <a:pt x="160" y="942"/>
                    </a:cubicBezTo>
                    <a:cubicBezTo>
                      <a:pt x="165" y="942"/>
                      <a:pt x="170" y="942"/>
                      <a:pt x="175" y="942"/>
                    </a:cubicBezTo>
                    <a:cubicBezTo>
                      <a:pt x="193" y="942"/>
                      <a:pt x="211" y="942"/>
                      <a:pt x="230" y="942"/>
                    </a:cubicBezTo>
                    <a:cubicBezTo>
                      <a:pt x="234" y="942"/>
                      <a:pt x="239" y="942"/>
                      <a:pt x="244" y="942"/>
                    </a:cubicBezTo>
                    <a:cubicBezTo>
                      <a:pt x="262" y="942"/>
                      <a:pt x="280" y="942"/>
                      <a:pt x="298" y="942"/>
                    </a:cubicBezTo>
                    <a:cubicBezTo>
                      <a:pt x="303" y="942"/>
                      <a:pt x="308" y="942"/>
                      <a:pt x="312" y="942"/>
                    </a:cubicBezTo>
                    <a:cubicBezTo>
                      <a:pt x="331" y="942"/>
                      <a:pt x="349" y="942"/>
                      <a:pt x="367" y="942"/>
                    </a:cubicBezTo>
                    <a:cubicBezTo>
                      <a:pt x="372" y="942"/>
                      <a:pt x="376" y="942"/>
                      <a:pt x="381" y="942"/>
                    </a:cubicBezTo>
                    <a:cubicBezTo>
                      <a:pt x="400" y="942"/>
                      <a:pt x="418" y="942"/>
                      <a:pt x="436" y="942"/>
                    </a:cubicBezTo>
                    <a:cubicBezTo>
                      <a:pt x="441" y="942"/>
                      <a:pt x="446" y="942"/>
                      <a:pt x="450" y="942"/>
                    </a:cubicBezTo>
                    <a:cubicBezTo>
                      <a:pt x="468" y="942"/>
                      <a:pt x="487" y="942"/>
                      <a:pt x="505" y="942"/>
                    </a:cubicBezTo>
                    <a:cubicBezTo>
                      <a:pt x="510" y="942"/>
                      <a:pt x="514" y="942"/>
                      <a:pt x="519" y="942"/>
                    </a:cubicBezTo>
                    <a:cubicBezTo>
                      <a:pt x="525" y="942"/>
                      <a:pt x="530" y="941"/>
                      <a:pt x="536" y="941"/>
                    </a:cubicBezTo>
                    <a:cubicBezTo>
                      <a:pt x="526" y="948"/>
                      <a:pt x="519" y="957"/>
                      <a:pt x="515" y="969"/>
                    </a:cubicBezTo>
                    <a:cubicBezTo>
                      <a:pt x="510" y="969"/>
                      <a:pt x="504" y="968"/>
                      <a:pt x="498" y="968"/>
                    </a:cubicBezTo>
                    <a:cubicBezTo>
                      <a:pt x="492" y="968"/>
                      <a:pt x="486" y="968"/>
                      <a:pt x="480" y="968"/>
                    </a:cubicBezTo>
                    <a:cubicBezTo>
                      <a:pt x="463" y="968"/>
                      <a:pt x="446" y="968"/>
                      <a:pt x="429" y="968"/>
                    </a:cubicBezTo>
                    <a:cubicBezTo>
                      <a:pt x="423" y="968"/>
                      <a:pt x="417" y="968"/>
                      <a:pt x="412" y="968"/>
                    </a:cubicBezTo>
                    <a:cubicBezTo>
                      <a:pt x="394" y="968"/>
                      <a:pt x="377" y="968"/>
                      <a:pt x="360" y="968"/>
                    </a:cubicBezTo>
                    <a:cubicBezTo>
                      <a:pt x="354" y="968"/>
                      <a:pt x="348" y="968"/>
                      <a:pt x="342" y="968"/>
                    </a:cubicBezTo>
                    <a:cubicBezTo>
                      <a:pt x="325" y="968"/>
                      <a:pt x="308" y="968"/>
                      <a:pt x="290" y="968"/>
                    </a:cubicBezTo>
                    <a:cubicBezTo>
                      <a:pt x="285" y="968"/>
                      <a:pt x="279" y="968"/>
                      <a:pt x="273" y="968"/>
                    </a:cubicBezTo>
                    <a:cubicBezTo>
                      <a:pt x="256" y="968"/>
                      <a:pt x="239" y="968"/>
                      <a:pt x="222" y="968"/>
                    </a:cubicBezTo>
                    <a:cubicBezTo>
                      <a:pt x="216" y="968"/>
                      <a:pt x="210" y="968"/>
                      <a:pt x="204" y="968"/>
                    </a:cubicBezTo>
                    <a:cubicBezTo>
                      <a:pt x="187" y="970"/>
                      <a:pt x="169" y="966"/>
                      <a:pt x="153" y="973"/>
                    </a:cubicBezTo>
                    <a:cubicBezTo>
                      <a:pt x="128" y="992"/>
                      <a:pt x="108" y="1015"/>
                      <a:pt x="88" y="1037"/>
                    </a:cubicBezTo>
                    <a:cubicBezTo>
                      <a:pt x="80" y="1056"/>
                      <a:pt x="82" y="1557"/>
                      <a:pt x="82" y="1574"/>
                    </a:cubicBezTo>
                    <a:cubicBezTo>
                      <a:pt x="69" y="1582"/>
                      <a:pt x="60" y="1597"/>
                      <a:pt x="60" y="1613"/>
                    </a:cubicBezTo>
                    <a:cubicBezTo>
                      <a:pt x="60" y="1639"/>
                      <a:pt x="81" y="1661"/>
                      <a:pt x="106" y="1661"/>
                    </a:cubicBezTo>
                    <a:cubicBezTo>
                      <a:pt x="132" y="1661"/>
                      <a:pt x="152" y="1639"/>
                      <a:pt x="152" y="1613"/>
                    </a:cubicBezTo>
                    <a:cubicBezTo>
                      <a:pt x="152" y="1594"/>
                      <a:pt x="141" y="1578"/>
                      <a:pt x="125" y="1570"/>
                    </a:cubicBezTo>
                    <a:cubicBezTo>
                      <a:pt x="125" y="1562"/>
                      <a:pt x="125" y="1351"/>
                      <a:pt x="125" y="1332"/>
                    </a:cubicBezTo>
                    <a:cubicBezTo>
                      <a:pt x="132" y="1347"/>
                      <a:pt x="148" y="1358"/>
                      <a:pt x="167" y="1358"/>
                    </a:cubicBezTo>
                    <a:cubicBezTo>
                      <a:pt x="192" y="1358"/>
                      <a:pt x="213" y="1338"/>
                      <a:pt x="213" y="1313"/>
                    </a:cubicBezTo>
                    <a:cubicBezTo>
                      <a:pt x="213" y="1308"/>
                      <a:pt x="212" y="1303"/>
                      <a:pt x="210" y="1298"/>
                    </a:cubicBezTo>
                    <a:cubicBezTo>
                      <a:pt x="220" y="1288"/>
                      <a:pt x="230" y="1278"/>
                      <a:pt x="240" y="1268"/>
                    </a:cubicBezTo>
                    <a:cubicBezTo>
                      <a:pt x="250" y="1251"/>
                      <a:pt x="247" y="1232"/>
                      <a:pt x="249" y="1213"/>
                    </a:cubicBezTo>
                    <a:cubicBezTo>
                      <a:pt x="249" y="1208"/>
                      <a:pt x="249" y="1202"/>
                      <a:pt x="249" y="1196"/>
                    </a:cubicBezTo>
                    <a:cubicBezTo>
                      <a:pt x="249" y="1180"/>
                      <a:pt x="249" y="1162"/>
                      <a:pt x="249" y="1145"/>
                    </a:cubicBezTo>
                    <a:cubicBezTo>
                      <a:pt x="249" y="1139"/>
                      <a:pt x="249" y="1133"/>
                      <a:pt x="249" y="1127"/>
                    </a:cubicBezTo>
                    <a:cubicBezTo>
                      <a:pt x="247" y="1091"/>
                      <a:pt x="247" y="1091"/>
                      <a:pt x="284" y="1093"/>
                    </a:cubicBezTo>
                    <a:cubicBezTo>
                      <a:pt x="290" y="1093"/>
                      <a:pt x="296" y="1093"/>
                      <a:pt x="301" y="1093"/>
                    </a:cubicBezTo>
                    <a:cubicBezTo>
                      <a:pt x="312" y="1093"/>
                      <a:pt x="323" y="1092"/>
                      <a:pt x="334" y="1091"/>
                    </a:cubicBezTo>
                    <a:cubicBezTo>
                      <a:pt x="341" y="1107"/>
                      <a:pt x="357" y="1118"/>
                      <a:pt x="375" y="1118"/>
                    </a:cubicBezTo>
                    <a:cubicBezTo>
                      <a:pt x="400" y="1118"/>
                      <a:pt x="421" y="1097"/>
                      <a:pt x="421" y="1071"/>
                    </a:cubicBezTo>
                    <a:cubicBezTo>
                      <a:pt x="421" y="1045"/>
                      <a:pt x="400" y="1024"/>
                      <a:pt x="375" y="1024"/>
                    </a:cubicBezTo>
                    <a:cubicBezTo>
                      <a:pt x="358" y="1024"/>
                      <a:pt x="343" y="1034"/>
                      <a:pt x="335" y="1049"/>
                    </a:cubicBezTo>
                    <a:cubicBezTo>
                      <a:pt x="334" y="1048"/>
                      <a:pt x="333" y="1048"/>
                      <a:pt x="332" y="1048"/>
                    </a:cubicBezTo>
                    <a:cubicBezTo>
                      <a:pt x="315" y="1048"/>
                      <a:pt x="298" y="1048"/>
                      <a:pt x="280" y="1048"/>
                    </a:cubicBezTo>
                    <a:cubicBezTo>
                      <a:pt x="274" y="1048"/>
                      <a:pt x="269" y="1048"/>
                      <a:pt x="263" y="1048"/>
                    </a:cubicBezTo>
                    <a:cubicBezTo>
                      <a:pt x="224" y="1054"/>
                      <a:pt x="210" y="1068"/>
                      <a:pt x="206" y="1106"/>
                    </a:cubicBezTo>
                    <a:cubicBezTo>
                      <a:pt x="207" y="1112"/>
                      <a:pt x="207" y="1118"/>
                      <a:pt x="206" y="1124"/>
                    </a:cubicBezTo>
                    <a:cubicBezTo>
                      <a:pt x="206" y="1141"/>
                      <a:pt x="206" y="1158"/>
                      <a:pt x="206" y="1176"/>
                    </a:cubicBezTo>
                    <a:cubicBezTo>
                      <a:pt x="207" y="1182"/>
                      <a:pt x="207" y="1187"/>
                      <a:pt x="206" y="1193"/>
                    </a:cubicBezTo>
                    <a:cubicBezTo>
                      <a:pt x="210" y="1224"/>
                      <a:pt x="207" y="1251"/>
                      <a:pt x="179" y="1270"/>
                    </a:cubicBezTo>
                    <a:cubicBezTo>
                      <a:pt x="175" y="1269"/>
                      <a:pt x="171" y="1268"/>
                      <a:pt x="167" y="1268"/>
                    </a:cubicBezTo>
                    <a:cubicBezTo>
                      <a:pt x="148" y="1268"/>
                      <a:pt x="132" y="1279"/>
                      <a:pt x="125" y="1295"/>
                    </a:cubicBezTo>
                    <a:cubicBezTo>
                      <a:pt x="125" y="1288"/>
                      <a:pt x="125" y="1217"/>
                      <a:pt x="125" y="1200"/>
                    </a:cubicBezTo>
                    <a:cubicBezTo>
                      <a:pt x="125" y="1194"/>
                      <a:pt x="125" y="1148"/>
                      <a:pt x="125" y="1131"/>
                    </a:cubicBezTo>
                    <a:cubicBezTo>
                      <a:pt x="125" y="1125"/>
                      <a:pt x="125" y="1079"/>
                      <a:pt x="125" y="1062"/>
                    </a:cubicBezTo>
                    <a:cubicBezTo>
                      <a:pt x="125" y="1059"/>
                      <a:pt x="125" y="1057"/>
                      <a:pt x="128" y="1055"/>
                    </a:cubicBezTo>
                    <a:cubicBezTo>
                      <a:pt x="140" y="1041"/>
                      <a:pt x="153" y="1029"/>
                      <a:pt x="167" y="1017"/>
                    </a:cubicBezTo>
                    <a:cubicBezTo>
                      <a:pt x="168" y="1014"/>
                      <a:pt x="170" y="1013"/>
                      <a:pt x="173" y="1012"/>
                    </a:cubicBezTo>
                    <a:cubicBezTo>
                      <a:pt x="190" y="1008"/>
                      <a:pt x="483" y="1010"/>
                      <a:pt x="501" y="1011"/>
                    </a:cubicBezTo>
                    <a:cubicBezTo>
                      <a:pt x="505" y="1011"/>
                      <a:pt x="511" y="1012"/>
                      <a:pt x="515" y="1012"/>
                    </a:cubicBezTo>
                    <a:cubicBezTo>
                      <a:pt x="517" y="1011"/>
                      <a:pt x="519" y="1011"/>
                      <a:pt x="520" y="1011"/>
                    </a:cubicBezTo>
                    <a:cubicBezTo>
                      <a:pt x="529" y="1024"/>
                      <a:pt x="543" y="1034"/>
                      <a:pt x="559" y="1034"/>
                    </a:cubicBezTo>
                    <a:cubicBezTo>
                      <a:pt x="561" y="1034"/>
                      <a:pt x="563" y="1033"/>
                      <a:pt x="566" y="1033"/>
                    </a:cubicBezTo>
                    <a:cubicBezTo>
                      <a:pt x="561" y="1037"/>
                      <a:pt x="557" y="1043"/>
                      <a:pt x="554" y="1049"/>
                    </a:cubicBezTo>
                    <a:cubicBezTo>
                      <a:pt x="548" y="1048"/>
                      <a:pt x="543" y="1048"/>
                      <a:pt x="539" y="1048"/>
                    </a:cubicBezTo>
                    <a:cubicBezTo>
                      <a:pt x="521" y="1048"/>
                      <a:pt x="504" y="1049"/>
                      <a:pt x="486" y="1049"/>
                    </a:cubicBezTo>
                    <a:cubicBezTo>
                      <a:pt x="481" y="1050"/>
                      <a:pt x="475" y="1051"/>
                      <a:pt x="470" y="1052"/>
                    </a:cubicBezTo>
                    <a:cubicBezTo>
                      <a:pt x="467" y="1053"/>
                      <a:pt x="465" y="1055"/>
                      <a:pt x="463" y="1056"/>
                    </a:cubicBezTo>
                    <a:cubicBezTo>
                      <a:pt x="439" y="1078"/>
                      <a:pt x="416" y="1100"/>
                      <a:pt x="394" y="1123"/>
                    </a:cubicBezTo>
                    <a:cubicBezTo>
                      <a:pt x="390" y="1122"/>
                      <a:pt x="385" y="1121"/>
                      <a:pt x="380" y="1121"/>
                    </a:cubicBezTo>
                    <a:cubicBezTo>
                      <a:pt x="356" y="1121"/>
                      <a:pt x="336" y="1141"/>
                      <a:pt x="336" y="1166"/>
                    </a:cubicBezTo>
                    <a:cubicBezTo>
                      <a:pt x="336" y="1190"/>
                      <a:pt x="356" y="1210"/>
                      <a:pt x="380" y="1210"/>
                    </a:cubicBezTo>
                    <a:cubicBezTo>
                      <a:pt x="404" y="1210"/>
                      <a:pt x="423" y="1190"/>
                      <a:pt x="423" y="1166"/>
                    </a:cubicBezTo>
                    <a:cubicBezTo>
                      <a:pt x="423" y="1161"/>
                      <a:pt x="423" y="1157"/>
                      <a:pt x="421" y="1153"/>
                    </a:cubicBezTo>
                    <a:cubicBezTo>
                      <a:pt x="437" y="1137"/>
                      <a:pt x="453" y="1123"/>
                      <a:pt x="468" y="1107"/>
                    </a:cubicBezTo>
                    <a:cubicBezTo>
                      <a:pt x="480" y="1095"/>
                      <a:pt x="492" y="1089"/>
                      <a:pt x="508" y="1093"/>
                    </a:cubicBezTo>
                    <a:cubicBezTo>
                      <a:pt x="524" y="1093"/>
                      <a:pt x="540" y="1093"/>
                      <a:pt x="556" y="1093"/>
                    </a:cubicBezTo>
                    <a:cubicBezTo>
                      <a:pt x="564" y="1107"/>
                      <a:pt x="579" y="1116"/>
                      <a:pt x="595" y="1116"/>
                    </a:cubicBezTo>
                    <a:cubicBezTo>
                      <a:pt x="621" y="1116"/>
                      <a:pt x="641" y="1095"/>
                      <a:pt x="641" y="1069"/>
                    </a:cubicBezTo>
                    <a:cubicBezTo>
                      <a:pt x="641" y="1043"/>
                      <a:pt x="621" y="1022"/>
                      <a:pt x="595" y="1022"/>
                    </a:cubicBezTo>
                    <a:cubicBezTo>
                      <a:pt x="593" y="1022"/>
                      <a:pt x="590" y="1022"/>
                      <a:pt x="588" y="1022"/>
                    </a:cubicBezTo>
                    <a:cubicBezTo>
                      <a:pt x="598" y="1013"/>
                      <a:pt x="605" y="999"/>
                      <a:pt x="605" y="984"/>
                    </a:cubicBezTo>
                    <a:cubicBezTo>
                      <a:pt x="605" y="965"/>
                      <a:pt x="595" y="949"/>
                      <a:pt x="581" y="941"/>
                    </a:cubicBezTo>
                    <a:cubicBezTo>
                      <a:pt x="590" y="941"/>
                      <a:pt x="598" y="941"/>
                      <a:pt x="607" y="940"/>
                    </a:cubicBezTo>
                    <a:cubicBezTo>
                      <a:pt x="615" y="955"/>
                      <a:pt x="630" y="966"/>
                      <a:pt x="647" y="966"/>
                    </a:cubicBezTo>
                    <a:cubicBezTo>
                      <a:pt x="672" y="966"/>
                      <a:pt x="692" y="945"/>
                      <a:pt x="692" y="920"/>
                    </a:cubicBezTo>
                    <a:cubicBezTo>
                      <a:pt x="692" y="894"/>
                      <a:pt x="672" y="874"/>
                      <a:pt x="647" y="874"/>
                    </a:cubicBezTo>
                    <a:close/>
                    <a:moveTo>
                      <a:pt x="98" y="19"/>
                    </a:moveTo>
                    <a:cubicBezTo>
                      <a:pt x="113" y="19"/>
                      <a:pt x="126" y="32"/>
                      <a:pt x="126" y="47"/>
                    </a:cubicBezTo>
                    <a:cubicBezTo>
                      <a:pt x="126" y="62"/>
                      <a:pt x="113" y="75"/>
                      <a:pt x="98" y="75"/>
                    </a:cubicBezTo>
                    <a:cubicBezTo>
                      <a:pt x="82" y="75"/>
                      <a:pt x="70" y="62"/>
                      <a:pt x="70" y="47"/>
                    </a:cubicBezTo>
                    <a:cubicBezTo>
                      <a:pt x="70" y="32"/>
                      <a:pt x="82" y="19"/>
                      <a:pt x="98" y="19"/>
                    </a:cubicBezTo>
                    <a:close/>
                    <a:moveTo>
                      <a:pt x="167" y="1288"/>
                    </a:moveTo>
                    <a:cubicBezTo>
                      <a:pt x="181" y="1288"/>
                      <a:pt x="193" y="1299"/>
                      <a:pt x="193" y="1313"/>
                    </a:cubicBezTo>
                    <a:cubicBezTo>
                      <a:pt x="193" y="1327"/>
                      <a:pt x="181" y="1339"/>
                      <a:pt x="167" y="1339"/>
                    </a:cubicBezTo>
                    <a:cubicBezTo>
                      <a:pt x="152" y="1339"/>
                      <a:pt x="140" y="1327"/>
                      <a:pt x="140" y="1313"/>
                    </a:cubicBezTo>
                    <a:cubicBezTo>
                      <a:pt x="140" y="1299"/>
                      <a:pt x="152" y="1288"/>
                      <a:pt x="167" y="1288"/>
                    </a:cubicBezTo>
                    <a:close/>
                    <a:moveTo>
                      <a:pt x="133" y="1613"/>
                    </a:moveTo>
                    <a:cubicBezTo>
                      <a:pt x="133" y="1629"/>
                      <a:pt x="121" y="1641"/>
                      <a:pt x="106" y="1641"/>
                    </a:cubicBezTo>
                    <a:cubicBezTo>
                      <a:pt x="92" y="1641"/>
                      <a:pt x="80" y="1629"/>
                      <a:pt x="80" y="1613"/>
                    </a:cubicBezTo>
                    <a:cubicBezTo>
                      <a:pt x="80" y="1598"/>
                      <a:pt x="92" y="1586"/>
                      <a:pt x="106" y="1586"/>
                    </a:cubicBezTo>
                    <a:cubicBezTo>
                      <a:pt x="121" y="1586"/>
                      <a:pt x="133" y="1598"/>
                      <a:pt x="133" y="1613"/>
                    </a:cubicBezTo>
                    <a:close/>
                    <a:moveTo>
                      <a:pt x="595" y="1041"/>
                    </a:moveTo>
                    <a:cubicBezTo>
                      <a:pt x="610" y="1041"/>
                      <a:pt x="622" y="1053"/>
                      <a:pt x="622" y="1069"/>
                    </a:cubicBezTo>
                    <a:cubicBezTo>
                      <a:pt x="622" y="1084"/>
                      <a:pt x="610" y="1097"/>
                      <a:pt x="595" y="1097"/>
                    </a:cubicBezTo>
                    <a:cubicBezTo>
                      <a:pt x="581" y="1097"/>
                      <a:pt x="569" y="1084"/>
                      <a:pt x="569" y="1069"/>
                    </a:cubicBezTo>
                    <a:cubicBezTo>
                      <a:pt x="569" y="1053"/>
                      <a:pt x="581" y="1041"/>
                      <a:pt x="595" y="1041"/>
                    </a:cubicBezTo>
                    <a:close/>
                    <a:moveTo>
                      <a:pt x="586" y="984"/>
                    </a:moveTo>
                    <a:cubicBezTo>
                      <a:pt x="586" y="1001"/>
                      <a:pt x="574" y="1014"/>
                      <a:pt x="559" y="1014"/>
                    </a:cubicBezTo>
                    <a:cubicBezTo>
                      <a:pt x="544" y="1014"/>
                      <a:pt x="532" y="1001"/>
                      <a:pt x="532" y="984"/>
                    </a:cubicBezTo>
                    <a:cubicBezTo>
                      <a:pt x="532" y="967"/>
                      <a:pt x="544" y="954"/>
                      <a:pt x="559" y="954"/>
                    </a:cubicBezTo>
                    <a:cubicBezTo>
                      <a:pt x="574" y="954"/>
                      <a:pt x="586" y="967"/>
                      <a:pt x="586" y="9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1" name="Freeform 12"/>
              <p:cNvSpPr>
                <a:spLocks/>
              </p:cNvSpPr>
              <p:nvPr/>
            </p:nvSpPr>
            <p:spPr bwMode="gray">
              <a:xfrm>
                <a:off x="3000" y="2420"/>
                <a:ext cx="807" cy="440"/>
              </a:xfrm>
              <a:custGeom>
                <a:avLst/>
                <a:gdLst>
                  <a:gd name="T0" fmla="*/ 296 w 341"/>
                  <a:gd name="T1" fmla="*/ 96 h 186"/>
                  <a:gd name="T2" fmla="*/ 256 w 341"/>
                  <a:gd name="T3" fmla="*/ 122 h 186"/>
                  <a:gd name="T4" fmla="*/ 234 w 341"/>
                  <a:gd name="T5" fmla="*/ 121 h 186"/>
                  <a:gd name="T6" fmla="*/ 216 w 341"/>
                  <a:gd name="T7" fmla="*/ 121 h 186"/>
                  <a:gd name="T8" fmla="*/ 164 w 341"/>
                  <a:gd name="T9" fmla="*/ 121 h 186"/>
                  <a:gd name="T10" fmla="*/ 146 w 341"/>
                  <a:gd name="T11" fmla="*/ 115 h 186"/>
                  <a:gd name="T12" fmla="*/ 126 w 341"/>
                  <a:gd name="T13" fmla="*/ 94 h 186"/>
                  <a:gd name="T14" fmla="*/ 116 w 341"/>
                  <a:gd name="T15" fmla="*/ 83 h 186"/>
                  <a:gd name="T16" fmla="*/ 88 w 341"/>
                  <a:gd name="T17" fmla="*/ 56 h 186"/>
                  <a:gd name="T18" fmla="*/ 87 w 341"/>
                  <a:gd name="T19" fmla="*/ 56 h 186"/>
                  <a:gd name="T20" fmla="*/ 89 w 341"/>
                  <a:gd name="T21" fmla="*/ 44 h 186"/>
                  <a:gd name="T22" fmla="*/ 44 w 341"/>
                  <a:gd name="T23" fmla="*/ 0 h 186"/>
                  <a:gd name="T24" fmla="*/ 0 w 341"/>
                  <a:gd name="T25" fmla="*/ 44 h 186"/>
                  <a:gd name="T26" fmla="*/ 44 w 341"/>
                  <a:gd name="T27" fmla="*/ 89 h 186"/>
                  <a:gd name="T28" fmla="*/ 57 w 341"/>
                  <a:gd name="T29" fmla="*/ 87 h 186"/>
                  <a:gd name="T30" fmla="*/ 61 w 341"/>
                  <a:gd name="T31" fmla="*/ 91 h 186"/>
                  <a:gd name="T32" fmla="*/ 81 w 341"/>
                  <a:gd name="T33" fmla="*/ 111 h 186"/>
                  <a:gd name="T34" fmla="*/ 95 w 341"/>
                  <a:gd name="T35" fmla="*/ 124 h 186"/>
                  <a:gd name="T36" fmla="*/ 116 w 341"/>
                  <a:gd name="T37" fmla="*/ 145 h 186"/>
                  <a:gd name="T38" fmla="*/ 126 w 341"/>
                  <a:gd name="T39" fmla="*/ 155 h 186"/>
                  <a:gd name="T40" fmla="*/ 168 w 341"/>
                  <a:gd name="T41" fmla="*/ 163 h 186"/>
                  <a:gd name="T42" fmla="*/ 182 w 341"/>
                  <a:gd name="T43" fmla="*/ 164 h 186"/>
                  <a:gd name="T44" fmla="*/ 236 w 341"/>
                  <a:gd name="T45" fmla="*/ 163 h 186"/>
                  <a:gd name="T46" fmla="*/ 254 w 341"/>
                  <a:gd name="T47" fmla="*/ 164 h 186"/>
                  <a:gd name="T48" fmla="*/ 258 w 341"/>
                  <a:gd name="T49" fmla="*/ 164 h 186"/>
                  <a:gd name="T50" fmla="*/ 296 w 341"/>
                  <a:gd name="T51" fmla="*/ 186 h 186"/>
                  <a:gd name="T52" fmla="*/ 341 w 341"/>
                  <a:gd name="T53" fmla="*/ 141 h 186"/>
                  <a:gd name="T54" fmla="*/ 296 w 341"/>
                  <a:gd name="T55" fmla="*/ 9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1" h="186">
                    <a:moveTo>
                      <a:pt x="296" y="96"/>
                    </a:moveTo>
                    <a:cubicBezTo>
                      <a:pt x="278" y="96"/>
                      <a:pt x="263" y="107"/>
                      <a:pt x="256" y="122"/>
                    </a:cubicBezTo>
                    <a:cubicBezTo>
                      <a:pt x="248" y="121"/>
                      <a:pt x="241" y="121"/>
                      <a:pt x="234" y="121"/>
                    </a:cubicBezTo>
                    <a:cubicBezTo>
                      <a:pt x="228" y="121"/>
                      <a:pt x="222" y="121"/>
                      <a:pt x="216" y="121"/>
                    </a:cubicBezTo>
                    <a:cubicBezTo>
                      <a:pt x="199" y="121"/>
                      <a:pt x="182" y="121"/>
                      <a:pt x="164" y="121"/>
                    </a:cubicBezTo>
                    <a:cubicBezTo>
                      <a:pt x="157" y="122"/>
                      <a:pt x="151" y="122"/>
                      <a:pt x="146" y="115"/>
                    </a:cubicBezTo>
                    <a:cubicBezTo>
                      <a:pt x="140" y="108"/>
                      <a:pt x="133" y="101"/>
                      <a:pt x="126" y="94"/>
                    </a:cubicBezTo>
                    <a:cubicBezTo>
                      <a:pt x="121" y="91"/>
                      <a:pt x="118" y="88"/>
                      <a:pt x="116" y="83"/>
                    </a:cubicBezTo>
                    <a:cubicBezTo>
                      <a:pt x="105" y="76"/>
                      <a:pt x="96" y="66"/>
                      <a:pt x="88" y="56"/>
                    </a:cubicBezTo>
                    <a:cubicBezTo>
                      <a:pt x="88" y="56"/>
                      <a:pt x="88" y="56"/>
                      <a:pt x="87" y="56"/>
                    </a:cubicBezTo>
                    <a:cubicBezTo>
                      <a:pt x="88" y="52"/>
                      <a:pt x="89" y="48"/>
                      <a:pt x="89" y="44"/>
                    </a:cubicBezTo>
                    <a:cubicBezTo>
                      <a:pt x="89" y="20"/>
                      <a:pt x="69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4" y="89"/>
                    </a:cubicBezTo>
                    <a:cubicBezTo>
                      <a:pt x="49" y="89"/>
                      <a:pt x="53" y="88"/>
                      <a:pt x="57" y="87"/>
                    </a:cubicBezTo>
                    <a:cubicBezTo>
                      <a:pt x="59" y="88"/>
                      <a:pt x="60" y="89"/>
                      <a:pt x="61" y="91"/>
                    </a:cubicBezTo>
                    <a:cubicBezTo>
                      <a:pt x="67" y="97"/>
                      <a:pt x="75" y="104"/>
                      <a:pt x="81" y="111"/>
                    </a:cubicBezTo>
                    <a:cubicBezTo>
                      <a:pt x="86" y="116"/>
                      <a:pt x="90" y="120"/>
                      <a:pt x="95" y="124"/>
                    </a:cubicBezTo>
                    <a:cubicBezTo>
                      <a:pt x="102" y="132"/>
                      <a:pt x="109" y="138"/>
                      <a:pt x="116" y="145"/>
                    </a:cubicBezTo>
                    <a:cubicBezTo>
                      <a:pt x="119" y="149"/>
                      <a:pt x="123" y="152"/>
                      <a:pt x="126" y="155"/>
                    </a:cubicBezTo>
                    <a:cubicBezTo>
                      <a:pt x="139" y="162"/>
                      <a:pt x="153" y="163"/>
                      <a:pt x="168" y="163"/>
                    </a:cubicBezTo>
                    <a:cubicBezTo>
                      <a:pt x="172" y="163"/>
                      <a:pt x="177" y="163"/>
                      <a:pt x="182" y="164"/>
                    </a:cubicBezTo>
                    <a:cubicBezTo>
                      <a:pt x="200" y="163"/>
                      <a:pt x="218" y="163"/>
                      <a:pt x="236" y="163"/>
                    </a:cubicBezTo>
                    <a:cubicBezTo>
                      <a:pt x="242" y="163"/>
                      <a:pt x="248" y="163"/>
                      <a:pt x="254" y="164"/>
                    </a:cubicBezTo>
                    <a:cubicBezTo>
                      <a:pt x="255" y="164"/>
                      <a:pt x="257" y="164"/>
                      <a:pt x="258" y="164"/>
                    </a:cubicBezTo>
                    <a:cubicBezTo>
                      <a:pt x="265" y="177"/>
                      <a:pt x="280" y="186"/>
                      <a:pt x="296" y="186"/>
                    </a:cubicBezTo>
                    <a:cubicBezTo>
                      <a:pt x="321" y="186"/>
                      <a:pt x="341" y="166"/>
                      <a:pt x="341" y="141"/>
                    </a:cubicBezTo>
                    <a:cubicBezTo>
                      <a:pt x="341" y="116"/>
                      <a:pt x="321" y="96"/>
                      <a:pt x="2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2" name="Freeform 13"/>
              <p:cNvSpPr>
                <a:spLocks noEditPoints="1"/>
              </p:cNvSpPr>
              <p:nvPr/>
            </p:nvSpPr>
            <p:spPr bwMode="gray">
              <a:xfrm>
                <a:off x="1973" y="1045"/>
                <a:ext cx="217" cy="784"/>
              </a:xfrm>
              <a:custGeom>
                <a:avLst/>
                <a:gdLst>
                  <a:gd name="T0" fmla="*/ 92 w 92"/>
                  <a:gd name="T1" fmla="*/ 44 h 331"/>
                  <a:gd name="T2" fmla="*/ 47 w 92"/>
                  <a:gd name="T3" fmla="*/ 0 h 331"/>
                  <a:gd name="T4" fmla="*/ 3 w 92"/>
                  <a:gd name="T5" fmla="*/ 44 h 331"/>
                  <a:gd name="T6" fmla="*/ 25 w 92"/>
                  <a:gd name="T7" fmla="*/ 83 h 331"/>
                  <a:gd name="T8" fmla="*/ 24 w 92"/>
                  <a:gd name="T9" fmla="*/ 85 h 331"/>
                  <a:gd name="T10" fmla="*/ 24 w 92"/>
                  <a:gd name="T11" fmla="*/ 242 h 331"/>
                  <a:gd name="T12" fmla="*/ 25 w 92"/>
                  <a:gd name="T13" fmla="*/ 245 h 331"/>
                  <a:gd name="T14" fmla="*/ 0 w 92"/>
                  <a:gd name="T15" fmla="*/ 285 h 331"/>
                  <a:gd name="T16" fmla="*/ 46 w 92"/>
                  <a:gd name="T17" fmla="*/ 331 h 331"/>
                  <a:gd name="T18" fmla="*/ 92 w 92"/>
                  <a:gd name="T19" fmla="*/ 285 h 331"/>
                  <a:gd name="T20" fmla="*/ 69 w 92"/>
                  <a:gd name="T21" fmla="*/ 246 h 331"/>
                  <a:gd name="T22" fmla="*/ 70 w 92"/>
                  <a:gd name="T23" fmla="*/ 245 h 331"/>
                  <a:gd name="T24" fmla="*/ 69 w 92"/>
                  <a:gd name="T25" fmla="*/ 83 h 331"/>
                  <a:gd name="T26" fmla="*/ 92 w 92"/>
                  <a:gd name="T27" fmla="*/ 44 h 331"/>
                  <a:gd name="T28" fmla="*/ 73 w 92"/>
                  <a:gd name="T29" fmla="*/ 285 h 331"/>
                  <a:gd name="T30" fmla="*/ 46 w 92"/>
                  <a:gd name="T31" fmla="*/ 312 h 331"/>
                  <a:gd name="T32" fmla="*/ 20 w 92"/>
                  <a:gd name="T33" fmla="*/ 285 h 331"/>
                  <a:gd name="T34" fmla="*/ 46 w 92"/>
                  <a:gd name="T35" fmla="*/ 259 h 331"/>
                  <a:gd name="T36" fmla="*/ 73 w 92"/>
                  <a:gd name="T37" fmla="*/ 285 h 331"/>
                  <a:gd name="T38" fmla="*/ 47 w 92"/>
                  <a:gd name="T39" fmla="*/ 70 h 331"/>
                  <a:gd name="T40" fmla="*/ 22 w 92"/>
                  <a:gd name="T41" fmla="*/ 44 h 331"/>
                  <a:gd name="T42" fmla="*/ 47 w 92"/>
                  <a:gd name="T43" fmla="*/ 19 h 331"/>
                  <a:gd name="T44" fmla="*/ 73 w 92"/>
                  <a:gd name="T45" fmla="*/ 44 h 331"/>
                  <a:gd name="T46" fmla="*/ 47 w 92"/>
                  <a:gd name="T47" fmla="*/ 7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2" h="331">
                    <a:moveTo>
                      <a:pt x="92" y="44"/>
                    </a:moveTo>
                    <a:cubicBezTo>
                      <a:pt x="92" y="20"/>
                      <a:pt x="72" y="0"/>
                      <a:pt x="47" y="0"/>
                    </a:cubicBezTo>
                    <a:cubicBezTo>
                      <a:pt x="23" y="0"/>
                      <a:pt x="3" y="20"/>
                      <a:pt x="3" y="44"/>
                    </a:cubicBezTo>
                    <a:cubicBezTo>
                      <a:pt x="3" y="61"/>
                      <a:pt x="12" y="75"/>
                      <a:pt x="25" y="83"/>
                    </a:cubicBezTo>
                    <a:cubicBezTo>
                      <a:pt x="25" y="84"/>
                      <a:pt x="25" y="85"/>
                      <a:pt x="24" y="85"/>
                    </a:cubicBezTo>
                    <a:cubicBezTo>
                      <a:pt x="24" y="91"/>
                      <a:pt x="24" y="236"/>
                      <a:pt x="24" y="242"/>
                    </a:cubicBezTo>
                    <a:cubicBezTo>
                      <a:pt x="25" y="243"/>
                      <a:pt x="25" y="244"/>
                      <a:pt x="25" y="245"/>
                    </a:cubicBezTo>
                    <a:cubicBezTo>
                      <a:pt x="10" y="253"/>
                      <a:pt x="0" y="268"/>
                      <a:pt x="0" y="285"/>
                    </a:cubicBezTo>
                    <a:cubicBezTo>
                      <a:pt x="0" y="311"/>
                      <a:pt x="21" y="331"/>
                      <a:pt x="46" y="331"/>
                    </a:cubicBezTo>
                    <a:cubicBezTo>
                      <a:pt x="72" y="331"/>
                      <a:pt x="92" y="311"/>
                      <a:pt x="92" y="285"/>
                    </a:cubicBezTo>
                    <a:cubicBezTo>
                      <a:pt x="92" y="268"/>
                      <a:pt x="83" y="254"/>
                      <a:pt x="69" y="246"/>
                    </a:cubicBezTo>
                    <a:cubicBezTo>
                      <a:pt x="69" y="245"/>
                      <a:pt x="70" y="245"/>
                      <a:pt x="70" y="245"/>
                    </a:cubicBezTo>
                    <a:cubicBezTo>
                      <a:pt x="68" y="227"/>
                      <a:pt x="69" y="91"/>
                      <a:pt x="69" y="83"/>
                    </a:cubicBezTo>
                    <a:cubicBezTo>
                      <a:pt x="83" y="76"/>
                      <a:pt x="92" y="61"/>
                      <a:pt x="92" y="44"/>
                    </a:cubicBezTo>
                    <a:close/>
                    <a:moveTo>
                      <a:pt x="73" y="285"/>
                    </a:moveTo>
                    <a:cubicBezTo>
                      <a:pt x="73" y="300"/>
                      <a:pt x="61" y="312"/>
                      <a:pt x="46" y="312"/>
                    </a:cubicBezTo>
                    <a:cubicBezTo>
                      <a:pt x="32" y="312"/>
                      <a:pt x="20" y="300"/>
                      <a:pt x="20" y="285"/>
                    </a:cubicBezTo>
                    <a:cubicBezTo>
                      <a:pt x="20" y="271"/>
                      <a:pt x="32" y="259"/>
                      <a:pt x="46" y="259"/>
                    </a:cubicBezTo>
                    <a:cubicBezTo>
                      <a:pt x="61" y="259"/>
                      <a:pt x="73" y="271"/>
                      <a:pt x="73" y="285"/>
                    </a:cubicBezTo>
                    <a:close/>
                    <a:moveTo>
                      <a:pt x="47" y="70"/>
                    </a:moveTo>
                    <a:cubicBezTo>
                      <a:pt x="33" y="70"/>
                      <a:pt x="22" y="58"/>
                      <a:pt x="22" y="44"/>
                    </a:cubicBezTo>
                    <a:cubicBezTo>
                      <a:pt x="22" y="30"/>
                      <a:pt x="33" y="19"/>
                      <a:pt x="47" y="19"/>
                    </a:cubicBezTo>
                    <a:cubicBezTo>
                      <a:pt x="61" y="19"/>
                      <a:pt x="73" y="30"/>
                      <a:pt x="73" y="44"/>
                    </a:cubicBezTo>
                    <a:cubicBezTo>
                      <a:pt x="73" y="58"/>
                      <a:pt x="61" y="70"/>
                      <a:pt x="47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3" name="Freeform 14"/>
              <p:cNvSpPr>
                <a:spLocks noEditPoints="1"/>
              </p:cNvSpPr>
              <p:nvPr/>
            </p:nvSpPr>
            <p:spPr bwMode="gray">
              <a:xfrm>
                <a:off x="4195" y="470"/>
                <a:ext cx="350" cy="701"/>
              </a:xfrm>
              <a:custGeom>
                <a:avLst/>
                <a:gdLst>
                  <a:gd name="T0" fmla="*/ 45 w 148"/>
                  <a:gd name="T1" fmla="*/ 0 h 296"/>
                  <a:gd name="T2" fmla="*/ 0 w 148"/>
                  <a:gd name="T3" fmla="*/ 45 h 296"/>
                  <a:gd name="T4" fmla="*/ 45 w 148"/>
                  <a:gd name="T5" fmla="*/ 90 h 296"/>
                  <a:gd name="T6" fmla="*/ 58 w 148"/>
                  <a:gd name="T7" fmla="*/ 88 h 296"/>
                  <a:gd name="T8" fmla="*/ 69 w 148"/>
                  <a:gd name="T9" fmla="*/ 100 h 296"/>
                  <a:gd name="T10" fmla="*/ 79 w 148"/>
                  <a:gd name="T11" fmla="*/ 115 h 296"/>
                  <a:gd name="T12" fmla="*/ 79 w 148"/>
                  <a:gd name="T13" fmla="*/ 211 h 296"/>
                  <a:gd name="T14" fmla="*/ 54 w 148"/>
                  <a:gd name="T15" fmla="*/ 251 h 296"/>
                  <a:gd name="T16" fmla="*/ 101 w 148"/>
                  <a:gd name="T17" fmla="*/ 296 h 296"/>
                  <a:gd name="T18" fmla="*/ 148 w 148"/>
                  <a:gd name="T19" fmla="*/ 251 h 296"/>
                  <a:gd name="T20" fmla="*/ 121 w 148"/>
                  <a:gd name="T21" fmla="*/ 211 h 296"/>
                  <a:gd name="T22" fmla="*/ 122 w 148"/>
                  <a:gd name="T23" fmla="*/ 118 h 296"/>
                  <a:gd name="T24" fmla="*/ 111 w 148"/>
                  <a:gd name="T25" fmla="*/ 80 h 296"/>
                  <a:gd name="T26" fmla="*/ 100 w 148"/>
                  <a:gd name="T27" fmla="*/ 69 h 296"/>
                  <a:gd name="T28" fmla="*/ 88 w 148"/>
                  <a:gd name="T29" fmla="*/ 58 h 296"/>
                  <a:gd name="T30" fmla="*/ 90 w 148"/>
                  <a:gd name="T31" fmla="*/ 45 h 296"/>
                  <a:gd name="T32" fmla="*/ 45 w 148"/>
                  <a:gd name="T33" fmla="*/ 0 h 296"/>
                  <a:gd name="T34" fmla="*/ 129 w 148"/>
                  <a:gd name="T35" fmla="*/ 251 h 296"/>
                  <a:gd name="T36" fmla="*/ 101 w 148"/>
                  <a:gd name="T37" fmla="*/ 276 h 296"/>
                  <a:gd name="T38" fmla="*/ 73 w 148"/>
                  <a:gd name="T39" fmla="*/ 251 h 296"/>
                  <a:gd name="T40" fmla="*/ 101 w 148"/>
                  <a:gd name="T41" fmla="*/ 226 h 296"/>
                  <a:gd name="T42" fmla="*/ 129 w 148"/>
                  <a:gd name="T43" fmla="*/ 251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8" h="296">
                    <a:moveTo>
                      <a:pt x="45" y="0"/>
                    </a:moveTo>
                    <a:cubicBezTo>
                      <a:pt x="21" y="0"/>
                      <a:pt x="0" y="21"/>
                      <a:pt x="0" y="45"/>
                    </a:cubicBezTo>
                    <a:cubicBezTo>
                      <a:pt x="0" y="70"/>
                      <a:pt x="21" y="90"/>
                      <a:pt x="45" y="90"/>
                    </a:cubicBezTo>
                    <a:cubicBezTo>
                      <a:pt x="50" y="90"/>
                      <a:pt x="54" y="89"/>
                      <a:pt x="58" y="88"/>
                    </a:cubicBezTo>
                    <a:cubicBezTo>
                      <a:pt x="62" y="92"/>
                      <a:pt x="66" y="96"/>
                      <a:pt x="69" y="100"/>
                    </a:cubicBezTo>
                    <a:cubicBezTo>
                      <a:pt x="74" y="104"/>
                      <a:pt x="79" y="107"/>
                      <a:pt x="79" y="115"/>
                    </a:cubicBezTo>
                    <a:cubicBezTo>
                      <a:pt x="78" y="132"/>
                      <a:pt x="79" y="202"/>
                      <a:pt x="79" y="211"/>
                    </a:cubicBezTo>
                    <a:cubicBezTo>
                      <a:pt x="64" y="219"/>
                      <a:pt x="54" y="234"/>
                      <a:pt x="54" y="251"/>
                    </a:cubicBezTo>
                    <a:cubicBezTo>
                      <a:pt x="54" y="276"/>
                      <a:pt x="75" y="296"/>
                      <a:pt x="101" y="296"/>
                    </a:cubicBezTo>
                    <a:cubicBezTo>
                      <a:pt x="127" y="296"/>
                      <a:pt x="148" y="276"/>
                      <a:pt x="148" y="251"/>
                    </a:cubicBezTo>
                    <a:cubicBezTo>
                      <a:pt x="148" y="233"/>
                      <a:pt x="137" y="218"/>
                      <a:pt x="121" y="211"/>
                    </a:cubicBezTo>
                    <a:cubicBezTo>
                      <a:pt x="121" y="206"/>
                      <a:pt x="122" y="124"/>
                      <a:pt x="122" y="118"/>
                    </a:cubicBezTo>
                    <a:cubicBezTo>
                      <a:pt x="122" y="104"/>
                      <a:pt x="117" y="92"/>
                      <a:pt x="111" y="80"/>
                    </a:cubicBezTo>
                    <a:cubicBezTo>
                      <a:pt x="107" y="77"/>
                      <a:pt x="103" y="73"/>
                      <a:pt x="100" y="69"/>
                    </a:cubicBezTo>
                    <a:cubicBezTo>
                      <a:pt x="96" y="66"/>
                      <a:pt x="92" y="62"/>
                      <a:pt x="88" y="58"/>
                    </a:cubicBezTo>
                    <a:cubicBezTo>
                      <a:pt x="89" y="54"/>
                      <a:pt x="90" y="50"/>
                      <a:pt x="90" y="45"/>
                    </a:cubicBezTo>
                    <a:cubicBezTo>
                      <a:pt x="90" y="21"/>
                      <a:pt x="70" y="0"/>
                      <a:pt x="45" y="0"/>
                    </a:cubicBezTo>
                    <a:close/>
                    <a:moveTo>
                      <a:pt x="129" y="251"/>
                    </a:moveTo>
                    <a:cubicBezTo>
                      <a:pt x="129" y="265"/>
                      <a:pt x="116" y="276"/>
                      <a:pt x="101" y="276"/>
                    </a:cubicBezTo>
                    <a:cubicBezTo>
                      <a:pt x="86" y="276"/>
                      <a:pt x="73" y="265"/>
                      <a:pt x="73" y="251"/>
                    </a:cubicBezTo>
                    <a:cubicBezTo>
                      <a:pt x="73" y="237"/>
                      <a:pt x="86" y="226"/>
                      <a:pt x="101" y="226"/>
                    </a:cubicBezTo>
                    <a:cubicBezTo>
                      <a:pt x="116" y="226"/>
                      <a:pt x="129" y="237"/>
                      <a:pt x="129" y="2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4" name="Freeform 15"/>
              <p:cNvSpPr>
                <a:spLocks noEditPoints="1"/>
              </p:cNvSpPr>
              <p:nvPr/>
            </p:nvSpPr>
            <p:spPr bwMode="gray">
              <a:xfrm>
                <a:off x="3198" y="203"/>
                <a:ext cx="826" cy="1803"/>
              </a:xfrm>
              <a:custGeom>
                <a:avLst/>
                <a:gdLst>
                  <a:gd name="T0" fmla="*/ 192 w 349"/>
                  <a:gd name="T1" fmla="*/ 104 h 762"/>
                  <a:gd name="T2" fmla="*/ 192 w 349"/>
                  <a:gd name="T3" fmla="*/ 173 h 762"/>
                  <a:gd name="T4" fmla="*/ 181 w 349"/>
                  <a:gd name="T5" fmla="*/ 212 h 762"/>
                  <a:gd name="T6" fmla="*/ 19 w 349"/>
                  <a:gd name="T7" fmla="*/ 413 h 762"/>
                  <a:gd name="T8" fmla="*/ 0 w 349"/>
                  <a:gd name="T9" fmla="*/ 717 h 762"/>
                  <a:gd name="T10" fmla="*/ 90 w 349"/>
                  <a:gd name="T11" fmla="*/ 717 h 762"/>
                  <a:gd name="T12" fmla="*/ 63 w 349"/>
                  <a:gd name="T13" fmla="*/ 657 h 762"/>
                  <a:gd name="T14" fmla="*/ 63 w 349"/>
                  <a:gd name="T15" fmla="*/ 588 h 762"/>
                  <a:gd name="T16" fmla="*/ 63 w 349"/>
                  <a:gd name="T17" fmla="*/ 520 h 762"/>
                  <a:gd name="T18" fmla="*/ 63 w 349"/>
                  <a:gd name="T19" fmla="*/ 451 h 762"/>
                  <a:gd name="T20" fmla="*/ 89 w 349"/>
                  <a:gd name="T21" fmla="*/ 363 h 762"/>
                  <a:gd name="T22" fmla="*/ 234 w 349"/>
                  <a:gd name="T23" fmla="*/ 207 h 762"/>
                  <a:gd name="T24" fmla="*/ 235 w 349"/>
                  <a:gd name="T25" fmla="*/ 142 h 762"/>
                  <a:gd name="T26" fmla="*/ 234 w 349"/>
                  <a:gd name="T27" fmla="*/ 93 h 762"/>
                  <a:gd name="T28" fmla="*/ 283 w 349"/>
                  <a:gd name="T29" fmla="*/ 88 h 762"/>
                  <a:gd name="T30" fmla="*/ 283 w 349"/>
                  <a:gd name="T31" fmla="*/ 372 h 762"/>
                  <a:gd name="T32" fmla="*/ 271 w 349"/>
                  <a:gd name="T33" fmla="*/ 457 h 762"/>
                  <a:gd name="T34" fmla="*/ 129 w 349"/>
                  <a:gd name="T35" fmla="*/ 578 h 762"/>
                  <a:gd name="T36" fmla="*/ 129 w 349"/>
                  <a:gd name="T37" fmla="*/ 668 h 762"/>
                  <a:gd name="T38" fmla="*/ 173 w 349"/>
                  <a:gd name="T39" fmla="*/ 614 h 762"/>
                  <a:gd name="T40" fmla="*/ 321 w 349"/>
                  <a:gd name="T41" fmla="*/ 465 h 762"/>
                  <a:gd name="T42" fmla="*/ 326 w 349"/>
                  <a:gd name="T43" fmla="*/ 100 h 762"/>
                  <a:gd name="T44" fmla="*/ 349 w 349"/>
                  <a:gd name="T45" fmla="*/ 47 h 762"/>
                  <a:gd name="T46" fmla="*/ 260 w 349"/>
                  <a:gd name="T47" fmla="*/ 39 h 762"/>
                  <a:gd name="T48" fmla="*/ 172 w 349"/>
                  <a:gd name="T49" fmla="*/ 51 h 762"/>
                  <a:gd name="T50" fmla="*/ 70 w 349"/>
                  <a:gd name="T51" fmla="*/ 717 h 762"/>
                  <a:gd name="T52" fmla="*/ 20 w 349"/>
                  <a:gd name="T53" fmla="*/ 717 h 762"/>
                  <a:gd name="T54" fmla="*/ 70 w 349"/>
                  <a:gd name="T55" fmla="*/ 717 h 762"/>
                  <a:gd name="T56" fmla="*/ 102 w 349"/>
                  <a:gd name="T57" fmla="*/ 623 h 762"/>
                  <a:gd name="T58" fmla="*/ 155 w 349"/>
                  <a:gd name="T59" fmla="*/ 623 h 762"/>
                  <a:gd name="T60" fmla="*/ 217 w 349"/>
                  <a:gd name="T61" fmla="*/ 24 h 762"/>
                  <a:gd name="T62" fmla="*/ 217 w 349"/>
                  <a:gd name="T63" fmla="*/ 77 h 762"/>
                  <a:gd name="T64" fmla="*/ 217 w 349"/>
                  <a:gd name="T65" fmla="*/ 24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9" h="762">
                    <a:moveTo>
                      <a:pt x="192" y="89"/>
                    </a:moveTo>
                    <a:cubicBezTo>
                      <a:pt x="192" y="94"/>
                      <a:pt x="192" y="99"/>
                      <a:pt x="192" y="104"/>
                    </a:cubicBezTo>
                    <a:cubicBezTo>
                      <a:pt x="192" y="110"/>
                      <a:pt x="192" y="115"/>
                      <a:pt x="192" y="121"/>
                    </a:cubicBezTo>
                    <a:cubicBezTo>
                      <a:pt x="192" y="138"/>
                      <a:pt x="192" y="156"/>
                      <a:pt x="192" y="173"/>
                    </a:cubicBezTo>
                    <a:cubicBezTo>
                      <a:pt x="193" y="179"/>
                      <a:pt x="194" y="185"/>
                      <a:pt x="191" y="190"/>
                    </a:cubicBezTo>
                    <a:cubicBezTo>
                      <a:pt x="193" y="200"/>
                      <a:pt x="187" y="206"/>
                      <a:pt x="181" y="212"/>
                    </a:cubicBezTo>
                    <a:cubicBezTo>
                      <a:pt x="138" y="255"/>
                      <a:pt x="96" y="299"/>
                      <a:pt x="51" y="341"/>
                    </a:cubicBezTo>
                    <a:cubicBezTo>
                      <a:pt x="30" y="362"/>
                      <a:pt x="17" y="384"/>
                      <a:pt x="19" y="413"/>
                    </a:cubicBezTo>
                    <a:cubicBezTo>
                      <a:pt x="22" y="419"/>
                      <a:pt x="20" y="666"/>
                      <a:pt x="19" y="681"/>
                    </a:cubicBezTo>
                    <a:cubicBezTo>
                      <a:pt x="8" y="689"/>
                      <a:pt x="0" y="702"/>
                      <a:pt x="0" y="717"/>
                    </a:cubicBezTo>
                    <a:cubicBezTo>
                      <a:pt x="0" y="742"/>
                      <a:pt x="20" y="762"/>
                      <a:pt x="45" y="762"/>
                    </a:cubicBezTo>
                    <a:cubicBezTo>
                      <a:pt x="70" y="762"/>
                      <a:pt x="90" y="742"/>
                      <a:pt x="90" y="717"/>
                    </a:cubicBezTo>
                    <a:cubicBezTo>
                      <a:pt x="90" y="699"/>
                      <a:pt x="79" y="683"/>
                      <a:pt x="62" y="676"/>
                    </a:cubicBezTo>
                    <a:cubicBezTo>
                      <a:pt x="63" y="670"/>
                      <a:pt x="63" y="664"/>
                      <a:pt x="63" y="657"/>
                    </a:cubicBezTo>
                    <a:cubicBezTo>
                      <a:pt x="63" y="652"/>
                      <a:pt x="63" y="646"/>
                      <a:pt x="63" y="640"/>
                    </a:cubicBezTo>
                    <a:cubicBezTo>
                      <a:pt x="63" y="623"/>
                      <a:pt x="63" y="606"/>
                      <a:pt x="63" y="588"/>
                    </a:cubicBezTo>
                    <a:cubicBezTo>
                      <a:pt x="63" y="583"/>
                      <a:pt x="63" y="577"/>
                      <a:pt x="63" y="571"/>
                    </a:cubicBezTo>
                    <a:cubicBezTo>
                      <a:pt x="63" y="554"/>
                      <a:pt x="63" y="537"/>
                      <a:pt x="63" y="520"/>
                    </a:cubicBezTo>
                    <a:cubicBezTo>
                      <a:pt x="63" y="514"/>
                      <a:pt x="63" y="508"/>
                      <a:pt x="63" y="503"/>
                    </a:cubicBezTo>
                    <a:cubicBezTo>
                      <a:pt x="63" y="485"/>
                      <a:pt x="63" y="468"/>
                      <a:pt x="63" y="451"/>
                    </a:cubicBezTo>
                    <a:cubicBezTo>
                      <a:pt x="63" y="446"/>
                      <a:pt x="63" y="440"/>
                      <a:pt x="63" y="434"/>
                    </a:cubicBezTo>
                    <a:cubicBezTo>
                      <a:pt x="58" y="405"/>
                      <a:pt x="66" y="384"/>
                      <a:pt x="89" y="363"/>
                    </a:cubicBezTo>
                    <a:cubicBezTo>
                      <a:pt x="130" y="326"/>
                      <a:pt x="168" y="285"/>
                      <a:pt x="209" y="245"/>
                    </a:cubicBezTo>
                    <a:cubicBezTo>
                      <a:pt x="220" y="234"/>
                      <a:pt x="228" y="222"/>
                      <a:pt x="234" y="207"/>
                    </a:cubicBezTo>
                    <a:cubicBezTo>
                      <a:pt x="234" y="202"/>
                      <a:pt x="234" y="198"/>
                      <a:pt x="235" y="193"/>
                    </a:cubicBezTo>
                    <a:cubicBezTo>
                      <a:pt x="235" y="176"/>
                      <a:pt x="235" y="159"/>
                      <a:pt x="235" y="142"/>
                    </a:cubicBezTo>
                    <a:cubicBezTo>
                      <a:pt x="235" y="136"/>
                      <a:pt x="235" y="130"/>
                      <a:pt x="235" y="125"/>
                    </a:cubicBezTo>
                    <a:cubicBezTo>
                      <a:pt x="235" y="114"/>
                      <a:pt x="234" y="104"/>
                      <a:pt x="234" y="93"/>
                    </a:cubicBezTo>
                    <a:cubicBezTo>
                      <a:pt x="248" y="87"/>
                      <a:pt x="258" y="74"/>
                      <a:pt x="261" y="59"/>
                    </a:cubicBezTo>
                    <a:cubicBezTo>
                      <a:pt x="264" y="72"/>
                      <a:pt x="272" y="82"/>
                      <a:pt x="283" y="88"/>
                    </a:cubicBezTo>
                    <a:cubicBezTo>
                      <a:pt x="283" y="91"/>
                      <a:pt x="283" y="94"/>
                      <a:pt x="283" y="96"/>
                    </a:cubicBezTo>
                    <a:cubicBezTo>
                      <a:pt x="283" y="114"/>
                      <a:pt x="283" y="366"/>
                      <a:pt x="283" y="372"/>
                    </a:cubicBezTo>
                    <a:cubicBezTo>
                      <a:pt x="283" y="390"/>
                      <a:pt x="283" y="407"/>
                      <a:pt x="283" y="424"/>
                    </a:cubicBezTo>
                    <a:cubicBezTo>
                      <a:pt x="286" y="438"/>
                      <a:pt x="280" y="448"/>
                      <a:pt x="271" y="457"/>
                    </a:cubicBezTo>
                    <a:cubicBezTo>
                      <a:pt x="229" y="499"/>
                      <a:pt x="188" y="540"/>
                      <a:pt x="146" y="582"/>
                    </a:cubicBezTo>
                    <a:cubicBezTo>
                      <a:pt x="141" y="580"/>
                      <a:pt x="135" y="578"/>
                      <a:pt x="129" y="578"/>
                    </a:cubicBezTo>
                    <a:cubicBezTo>
                      <a:pt x="103" y="578"/>
                      <a:pt x="83" y="598"/>
                      <a:pt x="83" y="623"/>
                    </a:cubicBezTo>
                    <a:cubicBezTo>
                      <a:pt x="83" y="648"/>
                      <a:pt x="103" y="668"/>
                      <a:pt x="129" y="668"/>
                    </a:cubicBezTo>
                    <a:cubicBezTo>
                      <a:pt x="154" y="668"/>
                      <a:pt x="175" y="648"/>
                      <a:pt x="175" y="623"/>
                    </a:cubicBezTo>
                    <a:cubicBezTo>
                      <a:pt x="175" y="620"/>
                      <a:pt x="174" y="617"/>
                      <a:pt x="173" y="614"/>
                    </a:cubicBezTo>
                    <a:cubicBezTo>
                      <a:pt x="196" y="594"/>
                      <a:pt x="216" y="572"/>
                      <a:pt x="237" y="551"/>
                    </a:cubicBezTo>
                    <a:cubicBezTo>
                      <a:pt x="265" y="523"/>
                      <a:pt x="295" y="496"/>
                      <a:pt x="321" y="465"/>
                    </a:cubicBezTo>
                    <a:cubicBezTo>
                      <a:pt x="323" y="458"/>
                      <a:pt x="325" y="451"/>
                      <a:pt x="326" y="445"/>
                    </a:cubicBezTo>
                    <a:cubicBezTo>
                      <a:pt x="326" y="428"/>
                      <a:pt x="326" y="104"/>
                      <a:pt x="326" y="100"/>
                    </a:cubicBezTo>
                    <a:cubicBezTo>
                      <a:pt x="326" y="96"/>
                      <a:pt x="326" y="92"/>
                      <a:pt x="326" y="88"/>
                    </a:cubicBezTo>
                    <a:cubicBezTo>
                      <a:pt x="339" y="80"/>
                      <a:pt x="349" y="65"/>
                      <a:pt x="349" y="47"/>
                    </a:cubicBezTo>
                    <a:cubicBezTo>
                      <a:pt x="349" y="21"/>
                      <a:pt x="329" y="0"/>
                      <a:pt x="304" y="0"/>
                    </a:cubicBezTo>
                    <a:cubicBezTo>
                      <a:pt x="282" y="0"/>
                      <a:pt x="264" y="17"/>
                      <a:pt x="260" y="39"/>
                    </a:cubicBezTo>
                    <a:cubicBezTo>
                      <a:pt x="255" y="19"/>
                      <a:pt x="238" y="5"/>
                      <a:pt x="217" y="5"/>
                    </a:cubicBezTo>
                    <a:cubicBezTo>
                      <a:pt x="192" y="5"/>
                      <a:pt x="172" y="25"/>
                      <a:pt x="172" y="51"/>
                    </a:cubicBezTo>
                    <a:cubicBezTo>
                      <a:pt x="172" y="66"/>
                      <a:pt x="180" y="81"/>
                      <a:pt x="192" y="89"/>
                    </a:cubicBezTo>
                    <a:close/>
                    <a:moveTo>
                      <a:pt x="70" y="717"/>
                    </a:moveTo>
                    <a:cubicBezTo>
                      <a:pt x="70" y="731"/>
                      <a:pt x="59" y="743"/>
                      <a:pt x="45" y="743"/>
                    </a:cubicBezTo>
                    <a:cubicBezTo>
                      <a:pt x="31" y="743"/>
                      <a:pt x="20" y="731"/>
                      <a:pt x="20" y="717"/>
                    </a:cubicBezTo>
                    <a:cubicBezTo>
                      <a:pt x="20" y="703"/>
                      <a:pt x="31" y="692"/>
                      <a:pt x="45" y="692"/>
                    </a:cubicBezTo>
                    <a:cubicBezTo>
                      <a:pt x="59" y="692"/>
                      <a:pt x="70" y="703"/>
                      <a:pt x="70" y="717"/>
                    </a:cubicBezTo>
                    <a:close/>
                    <a:moveTo>
                      <a:pt x="129" y="648"/>
                    </a:moveTo>
                    <a:cubicBezTo>
                      <a:pt x="114" y="648"/>
                      <a:pt x="102" y="637"/>
                      <a:pt x="102" y="623"/>
                    </a:cubicBezTo>
                    <a:cubicBezTo>
                      <a:pt x="102" y="609"/>
                      <a:pt x="114" y="598"/>
                      <a:pt x="129" y="598"/>
                    </a:cubicBezTo>
                    <a:cubicBezTo>
                      <a:pt x="143" y="598"/>
                      <a:pt x="155" y="609"/>
                      <a:pt x="155" y="623"/>
                    </a:cubicBezTo>
                    <a:cubicBezTo>
                      <a:pt x="155" y="637"/>
                      <a:pt x="143" y="648"/>
                      <a:pt x="129" y="648"/>
                    </a:cubicBezTo>
                    <a:close/>
                    <a:moveTo>
                      <a:pt x="217" y="24"/>
                    </a:moveTo>
                    <a:cubicBezTo>
                      <a:pt x="231" y="24"/>
                      <a:pt x="242" y="36"/>
                      <a:pt x="242" y="51"/>
                    </a:cubicBezTo>
                    <a:cubicBezTo>
                      <a:pt x="242" y="65"/>
                      <a:pt x="231" y="77"/>
                      <a:pt x="217" y="77"/>
                    </a:cubicBezTo>
                    <a:cubicBezTo>
                      <a:pt x="203" y="77"/>
                      <a:pt x="192" y="65"/>
                      <a:pt x="192" y="51"/>
                    </a:cubicBezTo>
                    <a:cubicBezTo>
                      <a:pt x="192" y="36"/>
                      <a:pt x="203" y="24"/>
                      <a:pt x="2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5" name="Freeform 16"/>
              <p:cNvSpPr>
                <a:spLocks noEditPoints="1"/>
              </p:cNvSpPr>
              <p:nvPr/>
            </p:nvSpPr>
            <p:spPr bwMode="gray">
              <a:xfrm>
                <a:off x="5044" y="756"/>
                <a:ext cx="424" cy="952"/>
              </a:xfrm>
              <a:custGeom>
                <a:avLst/>
                <a:gdLst>
                  <a:gd name="T0" fmla="*/ 24 w 179"/>
                  <a:gd name="T1" fmla="*/ 87 h 402"/>
                  <a:gd name="T2" fmla="*/ 24 w 179"/>
                  <a:gd name="T3" fmla="*/ 101 h 402"/>
                  <a:gd name="T4" fmla="*/ 24 w 179"/>
                  <a:gd name="T5" fmla="*/ 153 h 402"/>
                  <a:gd name="T6" fmla="*/ 24 w 179"/>
                  <a:gd name="T7" fmla="*/ 170 h 402"/>
                  <a:gd name="T8" fmla="*/ 24 w 179"/>
                  <a:gd name="T9" fmla="*/ 221 h 402"/>
                  <a:gd name="T10" fmla="*/ 24 w 179"/>
                  <a:gd name="T11" fmla="*/ 238 h 402"/>
                  <a:gd name="T12" fmla="*/ 31 w 179"/>
                  <a:gd name="T13" fmla="*/ 283 h 402"/>
                  <a:gd name="T14" fmla="*/ 41 w 179"/>
                  <a:gd name="T15" fmla="*/ 293 h 402"/>
                  <a:gd name="T16" fmla="*/ 66 w 179"/>
                  <a:gd name="T17" fmla="*/ 320 h 402"/>
                  <a:gd name="T18" fmla="*/ 68 w 179"/>
                  <a:gd name="T19" fmla="*/ 323 h 402"/>
                  <a:gd name="T20" fmla="*/ 91 w 179"/>
                  <a:gd name="T21" fmla="*/ 343 h 402"/>
                  <a:gd name="T22" fmla="*/ 89 w 179"/>
                  <a:gd name="T23" fmla="*/ 356 h 402"/>
                  <a:gd name="T24" fmla="*/ 134 w 179"/>
                  <a:gd name="T25" fmla="*/ 402 h 402"/>
                  <a:gd name="T26" fmla="*/ 179 w 179"/>
                  <a:gd name="T27" fmla="*/ 356 h 402"/>
                  <a:gd name="T28" fmla="*/ 134 w 179"/>
                  <a:gd name="T29" fmla="*/ 310 h 402"/>
                  <a:gd name="T30" fmla="*/ 119 w 179"/>
                  <a:gd name="T31" fmla="*/ 313 h 402"/>
                  <a:gd name="T32" fmla="*/ 102 w 179"/>
                  <a:gd name="T33" fmla="*/ 294 h 402"/>
                  <a:gd name="T34" fmla="*/ 95 w 179"/>
                  <a:gd name="T35" fmla="*/ 287 h 402"/>
                  <a:gd name="T36" fmla="*/ 68 w 179"/>
                  <a:gd name="T37" fmla="*/ 259 h 402"/>
                  <a:gd name="T38" fmla="*/ 68 w 179"/>
                  <a:gd name="T39" fmla="*/ 242 h 402"/>
                  <a:gd name="T40" fmla="*/ 68 w 179"/>
                  <a:gd name="T41" fmla="*/ 190 h 402"/>
                  <a:gd name="T42" fmla="*/ 68 w 179"/>
                  <a:gd name="T43" fmla="*/ 173 h 402"/>
                  <a:gd name="T44" fmla="*/ 68 w 179"/>
                  <a:gd name="T45" fmla="*/ 122 h 402"/>
                  <a:gd name="T46" fmla="*/ 68 w 179"/>
                  <a:gd name="T47" fmla="*/ 104 h 402"/>
                  <a:gd name="T48" fmla="*/ 67 w 179"/>
                  <a:gd name="T49" fmla="*/ 86 h 402"/>
                  <a:gd name="T50" fmla="*/ 89 w 179"/>
                  <a:gd name="T51" fmla="*/ 46 h 402"/>
                  <a:gd name="T52" fmla="*/ 45 w 179"/>
                  <a:gd name="T53" fmla="*/ 0 h 402"/>
                  <a:gd name="T54" fmla="*/ 0 w 179"/>
                  <a:gd name="T55" fmla="*/ 46 h 402"/>
                  <a:gd name="T56" fmla="*/ 24 w 179"/>
                  <a:gd name="T57" fmla="*/ 87 h 402"/>
                  <a:gd name="T58" fmla="*/ 134 w 179"/>
                  <a:gd name="T59" fmla="*/ 330 h 402"/>
                  <a:gd name="T60" fmla="*/ 160 w 179"/>
                  <a:gd name="T61" fmla="*/ 356 h 402"/>
                  <a:gd name="T62" fmla="*/ 134 w 179"/>
                  <a:gd name="T63" fmla="*/ 383 h 402"/>
                  <a:gd name="T64" fmla="*/ 109 w 179"/>
                  <a:gd name="T65" fmla="*/ 356 h 402"/>
                  <a:gd name="T66" fmla="*/ 134 w 179"/>
                  <a:gd name="T67" fmla="*/ 330 h 402"/>
                  <a:gd name="T68" fmla="*/ 45 w 179"/>
                  <a:gd name="T69" fmla="*/ 20 h 402"/>
                  <a:gd name="T70" fmla="*/ 70 w 179"/>
                  <a:gd name="T71" fmla="*/ 46 h 402"/>
                  <a:gd name="T72" fmla="*/ 45 w 179"/>
                  <a:gd name="T73" fmla="*/ 73 h 402"/>
                  <a:gd name="T74" fmla="*/ 19 w 179"/>
                  <a:gd name="T75" fmla="*/ 46 h 402"/>
                  <a:gd name="T76" fmla="*/ 45 w 179"/>
                  <a:gd name="T77" fmla="*/ 2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9" h="402">
                    <a:moveTo>
                      <a:pt x="24" y="87"/>
                    </a:moveTo>
                    <a:cubicBezTo>
                      <a:pt x="24" y="92"/>
                      <a:pt x="24" y="96"/>
                      <a:pt x="24" y="101"/>
                    </a:cubicBezTo>
                    <a:cubicBezTo>
                      <a:pt x="24" y="118"/>
                      <a:pt x="24" y="135"/>
                      <a:pt x="24" y="153"/>
                    </a:cubicBezTo>
                    <a:cubicBezTo>
                      <a:pt x="24" y="158"/>
                      <a:pt x="24" y="164"/>
                      <a:pt x="24" y="170"/>
                    </a:cubicBezTo>
                    <a:cubicBezTo>
                      <a:pt x="24" y="186"/>
                      <a:pt x="24" y="204"/>
                      <a:pt x="24" y="221"/>
                    </a:cubicBezTo>
                    <a:cubicBezTo>
                      <a:pt x="24" y="227"/>
                      <a:pt x="24" y="233"/>
                      <a:pt x="24" y="238"/>
                    </a:cubicBezTo>
                    <a:cubicBezTo>
                      <a:pt x="24" y="253"/>
                      <a:pt x="25" y="269"/>
                      <a:pt x="31" y="283"/>
                    </a:cubicBezTo>
                    <a:cubicBezTo>
                      <a:pt x="34" y="287"/>
                      <a:pt x="38" y="289"/>
                      <a:pt x="41" y="293"/>
                    </a:cubicBezTo>
                    <a:cubicBezTo>
                      <a:pt x="49" y="303"/>
                      <a:pt x="57" y="312"/>
                      <a:pt x="66" y="320"/>
                    </a:cubicBezTo>
                    <a:cubicBezTo>
                      <a:pt x="67" y="321"/>
                      <a:pt x="68" y="322"/>
                      <a:pt x="68" y="323"/>
                    </a:cubicBezTo>
                    <a:cubicBezTo>
                      <a:pt x="76" y="329"/>
                      <a:pt x="84" y="336"/>
                      <a:pt x="91" y="343"/>
                    </a:cubicBezTo>
                    <a:cubicBezTo>
                      <a:pt x="90" y="347"/>
                      <a:pt x="89" y="352"/>
                      <a:pt x="89" y="356"/>
                    </a:cubicBezTo>
                    <a:cubicBezTo>
                      <a:pt x="89" y="382"/>
                      <a:pt x="109" y="402"/>
                      <a:pt x="134" y="402"/>
                    </a:cubicBezTo>
                    <a:cubicBezTo>
                      <a:pt x="159" y="402"/>
                      <a:pt x="179" y="382"/>
                      <a:pt x="179" y="356"/>
                    </a:cubicBezTo>
                    <a:cubicBezTo>
                      <a:pt x="179" y="331"/>
                      <a:pt x="159" y="310"/>
                      <a:pt x="134" y="310"/>
                    </a:cubicBezTo>
                    <a:cubicBezTo>
                      <a:pt x="129" y="310"/>
                      <a:pt x="124" y="312"/>
                      <a:pt x="119" y="313"/>
                    </a:cubicBezTo>
                    <a:cubicBezTo>
                      <a:pt x="113" y="307"/>
                      <a:pt x="107" y="300"/>
                      <a:pt x="102" y="294"/>
                    </a:cubicBezTo>
                    <a:cubicBezTo>
                      <a:pt x="99" y="292"/>
                      <a:pt x="97" y="289"/>
                      <a:pt x="95" y="287"/>
                    </a:cubicBezTo>
                    <a:cubicBezTo>
                      <a:pt x="85" y="278"/>
                      <a:pt x="76" y="270"/>
                      <a:pt x="68" y="259"/>
                    </a:cubicBezTo>
                    <a:cubicBezTo>
                      <a:pt x="65" y="253"/>
                      <a:pt x="65" y="248"/>
                      <a:pt x="68" y="242"/>
                    </a:cubicBezTo>
                    <a:cubicBezTo>
                      <a:pt x="68" y="225"/>
                      <a:pt x="68" y="208"/>
                      <a:pt x="68" y="190"/>
                    </a:cubicBezTo>
                    <a:cubicBezTo>
                      <a:pt x="65" y="184"/>
                      <a:pt x="65" y="179"/>
                      <a:pt x="68" y="173"/>
                    </a:cubicBezTo>
                    <a:cubicBezTo>
                      <a:pt x="68" y="156"/>
                      <a:pt x="68" y="139"/>
                      <a:pt x="68" y="122"/>
                    </a:cubicBezTo>
                    <a:cubicBezTo>
                      <a:pt x="65" y="116"/>
                      <a:pt x="65" y="110"/>
                      <a:pt x="68" y="104"/>
                    </a:cubicBezTo>
                    <a:cubicBezTo>
                      <a:pt x="66" y="98"/>
                      <a:pt x="67" y="92"/>
                      <a:pt x="67" y="86"/>
                    </a:cubicBezTo>
                    <a:cubicBezTo>
                      <a:pt x="80" y="78"/>
                      <a:pt x="89" y="63"/>
                      <a:pt x="89" y="46"/>
                    </a:cubicBezTo>
                    <a:cubicBezTo>
                      <a:pt x="89" y="21"/>
                      <a:pt x="69" y="0"/>
                      <a:pt x="45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64"/>
                      <a:pt x="10" y="79"/>
                      <a:pt x="24" y="87"/>
                    </a:cubicBezTo>
                    <a:close/>
                    <a:moveTo>
                      <a:pt x="134" y="330"/>
                    </a:moveTo>
                    <a:cubicBezTo>
                      <a:pt x="148" y="330"/>
                      <a:pt x="160" y="342"/>
                      <a:pt x="160" y="356"/>
                    </a:cubicBezTo>
                    <a:cubicBezTo>
                      <a:pt x="160" y="371"/>
                      <a:pt x="148" y="383"/>
                      <a:pt x="134" y="383"/>
                    </a:cubicBezTo>
                    <a:cubicBezTo>
                      <a:pt x="120" y="383"/>
                      <a:pt x="109" y="371"/>
                      <a:pt x="109" y="356"/>
                    </a:cubicBezTo>
                    <a:cubicBezTo>
                      <a:pt x="109" y="342"/>
                      <a:pt x="120" y="330"/>
                      <a:pt x="134" y="330"/>
                    </a:cubicBezTo>
                    <a:close/>
                    <a:moveTo>
                      <a:pt x="45" y="20"/>
                    </a:moveTo>
                    <a:cubicBezTo>
                      <a:pt x="59" y="20"/>
                      <a:pt x="70" y="32"/>
                      <a:pt x="70" y="46"/>
                    </a:cubicBezTo>
                    <a:cubicBezTo>
                      <a:pt x="70" y="61"/>
                      <a:pt x="59" y="73"/>
                      <a:pt x="45" y="73"/>
                    </a:cubicBezTo>
                    <a:cubicBezTo>
                      <a:pt x="31" y="73"/>
                      <a:pt x="19" y="61"/>
                      <a:pt x="19" y="46"/>
                    </a:cubicBezTo>
                    <a:cubicBezTo>
                      <a:pt x="19" y="32"/>
                      <a:pt x="31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6" name="Freeform 17"/>
              <p:cNvSpPr>
                <a:spLocks noEditPoints="1"/>
              </p:cNvSpPr>
              <p:nvPr/>
            </p:nvSpPr>
            <p:spPr bwMode="gray">
              <a:xfrm>
                <a:off x="2179" y="747"/>
                <a:ext cx="378" cy="1384"/>
              </a:xfrm>
              <a:custGeom>
                <a:avLst/>
                <a:gdLst>
                  <a:gd name="T0" fmla="*/ 115 w 160"/>
                  <a:gd name="T1" fmla="*/ 496 h 585"/>
                  <a:gd name="T2" fmla="*/ 109 w 160"/>
                  <a:gd name="T3" fmla="*/ 497 h 585"/>
                  <a:gd name="T4" fmla="*/ 95 w 160"/>
                  <a:gd name="T5" fmla="*/ 481 h 585"/>
                  <a:gd name="T6" fmla="*/ 88 w 160"/>
                  <a:gd name="T7" fmla="*/ 474 h 585"/>
                  <a:gd name="T8" fmla="*/ 68 w 160"/>
                  <a:gd name="T9" fmla="*/ 440 h 585"/>
                  <a:gd name="T10" fmla="*/ 68 w 160"/>
                  <a:gd name="T11" fmla="*/ 88 h 585"/>
                  <a:gd name="T12" fmla="*/ 92 w 160"/>
                  <a:gd name="T13" fmla="*/ 47 h 585"/>
                  <a:gd name="T14" fmla="*/ 46 w 160"/>
                  <a:gd name="T15" fmla="*/ 0 h 585"/>
                  <a:gd name="T16" fmla="*/ 0 w 160"/>
                  <a:gd name="T17" fmla="*/ 47 h 585"/>
                  <a:gd name="T18" fmla="*/ 25 w 160"/>
                  <a:gd name="T19" fmla="*/ 88 h 585"/>
                  <a:gd name="T20" fmla="*/ 27 w 160"/>
                  <a:gd name="T21" fmla="*/ 466 h 585"/>
                  <a:gd name="T22" fmla="*/ 35 w 160"/>
                  <a:gd name="T23" fmla="*/ 481 h 585"/>
                  <a:gd name="T24" fmla="*/ 57 w 160"/>
                  <a:gd name="T25" fmla="*/ 505 h 585"/>
                  <a:gd name="T26" fmla="*/ 67 w 160"/>
                  <a:gd name="T27" fmla="*/ 515 h 585"/>
                  <a:gd name="T28" fmla="*/ 75 w 160"/>
                  <a:gd name="T29" fmla="*/ 522 h 585"/>
                  <a:gd name="T30" fmla="*/ 71 w 160"/>
                  <a:gd name="T31" fmla="*/ 541 h 585"/>
                  <a:gd name="T32" fmla="*/ 115 w 160"/>
                  <a:gd name="T33" fmla="*/ 585 h 585"/>
                  <a:gd name="T34" fmla="*/ 160 w 160"/>
                  <a:gd name="T35" fmla="*/ 541 h 585"/>
                  <a:gd name="T36" fmla="*/ 115 w 160"/>
                  <a:gd name="T37" fmla="*/ 496 h 585"/>
                  <a:gd name="T38" fmla="*/ 20 w 160"/>
                  <a:gd name="T39" fmla="*/ 47 h 585"/>
                  <a:gd name="T40" fmla="*/ 46 w 160"/>
                  <a:gd name="T41" fmla="*/ 19 h 585"/>
                  <a:gd name="T42" fmla="*/ 73 w 160"/>
                  <a:gd name="T43" fmla="*/ 47 h 585"/>
                  <a:gd name="T44" fmla="*/ 46 w 160"/>
                  <a:gd name="T45" fmla="*/ 75 h 585"/>
                  <a:gd name="T46" fmla="*/ 20 w 160"/>
                  <a:gd name="T47" fmla="*/ 47 h 585"/>
                  <a:gd name="T48" fmla="*/ 115 w 160"/>
                  <a:gd name="T49" fmla="*/ 566 h 585"/>
                  <a:gd name="T50" fmla="*/ 90 w 160"/>
                  <a:gd name="T51" fmla="*/ 541 h 585"/>
                  <a:gd name="T52" fmla="*/ 115 w 160"/>
                  <a:gd name="T53" fmla="*/ 515 h 585"/>
                  <a:gd name="T54" fmla="*/ 141 w 160"/>
                  <a:gd name="T55" fmla="*/ 541 h 585"/>
                  <a:gd name="T56" fmla="*/ 115 w 160"/>
                  <a:gd name="T57" fmla="*/ 566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585">
                    <a:moveTo>
                      <a:pt x="115" y="496"/>
                    </a:moveTo>
                    <a:cubicBezTo>
                      <a:pt x="113" y="496"/>
                      <a:pt x="111" y="496"/>
                      <a:pt x="109" y="497"/>
                    </a:cubicBezTo>
                    <a:cubicBezTo>
                      <a:pt x="104" y="491"/>
                      <a:pt x="100" y="486"/>
                      <a:pt x="95" y="481"/>
                    </a:cubicBezTo>
                    <a:cubicBezTo>
                      <a:pt x="91" y="480"/>
                      <a:pt x="89" y="477"/>
                      <a:pt x="88" y="474"/>
                    </a:cubicBezTo>
                    <a:cubicBezTo>
                      <a:pt x="77" y="465"/>
                      <a:pt x="63" y="457"/>
                      <a:pt x="68" y="440"/>
                    </a:cubicBezTo>
                    <a:cubicBezTo>
                      <a:pt x="67" y="434"/>
                      <a:pt x="68" y="91"/>
                      <a:pt x="68" y="88"/>
                    </a:cubicBezTo>
                    <a:cubicBezTo>
                      <a:pt x="82" y="80"/>
                      <a:pt x="92" y="65"/>
                      <a:pt x="92" y="47"/>
                    </a:cubicBezTo>
                    <a:cubicBezTo>
                      <a:pt x="92" y="21"/>
                      <a:pt x="72" y="0"/>
                      <a:pt x="46" y="0"/>
                    </a:cubicBezTo>
                    <a:cubicBezTo>
                      <a:pt x="21" y="0"/>
                      <a:pt x="0" y="21"/>
                      <a:pt x="0" y="47"/>
                    </a:cubicBezTo>
                    <a:cubicBezTo>
                      <a:pt x="0" y="65"/>
                      <a:pt x="10" y="80"/>
                      <a:pt x="25" y="88"/>
                    </a:cubicBezTo>
                    <a:cubicBezTo>
                      <a:pt x="25" y="101"/>
                      <a:pt x="26" y="450"/>
                      <a:pt x="27" y="466"/>
                    </a:cubicBezTo>
                    <a:cubicBezTo>
                      <a:pt x="30" y="471"/>
                      <a:pt x="32" y="476"/>
                      <a:pt x="35" y="481"/>
                    </a:cubicBezTo>
                    <a:cubicBezTo>
                      <a:pt x="42" y="489"/>
                      <a:pt x="49" y="497"/>
                      <a:pt x="57" y="505"/>
                    </a:cubicBezTo>
                    <a:cubicBezTo>
                      <a:pt x="60" y="508"/>
                      <a:pt x="63" y="512"/>
                      <a:pt x="67" y="515"/>
                    </a:cubicBezTo>
                    <a:cubicBezTo>
                      <a:pt x="69" y="518"/>
                      <a:pt x="72" y="520"/>
                      <a:pt x="75" y="522"/>
                    </a:cubicBezTo>
                    <a:cubicBezTo>
                      <a:pt x="72" y="528"/>
                      <a:pt x="71" y="534"/>
                      <a:pt x="71" y="541"/>
                    </a:cubicBezTo>
                    <a:cubicBezTo>
                      <a:pt x="71" y="565"/>
                      <a:pt x="91" y="585"/>
                      <a:pt x="115" y="585"/>
                    </a:cubicBezTo>
                    <a:cubicBezTo>
                      <a:pt x="140" y="585"/>
                      <a:pt x="160" y="565"/>
                      <a:pt x="160" y="541"/>
                    </a:cubicBezTo>
                    <a:cubicBezTo>
                      <a:pt x="160" y="516"/>
                      <a:pt x="140" y="496"/>
                      <a:pt x="115" y="496"/>
                    </a:cubicBezTo>
                    <a:close/>
                    <a:moveTo>
                      <a:pt x="20" y="47"/>
                    </a:moveTo>
                    <a:cubicBezTo>
                      <a:pt x="20" y="32"/>
                      <a:pt x="32" y="19"/>
                      <a:pt x="46" y="19"/>
                    </a:cubicBezTo>
                    <a:cubicBezTo>
                      <a:pt x="61" y="19"/>
                      <a:pt x="73" y="32"/>
                      <a:pt x="73" y="47"/>
                    </a:cubicBezTo>
                    <a:cubicBezTo>
                      <a:pt x="73" y="62"/>
                      <a:pt x="61" y="75"/>
                      <a:pt x="46" y="75"/>
                    </a:cubicBezTo>
                    <a:cubicBezTo>
                      <a:pt x="32" y="75"/>
                      <a:pt x="20" y="62"/>
                      <a:pt x="20" y="47"/>
                    </a:cubicBezTo>
                    <a:close/>
                    <a:moveTo>
                      <a:pt x="115" y="566"/>
                    </a:moveTo>
                    <a:cubicBezTo>
                      <a:pt x="101" y="566"/>
                      <a:pt x="90" y="555"/>
                      <a:pt x="90" y="541"/>
                    </a:cubicBezTo>
                    <a:cubicBezTo>
                      <a:pt x="90" y="527"/>
                      <a:pt x="101" y="515"/>
                      <a:pt x="115" y="515"/>
                    </a:cubicBezTo>
                    <a:cubicBezTo>
                      <a:pt x="129" y="515"/>
                      <a:pt x="141" y="527"/>
                      <a:pt x="141" y="541"/>
                    </a:cubicBezTo>
                    <a:cubicBezTo>
                      <a:pt x="141" y="555"/>
                      <a:pt x="129" y="566"/>
                      <a:pt x="115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7" name="Freeform 18"/>
              <p:cNvSpPr>
                <a:spLocks noEditPoints="1"/>
              </p:cNvSpPr>
              <p:nvPr/>
            </p:nvSpPr>
            <p:spPr bwMode="gray">
              <a:xfrm>
                <a:off x="2420" y="311"/>
                <a:ext cx="939" cy="1707"/>
              </a:xfrm>
              <a:custGeom>
                <a:avLst/>
                <a:gdLst>
                  <a:gd name="T0" fmla="*/ 162 w 397"/>
                  <a:gd name="T1" fmla="*/ 675 h 721"/>
                  <a:gd name="T2" fmla="*/ 137 w 397"/>
                  <a:gd name="T3" fmla="*/ 634 h 721"/>
                  <a:gd name="T4" fmla="*/ 137 w 397"/>
                  <a:gd name="T5" fmla="*/ 592 h 721"/>
                  <a:gd name="T6" fmla="*/ 135 w 397"/>
                  <a:gd name="T7" fmla="*/ 580 h 721"/>
                  <a:gd name="T8" fmla="*/ 111 w 397"/>
                  <a:gd name="T9" fmla="*/ 548 h 721"/>
                  <a:gd name="T10" fmla="*/ 104 w 397"/>
                  <a:gd name="T11" fmla="*/ 541 h 721"/>
                  <a:gd name="T12" fmla="*/ 76 w 397"/>
                  <a:gd name="T13" fmla="*/ 513 h 721"/>
                  <a:gd name="T14" fmla="*/ 70 w 397"/>
                  <a:gd name="T15" fmla="*/ 506 h 721"/>
                  <a:gd name="T16" fmla="*/ 46 w 397"/>
                  <a:gd name="T17" fmla="*/ 482 h 721"/>
                  <a:gd name="T18" fmla="*/ 44 w 397"/>
                  <a:gd name="T19" fmla="*/ 460 h 721"/>
                  <a:gd name="T20" fmla="*/ 44 w 397"/>
                  <a:gd name="T21" fmla="*/ 409 h 721"/>
                  <a:gd name="T22" fmla="*/ 44 w 397"/>
                  <a:gd name="T23" fmla="*/ 392 h 721"/>
                  <a:gd name="T24" fmla="*/ 44 w 397"/>
                  <a:gd name="T25" fmla="*/ 340 h 721"/>
                  <a:gd name="T26" fmla="*/ 43 w 397"/>
                  <a:gd name="T27" fmla="*/ 322 h 721"/>
                  <a:gd name="T28" fmla="*/ 43 w 397"/>
                  <a:gd name="T29" fmla="*/ 285 h 721"/>
                  <a:gd name="T30" fmla="*/ 61 w 397"/>
                  <a:gd name="T31" fmla="*/ 267 h 721"/>
                  <a:gd name="T32" fmla="*/ 95 w 397"/>
                  <a:gd name="T33" fmla="*/ 268 h 721"/>
                  <a:gd name="T34" fmla="*/ 112 w 397"/>
                  <a:gd name="T35" fmla="*/ 269 h 721"/>
                  <a:gd name="T36" fmla="*/ 167 w 397"/>
                  <a:gd name="T37" fmla="*/ 261 h 721"/>
                  <a:gd name="T38" fmla="*/ 343 w 397"/>
                  <a:gd name="T39" fmla="*/ 85 h 721"/>
                  <a:gd name="T40" fmla="*/ 353 w 397"/>
                  <a:gd name="T41" fmla="*/ 87 h 721"/>
                  <a:gd name="T42" fmla="*/ 397 w 397"/>
                  <a:gd name="T43" fmla="*/ 43 h 721"/>
                  <a:gd name="T44" fmla="*/ 353 w 397"/>
                  <a:gd name="T45" fmla="*/ 0 h 721"/>
                  <a:gd name="T46" fmla="*/ 310 w 397"/>
                  <a:gd name="T47" fmla="*/ 43 h 721"/>
                  <a:gd name="T48" fmla="*/ 313 w 397"/>
                  <a:gd name="T49" fmla="*/ 59 h 721"/>
                  <a:gd name="T50" fmla="*/ 179 w 397"/>
                  <a:gd name="T51" fmla="*/ 193 h 721"/>
                  <a:gd name="T52" fmla="*/ 91 w 397"/>
                  <a:gd name="T53" fmla="*/ 225 h 721"/>
                  <a:gd name="T54" fmla="*/ 74 w 397"/>
                  <a:gd name="T55" fmla="*/ 225 h 721"/>
                  <a:gd name="T56" fmla="*/ 57 w 397"/>
                  <a:gd name="T57" fmla="*/ 226 h 721"/>
                  <a:gd name="T58" fmla="*/ 1 w 397"/>
                  <a:gd name="T59" fmla="*/ 283 h 721"/>
                  <a:gd name="T60" fmla="*/ 0 w 397"/>
                  <a:gd name="T61" fmla="*/ 301 h 721"/>
                  <a:gd name="T62" fmla="*/ 1 w 397"/>
                  <a:gd name="T63" fmla="*/ 319 h 721"/>
                  <a:gd name="T64" fmla="*/ 0 w 397"/>
                  <a:gd name="T65" fmla="*/ 370 h 721"/>
                  <a:gd name="T66" fmla="*/ 1 w 397"/>
                  <a:gd name="T67" fmla="*/ 388 h 721"/>
                  <a:gd name="T68" fmla="*/ 0 w 397"/>
                  <a:gd name="T69" fmla="*/ 440 h 721"/>
                  <a:gd name="T70" fmla="*/ 1 w 397"/>
                  <a:gd name="T71" fmla="*/ 457 h 721"/>
                  <a:gd name="T72" fmla="*/ 7 w 397"/>
                  <a:gd name="T73" fmla="*/ 502 h 721"/>
                  <a:gd name="T74" fmla="*/ 15 w 397"/>
                  <a:gd name="T75" fmla="*/ 512 h 721"/>
                  <a:gd name="T76" fmla="*/ 36 w 397"/>
                  <a:gd name="T77" fmla="*/ 536 h 721"/>
                  <a:gd name="T78" fmla="*/ 47 w 397"/>
                  <a:gd name="T79" fmla="*/ 546 h 721"/>
                  <a:gd name="T80" fmla="*/ 71 w 397"/>
                  <a:gd name="T81" fmla="*/ 570 h 721"/>
                  <a:gd name="T82" fmla="*/ 82 w 397"/>
                  <a:gd name="T83" fmla="*/ 581 h 721"/>
                  <a:gd name="T84" fmla="*/ 95 w 397"/>
                  <a:gd name="T85" fmla="*/ 608 h 721"/>
                  <a:gd name="T86" fmla="*/ 94 w 397"/>
                  <a:gd name="T87" fmla="*/ 634 h 721"/>
                  <a:gd name="T88" fmla="*/ 68 w 397"/>
                  <a:gd name="T89" fmla="*/ 675 h 721"/>
                  <a:gd name="T90" fmla="*/ 115 w 397"/>
                  <a:gd name="T91" fmla="*/ 721 h 721"/>
                  <a:gd name="T92" fmla="*/ 162 w 397"/>
                  <a:gd name="T93" fmla="*/ 675 h 721"/>
                  <a:gd name="T94" fmla="*/ 353 w 397"/>
                  <a:gd name="T95" fmla="*/ 19 h 721"/>
                  <a:gd name="T96" fmla="*/ 378 w 397"/>
                  <a:gd name="T97" fmla="*/ 43 h 721"/>
                  <a:gd name="T98" fmla="*/ 353 w 397"/>
                  <a:gd name="T99" fmla="*/ 67 h 721"/>
                  <a:gd name="T100" fmla="*/ 329 w 397"/>
                  <a:gd name="T101" fmla="*/ 43 h 721"/>
                  <a:gd name="T102" fmla="*/ 353 w 397"/>
                  <a:gd name="T103" fmla="*/ 19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7" h="721">
                    <a:moveTo>
                      <a:pt x="162" y="675"/>
                    </a:moveTo>
                    <a:cubicBezTo>
                      <a:pt x="162" y="657"/>
                      <a:pt x="152" y="642"/>
                      <a:pt x="137" y="634"/>
                    </a:cubicBezTo>
                    <a:cubicBezTo>
                      <a:pt x="137" y="620"/>
                      <a:pt x="137" y="606"/>
                      <a:pt x="137" y="592"/>
                    </a:cubicBezTo>
                    <a:cubicBezTo>
                      <a:pt x="136" y="587"/>
                      <a:pt x="135" y="584"/>
                      <a:pt x="135" y="580"/>
                    </a:cubicBezTo>
                    <a:cubicBezTo>
                      <a:pt x="129" y="567"/>
                      <a:pt x="120" y="557"/>
                      <a:pt x="111" y="548"/>
                    </a:cubicBezTo>
                    <a:cubicBezTo>
                      <a:pt x="109" y="545"/>
                      <a:pt x="106" y="543"/>
                      <a:pt x="104" y="541"/>
                    </a:cubicBezTo>
                    <a:cubicBezTo>
                      <a:pt x="94" y="533"/>
                      <a:pt x="84" y="523"/>
                      <a:pt x="76" y="513"/>
                    </a:cubicBezTo>
                    <a:cubicBezTo>
                      <a:pt x="74" y="511"/>
                      <a:pt x="72" y="508"/>
                      <a:pt x="70" y="506"/>
                    </a:cubicBezTo>
                    <a:cubicBezTo>
                      <a:pt x="61" y="499"/>
                      <a:pt x="53" y="491"/>
                      <a:pt x="46" y="482"/>
                    </a:cubicBezTo>
                    <a:cubicBezTo>
                      <a:pt x="41" y="475"/>
                      <a:pt x="44" y="468"/>
                      <a:pt x="44" y="460"/>
                    </a:cubicBezTo>
                    <a:cubicBezTo>
                      <a:pt x="44" y="443"/>
                      <a:pt x="44" y="426"/>
                      <a:pt x="44" y="409"/>
                    </a:cubicBezTo>
                    <a:cubicBezTo>
                      <a:pt x="44" y="403"/>
                      <a:pt x="44" y="397"/>
                      <a:pt x="44" y="392"/>
                    </a:cubicBezTo>
                    <a:cubicBezTo>
                      <a:pt x="44" y="374"/>
                      <a:pt x="44" y="357"/>
                      <a:pt x="44" y="340"/>
                    </a:cubicBezTo>
                    <a:cubicBezTo>
                      <a:pt x="44" y="334"/>
                      <a:pt x="44" y="328"/>
                      <a:pt x="43" y="322"/>
                    </a:cubicBezTo>
                    <a:cubicBezTo>
                      <a:pt x="43" y="309"/>
                      <a:pt x="43" y="297"/>
                      <a:pt x="43" y="285"/>
                    </a:cubicBezTo>
                    <a:cubicBezTo>
                      <a:pt x="42" y="272"/>
                      <a:pt x="49" y="267"/>
                      <a:pt x="61" y="267"/>
                    </a:cubicBezTo>
                    <a:cubicBezTo>
                      <a:pt x="72" y="268"/>
                      <a:pt x="83" y="268"/>
                      <a:pt x="95" y="268"/>
                    </a:cubicBezTo>
                    <a:cubicBezTo>
                      <a:pt x="101" y="267"/>
                      <a:pt x="106" y="267"/>
                      <a:pt x="112" y="269"/>
                    </a:cubicBezTo>
                    <a:cubicBezTo>
                      <a:pt x="130" y="266"/>
                      <a:pt x="149" y="271"/>
                      <a:pt x="167" y="261"/>
                    </a:cubicBezTo>
                    <a:cubicBezTo>
                      <a:pt x="226" y="203"/>
                      <a:pt x="284" y="144"/>
                      <a:pt x="343" y="85"/>
                    </a:cubicBezTo>
                    <a:cubicBezTo>
                      <a:pt x="346" y="86"/>
                      <a:pt x="350" y="87"/>
                      <a:pt x="353" y="87"/>
                    </a:cubicBezTo>
                    <a:cubicBezTo>
                      <a:pt x="377" y="87"/>
                      <a:pt x="397" y="67"/>
                      <a:pt x="397" y="43"/>
                    </a:cubicBezTo>
                    <a:cubicBezTo>
                      <a:pt x="397" y="19"/>
                      <a:pt x="377" y="0"/>
                      <a:pt x="353" y="0"/>
                    </a:cubicBezTo>
                    <a:cubicBezTo>
                      <a:pt x="329" y="0"/>
                      <a:pt x="310" y="19"/>
                      <a:pt x="310" y="43"/>
                    </a:cubicBezTo>
                    <a:cubicBezTo>
                      <a:pt x="310" y="49"/>
                      <a:pt x="311" y="54"/>
                      <a:pt x="313" y="59"/>
                    </a:cubicBezTo>
                    <a:cubicBezTo>
                      <a:pt x="268" y="103"/>
                      <a:pt x="221" y="146"/>
                      <a:pt x="179" y="193"/>
                    </a:cubicBezTo>
                    <a:cubicBezTo>
                      <a:pt x="154" y="221"/>
                      <a:pt x="126" y="232"/>
                      <a:pt x="91" y="225"/>
                    </a:cubicBezTo>
                    <a:cubicBezTo>
                      <a:pt x="86" y="225"/>
                      <a:pt x="80" y="225"/>
                      <a:pt x="74" y="225"/>
                    </a:cubicBezTo>
                    <a:cubicBezTo>
                      <a:pt x="68" y="225"/>
                      <a:pt x="62" y="226"/>
                      <a:pt x="57" y="226"/>
                    </a:cubicBezTo>
                    <a:cubicBezTo>
                      <a:pt x="23" y="227"/>
                      <a:pt x="2" y="249"/>
                      <a:pt x="1" y="283"/>
                    </a:cubicBezTo>
                    <a:cubicBezTo>
                      <a:pt x="1" y="289"/>
                      <a:pt x="1" y="295"/>
                      <a:pt x="0" y="301"/>
                    </a:cubicBezTo>
                    <a:cubicBezTo>
                      <a:pt x="1" y="307"/>
                      <a:pt x="1" y="313"/>
                      <a:pt x="1" y="319"/>
                    </a:cubicBezTo>
                    <a:cubicBezTo>
                      <a:pt x="1" y="336"/>
                      <a:pt x="1" y="353"/>
                      <a:pt x="0" y="370"/>
                    </a:cubicBezTo>
                    <a:cubicBezTo>
                      <a:pt x="1" y="376"/>
                      <a:pt x="1" y="382"/>
                      <a:pt x="1" y="388"/>
                    </a:cubicBezTo>
                    <a:cubicBezTo>
                      <a:pt x="1" y="405"/>
                      <a:pt x="1" y="423"/>
                      <a:pt x="0" y="440"/>
                    </a:cubicBezTo>
                    <a:cubicBezTo>
                      <a:pt x="1" y="445"/>
                      <a:pt x="1" y="451"/>
                      <a:pt x="1" y="457"/>
                    </a:cubicBezTo>
                    <a:cubicBezTo>
                      <a:pt x="2" y="472"/>
                      <a:pt x="0" y="487"/>
                      <a:pt x="7" y="502"/>
                    </a:cubicBezTo>
                    <a:cubicBezTo>
                      <a:pt x="9" y="505"/>
                      <a:pt x="12" y="509"/>
                      <a:pt x="15" y="512"/>
                    </a:cubicBezTo>
                    <a:cubicBezTo>
                      <a:pt x="22" y="520"/>
                      <a:pt x="30" y="528"/>
                      <a:pt x="36" y="536"/>
                    </a:cubicBezTo>
                    <a:cubicBezTo>
                      <a:pt x="40" y="539"/>
                      <a:pt x="44" y="542"/>
                      <a:pt x="47" y="546"/>
                    </a:cubicBezTo>
                    <a:cubicBezTo>
                      <a:pt x="55" y="554"/>
                      <a:pt x="63" y="562"/>
                      <a:pt x="71" y="570"/>
                    </a:cubicBezTo>
                    <a:cubicBezTo>
                      <a:pt x="75" y="573"/>
                      <a:pt x="78" y="577"/>
                      <a:pt x="82" y="581"/>
                    </a:cubicBezTo>
                    <a:cubicBezTo>
                      <a:pt x="92" y="587"/>
                      <a:pt x="95" y="596"/>
                      <a:pt x="95" y="608"/>
                    </a:cubicBezTo>
                    <a:cubicBezTo>
                      <a:pt x="94" y="617"/>
                      <a:pt x="94" y="625"/>
                      <a:pt x="94" y="634"/>
                    </a:cubicBezTo>
                    <a:cubicBezTo>
                      <a:pt x="79" y="641"/>
                      <a:pt x="68" y="657"/>
                      <a:pt x="68" y="675"/>
                    </a:cubicBezTo>
                    <a:cubicBezTo>
                      <a:pt x="68" y="700"/>
                      <a:pt x="89" y="721"/>
                      <a:pt x="115" y="721"/>
                    </a:cubicBezTo>
                    <a:cubicBezTo>
                      <a:pt x="141" y="721"/>
                      <a:pt x="162" y="700"/>
                      <a:pt x="162" y="675"/>
                    </a:cubicBezTo>
                    <a:close/>
                    <a:moveTo>
                      <a:pt x="353" y="19"/>
                    </a:moveTo>
                    <a:cubicBezTo>
                      <a:pt x="367" y="19"/>
                      <a:pt x="378" y="30"/>
                      <a:pt x="378" y="43"/>
                    </a:cubicBezTo>
                    <a:cubicBezTo>
                      <a:pt x="378" y="57"/>
                      <a:pt x="367" y="67"/>
                      <a:pt x="353" y="67"/>
                    </a:cubicBezTo>
                    <a:cubicBezTo>
                      <a:pt x="340" y="67"/>
                      <a:pt x="329" y="57"/>
                      <a:pt x="329" y="43"/>
                    </a:cubicBezTo>
                    <a:cubicBezTo>
                      <a:pt x="329" y="30"/>
                      <a:pt x="340" y="19"/>
                      <a:pt x="35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8" name="Freeform 19"/>
              <p:cNvSpPr>
                <a:spLocks noEditPoints="1"/>
              </p:cNvSpPr>
              <p:nvPr/>
            </p:nvSpPr>
            <p:spPr bwMode="gray">
              <a:xfrm>
                <a:off x="2702" y="1279"/>
                <a:ext cx="1471" cy="1106"/>
              </a:xfrm>
              <a:custGeom>
                <a:avLst/>
                <a:gdLst>
                  <a:gd name="T0" fmla="*/ 527 w 622"/>
                  <a:gd name="T1" fmla="*/ 47 h 467"/>
                  <a:gd name="T2" fmla="*/ 554 w 622"/>
                  <a:gd name="T3" fmla="*/ 119 h 467"/>
                  <a:gd name="T4" fmla="*/ 554 w 622"/>
                  <a:gd name="T5" fmla="*/ 185 h 467"/>
                  <a:gd name="T6" fmla="*/ 554 w 622"/>
                  <a:gd name="T7" fmla="*/ 257 h 467"/>
                  <a:gd name="T8" fmla="*/ 535 w 622"/>
                  <a:gd name="T9" fmla="*/ 326 h 467"/>
                  <a:gd name="T10" fmla="*/ 424 w 622"/>
                  <a:gd name="T11" fmla="*/ 402 h 467"/>
                  <a:gd name="T12" fmla="*/ 356 w 622"/>
                  <a:gd name="T13" fmla="*/ 402 h 467"/>
                  <a:gd name="T14" fmla="*/ 287 w 622"/>
                  <a:gd name="T15" fmla="*/ 402 h 467"/>
                  <a:gd name="T16" fmla="*/ 217 w 622"/>
                  <a:gd name="T17" fmla="*/ 402 h 467"/>
                  <a:gd name="T18" fmla="*/ 149 w 622"/>
                  <a:gd name="T19" fmla="*/ 402 h 467"/>
                  <a:gd name="T20" fmla="*/ 127 w 622"/>
                  <a:gd name="T21" fmla="*/ 402 h 467"/>
                  <a:gd name="T22" fmla="*/ 71 w 622"/>
                  <a:gd name="T23" fmla="*/ 383 h 467"/>
                  <a:gd name="T24" fmla="*/ 107 w 622"/>
                  <a:gd name="T25" fmla="*/ 367 h 467"/>
                  <a:gd name="T26" fmla="*/ 176 w 622"/>
                  <a:gd name="T27" fmla="*/ 367 h 467"/>
                  <a:gd name="T28" fmla="*/ 245 w 622"/>
                  <a:gd name="T29" fmla="*/ 367 h 467"/>
                  <a:gd name="T30" fmla="*/ 314 w 622"/>
                  <a:gd name="T31" fmla="*/ 367 h 467"/>
                  <a:gd name="T32" fmla="*/ 378 w 622"/>
                  <a:gd name="T33" fmla="*/ 369 h 467"/>
                  <a:gd name="T34" fmla="*/ 418 w 622"/>
                  <a:gd name="T35" fmla="*/ 343 h 467"/>
                  <a:gd name="T36" fmla="*/ 493 w 622"/>
                  <a:gd name="T37" fmla="*/ 285 h 467"/>
                  <a:gd name="T38" fmla="*/ 493 w 622"/>
                  <a:gd name="T39" fmla="*/ 193 h 467"/>
                  <a:gd name="T40" fmla="*/ 450 w 622"/>
                  <a:gd name="T41" fmla="*/ 252 h 467"/>
                  <a:gd name="T42" fmla="*/ 362 w 622"/>
                  <a:gd name="T43" fmla="*/ 324 h 467"/>
                  <a:gd name="T44" fmla="*/ 293 w 622"/>
                  <a:gd name="T45" fmla="*/ 323 h 467"/>
                  <a:gd name="T46" fmla="*/ 224 w 622"/>
                  <a:gd name="T47" fmla="*/ 324 h 467"/>
                  <a:gd name="T48" fmla="*/ 155 w 622"/>
                  <a:gd name="T49" fmla="*/ 324 h 467"/>
                  <a:gd name="T50" fmla="*/ 86 w 622"/>
                  <a:gd name="T51" fmla="*/ 324 h 467"/>
                  <a:gd name="T52" fmla="*/ 44 w 622"/>
                  <a:gd name="T53" fmla="*/ 300 h 467"/>
                  <a:gd name="T54" fmla="*/ 44 w 622"/>
                  <a:gd name="T55" fmla="*/ 392 h 467"/>
                  <a:gd name="T56" fmla="*/ 41 w 622"/>
                  <a:gd name="T57" fmla="*/ 423 h 467"/>
                  <a:gd name="T58" fmla="*/ 127 w 622"/>
                  <a:gd name="T59" fmla="*/ 444 h 467"/>
                  <a:gd name="T60" fmla="*/ 170 w 622"/>
                  <a:gd name="T61" fmla="*/ 444 h 467"/>
                  <a:gd name="T62" fmla="*/ 238 w 622"/>
                  <a:gd name="T63" fmla="*/ 444 h 467"/>
                  <a:gd name="T64" fmla="*/ 307 w 622"/>
                  <a:gd name="T65" fmla="*/ 444 h 467"/>
                  <a:gd name="T66" fmla="*/ 376 w 622"/>
                  <a:gd name="T67" fmla="*/ 444 h 467"/>
                  <a:gd name="T68" fmla="*/ 445 w 622"/>
                  <a:gd name="T69" fmla="*/ 444 h 467"/>
                  <a:gd name="T70" fmla="*/ 572 w 622"/>
                  <a:gd name="T71" fmla="*/ 348 h 467"/>
                  <a:gd name="T72" fmla="*/ 598 w 622"/>
                  <a:gd name="T73" fmla="*/ 275 h 467"/>
                  <a:gd name="T74" fmla="*/ 598 w 622"/>
                  <a:gd name="T75" fmla="*/ 206 h 467"/>
                  <a:gd name="T76" fmla="*/ 598 w 622"/>
                  <a:gd name="T77" fmla="*/ 137 h 467"/>
                  <a:gd name="T78" fmla="*/ 622 w 622"/>
                  <a:gd name="T79" fmla="*/ 47 h 467"/>
                  <a:gd name="T80" fmla="*/ 44 w 622"/>
                  <a:gd name="T81" fmla="*/ 373 h 467"/>
                  <a:gd name="T82" fmla="*/ 44 w 622"/>
                  <a:gd name="T83" fmla="*/ 319 h 467"/>
                  <a:gd name="T84" fmla="*/ 44 w 622"/>
                  <a:gd name="T85" fmla="*/ 373 h 467"/>
                  <a:gd name="T86" fmla="*/ 547 w 622"/>
                  <a:gd name="T87" fmla="*/ 47 h 467"/>
                  <a:gd name="T88" fmla="*/ 602 w 622"/>
                  <a:gd name="T89" fmla="*/ 4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22" h="467">
                    <a:moveTo>
                      <a:pt x="575" y="0"/>
                    </a:moveTo>
                    <a:cubicBezTo>
                      <a:pt x="549" y="0"/>
                      <a:pt x="527" y="21"/>
                      <a:pt x="527" y="47"/>
                    </a:cubicBezTo>
                    <a:cubicBezTo>
                      <a:pt x="527" y="66"/>
                      <a:pt x="539" y="82"/>
                      <a:pt x="555" y="90"/>
                    </a:cubicBezTo>
                    <a:cubicBezTo>
                      <a:pt x="554" y="99"/>
                      <a:pt x="554" y="109"/>
                      <a:pt x="554" y="119"/>
                    </a:cubicBezTo>
                    <a:cubicBezTo>
                      <a:pt x="554" y="124"/>
                      <a:pt x="554" y="129"/>
                      <a:pt x="554" y="133"/>
                    </a:cubicBezTo>
                    <a:cubicBezTo>
                      <a:pt x="556" y="151"/>
                      <a:pt x="556" y="168"/>
                      <a:pt x="554" y="185"/>
                    </a:cubicBezTo>
                    <a:cubicBezTo>
                      <a:pt x="556" y="191"/>
                      <a:pt x="556" y="197"/>
                      <a:pt x="554" y="203"/>
                    </a:cubicBezTo>
                    <a:cubicBezTo>
                      <a:pt x="555" y="221"/>
                      <a:pt x="556" y="239"/>
                      <a:pt x="554" y="257"/>
                    </a:cubicBezTo>
                    <a:cubicBezTo>
                      <a:pt x="554" y="263"/>
                      <a:pt x="554" y="267"/>
                      <a:pt x="554" y="271"/>
                    </a:cubicBezTo>
                    <a:cubicBezTo>
                      <a:pt x="558" y="294"/>
                      <a:pt x="553" y="311"/>
                      <a:pt x="535" y="326"/>
                    </a:cubicBezTo>
                    <a:cubicBezTo>
                      <a:pt x="514" y="343"/>
                      <a:pt x="496" y="362"/>
                      <a:pt x="479" y="382"/>
                    </a:cubicBezTo>
                    <a:cubicBezTo>
                      <a:pt x="464" y="400"/>
                      <a:pt x="446" y="406"/>
                      <a:pt x="424" y="402"/>
                    </a:cubicBezTo>
                    <a:cubicBezTo>
                      <a:pt x="419" y="402"/>
                      <a:pt x="413" y="403"/>
                      <a:pt x="407" y="401"/>
                    </a:cubicBezTo>
                    <a:cubicBezTo>
                      <a:pt x="389" y="403"/>
                      <a:pt x="372" y="402"/>
                      <a:pt x="356" y="402"/>
                    </a:cubicBezTo>
                    <a:cubicBezTo>
                      <a:pt x="350" y="402"/>
                      <a:pt x="344" y="403"/>
                      <a:pt x="338" y="401"/>
                    </a:cubicBezTo>
                    <a:cubicBezTo>
                      <a:pt x="321" y="403"/>
                      <a:pt x="304" y="402"/>
                      <a:pt x="287" y="402"/>
                    </a:cubicBezTo>
                    <a:cubicBezTo>
                      <a:pt x="281" y="403"/>
                      <a:pt x="275" y="403"/>
                      <a:pt x="269" y="401"/>
                    </a:cubicBezTo>
                    <a:cubicBezTo>
                      <a:pt x="252" y="403"/>
                      <a:pt x="234" y="402"/>
                      <a:pt x="217" y="402"/>
                    </a:cubicBezTo>
                    <a:cubicBezTo>
                      <a:pt x="212" y="403"/>
                      <a:pt x="206" y="403"/>
                      <a:pt x="200" y="401"/>
                    </a:cubicBezTo>
                    <a:cubicBezTo>
                      <a:pt x="183" y="403"/>
                      <a:pt x="166" y="402"/>
                      <a:pt x="149" y="402"/>
                    </a:cubicBezTo>
                    <a:cubicBezTo>
                      <a:pt x="143" y="403"/>
                      <a:pt x="137" y="403"/>
                      <a:pt x="131" y="402"/>
                    </a:cubicBezTo>
                    <a:cubicBezTo>
                      <a:pt x="130" y="402"/>
                      <a:pt x="128" y="402"/>
                      <a:pt x="127" y="402"/>
                    </a:cubicBezTo>
                    <a:cubicBezTo>
                      <a:pt x="119" y="389"/>
                      <a:pt x="104" y="380"/>
                      <a:pt x="87" y="380"/>
                    </a:cubicBezTo>
                    <a:cubicBezTo>
                      <a:pt x="81" y="380"/>
                      <a:pt x="76" y="381"/>
                      <a:pt x="71" y="383"/>
                    </a:cubicBezTo>
                    <a:cubicBezTo>
                      <a:pt x="77" y="378"/>
                      <a:pt x="81" y="373"/>
                      <a:pt x="84" y="367"/>
                    </a:cubicBezTo>
                    <a:cubicBezTo>
                      <a:pt x="92" y="367"/>
                      <a:pt x="99" y="367"/>
                      <a:pt x="107" y="367"/>
                    </a:cubicBezTo>
                    <a:cubicBezTo>
                      <a:pt x="125" y="366"/>
                      <a:pt x="143" y="366"/>
                      <a:pt x="162" y="366"/>
                    </a:cubicBezTo>
                    <a:cubicBezTo>
                      <a:pt x="166" y="366"/>
                      <a:pt x="171" y="366"/>
                      <a:pt x="176" y="367"/>
                    </a:cubicBezTo>
                    <a:cubicBezTo>
                      <a:pt x="193" y="366"/>
                      <a:pt x="210" y="366"/>
                      <a:pt x="227" y="366"/>
                    </a:cubicBezTo>
                    <a:cubicBezTo>
                      <a:pt x="233" y="366"/>
                      <a:pt x="239" y="366"/>
                      <a:pt x="245" y="367"/>
                    </a:cubicBezTo>
                    <a:cubicBezTo>
                      <a:pt x="262" y="366"/>
                      <a:pt x="279" y="366"/>
                      <a:pt x="296" y="366"/>
                    </a:cubicBezTo>
                    <a:cubicBezTo>
                      <a:pt x="302" y="366"/>
                      <a:pt x="308" y="366"/>
                      <a:pt x="314" y="367"/>
                    </a:cubicBezTo>
                    <a:cubicBezTo>
                      <a:pt x="331" y="366"/>
                      <a:pt x="348" y="366"/>
                      <a:pt x="365" y="366"/>
                    </a:cubicBezTo>
                    <a:cubicBezTo>
                      <a:pt x="370" y="368"/>
                      <a:pt x="374" y="370"/>
                      <a:pt x="378" y="369"/>
                    </a:cubicBezTo>
                    <a:cubicBezTo>
                      <a:pt x="380" y="369"/>
                      <a:pt x="381" y="367"/>
                      <a:pt x="382" y="366"/>
                    </a:cubicBezTo>
                    <a:cubicBezTo>
                      <a:pt x="396" y="362"/>
                      <a:pt x="408" y="355"/>
                      <a:pt x="418" y="343"/>
                    </a:cubicBezTo>
                    <a:cubicBezTo>
                      <a:pt x="438" y="323"/>
                      <a:pt x="458" y="303"/>
                      <a:pt x="478" y="283"/>
                    </a:cubicBezTo>
                    <a:cubicBezTo>
                      <a:pt x="483" y="284"/>
                      <a:pt x="488" y="285"/>
                      <a:pt x="493" y="285"/>
                    </a:cubicBezTo>
                    <a:cubicBezTo>
                      <a:pt x="519" y="285"/>
                      <a:pt x="539" y="265"/>
                      <a:pt x="539" y="239"/>
                    </a:cubicBezTo>
                    <a:cubicBezTo>
                      <a:pt x="539" y="214"/>
                      <a:pt x="519" y="193"/>
                      <a:pt x="493" y="193"/>
                    </a:cubicBezTo>
                    <a:cubicBezTo>
                      <a:pt x="468" y="193"/>
                      <a:pt x="448" y="214"/>
                      <a:pt x="448" y="239"/>
                    </a:cubicBezTo>
                    <a:cubicBezTo>
                      <a:pt x="448" y="244"/>
                      <a:pt x="448" y="248"/>
                      <a:pt x="450" y="252"/>
                    </a:cubicBezTo>
                    <a:cubicBezTo>
                      <a:pt x="429" y="273"/>
                      <a:pt x="409" y="292"/>
                      <a:pt x="389" y="314"/>
                    </a:cubicBezTo>
                    <a:cubicBezTo>
                      <a:pt x="381" y="322"/>
                      <a:pt x="373" y="326"/>
                      <a:pt x="362" y="324"/>
                    </a:cubicBezTo>
                    <a:cubicBezTo>
                      <a:pt x="356" y="323"/>
                      <a:pt x="350" y="323"/>
                      <a:pt x="345" y="323"/>
                    </a:cubicBezTo>
                    <a:cubicBezTo>
                      <a:pt x="328" y="323"/>
                      <a:pt x="310" y="323"/>
                      <a:pt x="293" y="323"/>
                    </a:cubicBezTo>
                    <a:cubicBezTo>
                      <a:pt x="287" y="323"/>
                      <a:pt x="281" y="323"/>
                      <a:pt x="275" y="323"/>
                    </a:cubicBezTo>
                    <a:cubicBezTo>
                      <a:pt x="258" y="324"/>
                      <a:pt x="241" y="324"/>
                      <a:pt x="224" y="324"/>
                    </a:cubicBezTo>
                    <a:cubicBezTo>
                      <a:pt x="218" y="324"/>
                      <a:pt x="212" y="324"/>
                      <a:pt x="207" y="324"/>
                    </a:cubicBezTo>
                    <a:cubicBezTo>
                      <a:pt x="190" y="324"/>
                      <a:pt x="172" y="324"/>
                      <a:pt x="155" y="324"/>
                    </a:cubicBezTo>
                    <a:cubicBezTo>
                      <a:pt x="149" y="323"/>
                      <a:pt x="143" y="323"/>
                      <a:pt x="138" y="323"/>
                    </a:cubicBezTo>
                    <a:cubicBezTo>
                      <a:pt x="120" y="323"/>
                      <a:pt x="103" y="323"/>
                      <a:pt x="86" y="324"/>
                    </a:cubicBezTo>
                    <a:cubicBezTo>
                      <a:pt x="85" y="324"/>
                      <a:pt x="85" y="324"/>
                      <a:pt x="84" y="324"/>
                    </a:cubicBezTo>
                    <a:cubicBezTo>
                      <a:pt x="76" y="310"/>
                      <a:pt x="61" y="300"/>
                      <a:pt x="44" y="300"/>
                    </a:cubicBezTo>
                    <a:cubicBezTo>
                      <a:pt x="20" y="300"/>
                      <a:pt x="0" y="321"/>
                      <a:pt x="0" y="346"/>
                    </a:cubicBezTo>
                    <a:cubicBezTo>
                      <a:pt x="0" y="371"/>
                      <a:pt x="20" y="392"/>
                      <a:pt x="44" y="392"/>
                    </a:cubicBezTo>
                    <a:cubicBezTo>
                      <a:pt x="49" y="392"/>
                      <a:pt x="54" y="391"/>
                      <a:pt x="58" y="389"/>
                    </a:cubicBezTo>
                    <a:cubicBezTo>
                      <a:pt x="48" y="397"/>
                      <a:pt x="41" y="410"/>
                      <a:pt x="41" y="423"/>
                    </a:cubicBezTo>
                    <a:cubicBezTo>
                      <a:pt x="41" y="447"/>
                      <a:pt x="61" y="467"/>
                      <a:pt x="87" y="467"/>
                    </a:cubicBezTo>
                    <a:cubicBezTo>
                      <a:pt x="104" y="467"/>
                      <a:pt x="119" y="458"/>
                      <a:pt x="127" y="444"/>
                    </a:cubicBezTo>
                    <a:cubicBezTo>
                      <a:pt x="135" y="444"/>
                      <a:pt x="144" y="444"/>
                      <a:pt x="152" y="444"/>
                    </a:cubicBezTo>
                    <a:cubicBezTo>
                      <a:pt x="158" y="444"/>
                      <a:pt x="164" y="444"/>
                      <a:pt x="170" y="444"/>
                    </a:cubicBezTo>
                    <a:cubicBezTo>
                      <a:pt x="186" y="444"/>
                      <a:pt x="203" y="444"/>
                      <a:pt x="220" y="444"/>
                    </a:cubicBezTo>
                    <a:cubicBezTo>
                      <a:pt x="226" y="444"/>
                      <a:pt x="232" y="444"/>
                      <a:pt x="238" y="444"/>
                    </a:cubicBezTo>
                    <a:cubicBezTo>
                      <a:pt x="255" y="444"/>
                      <a:pt x="273" y="444"/>
                      <a:pt x="290" y="444"/>
                    </a:cubicBezTo>
                    <a:cubicBezTo>
                      <a:pt x="296" y="444"/>
                      <a:pt x="302" y="444"/>
                      <a:pt x="307" y="444"/>
                    </a:cubicBezTo>
                    <a:cubicBezTo>
                      <a:pt x="325" y="444"/>
                      <a:pt x="341" y="444"/>
                      <a:pt x="358" y="444"/>
                    </a:cubicBezTo>
                    <a:cubicBezTo>
                      <a:pt x="364" y="444"/>
                      <a:pt x="370" y="444"/>
                      <a:pt x="376" y="444"/>
                    </a:cubicBezTo>
                    <a:cubicBezTo>
                      <a:pt x="393" y="444"/>
                      <a:pt x="410" y="444"/>
                      <a:pt x="428" y="444"/>
                    </a:cubicBezTo>
                    <a:cubicBezTo>
                      <a:pt x="434" y="444"/>
                      <a:pt x="439" y="444"/>
                      <a:pt x="445" y="444"/>
                    </a:cubicBezTo>
                    <a:cubicBezTo>
                      <a:pt x="468" y="445"/>
                      <a:pt x="485" y="436"/>
                      <a:pt x="501" y="419"/>
                    </a:cubicBezTo>
                    <a:cubicBezTo>
                      <a:pt x="524" y="395"/>
                      <a:pt x="547" y="371"/>
                      <a:pt x="572" y="348"/>
                    </a:cubicBezTo>
                    <a:cubicBezTo>
                      <a:pt x="589" y="333"/>
                      <a:pt x="598" y="315"/>
                      <a:pt x="598" y="292"/>
                    </a:cubicBezTo>
                    <a:cubicBezTo>
                      <a:pt x="598" y="286"/>
                      <a:pt x="598" y="280"/>
                      <a:pt x="598" y="275"/>
                    </a:cubicBezTo>
                    <a:cubicBezTo>
                      <a:pt x="598" y="257"/>
                      <a:pt x="598" y="240"/>
                      <a:pt x="598" y="223"/>
                    </a:cubicBezTo>
                    <a:cubicBezTo>
                      <a:pt x="598" y="218"/>
                      <a:pt x="598" y="212"/>
                      <a:pt x="598" y="206"/>
                    </a:cubicBezTo>
                    <a:cubicBezTo>
                      <a:pt x="598" y="189"/>
                      <a:pt x="598" y="172"/>
                      <a:pt x="598" y="154"/>
                    </a:cubicBezTo>
                    <a:cubicBezTo>
                      <a:pt x="598" y="148"/>
                      <a:pt x="598" y="143"/>
                      <a:pt x="598" y="137"/>
                    </a:cubicBezTo>
                    <a:cubicBezTo>
                      <a:pt x="598" y="120"/>
                      <a:pt x="598" y="104"/>
                      <a:pt x="598" y="88"/>
                    </a:cubicBezTo>
                    <a:cubicBezTo>
                      <a:pt x="612" y="80"/>
                      <a:pt x="622" y="65"/>
                      <a:pt x="622" y="47"/>
                    </a:cubicBezTo>
                    <a:cubicBezTo>
                      <a:pt x="622" y="21"/>
                      <a:pt x="601" y="0"/>
                      <a:pt x="575" y="0"/>
                    </a:cubicBezTo>
                    <a:close/>
                    <a:moveTo>
                      <a:pt x="44" y="373"/>
                    </a:moveTo>
                    <a:cubicBezTo>
                      <a:pt x="30" y="373"/>
                      <a:pt x="19" y="361"/>
                      <a:pt x="19" y="346"/>
                    </a:cubicBezTo>
                    <a:cubicBezTo>
                      <a:pt x="19" y="331"/>
                      <a:pt x="30" y="319"/>
                      <a:pt x="44" y="319"/>
                    </a:cubicBezTo>
                    <a:cubicBezTo>
                      <a:pt x="58" y="319"/>
                      <a:pt x="70" y="331"/>
                      <a:pt x="70" y="346"/>
                    </a:cubicBezTo>
                    <a:cubicBezTo>
                      <a:pt x="70" y="361"/>
                      <a:pt x="58" y="373"/>
                      <a:pt x="44" y="373"/>
                    </a:cubicBezTo>
                    <a:close/>
                    <a:moveTo>
                      <a:pt x="575" y="75"/>
                    </a:moveTo>
                    <a:cubicBezTo>
                      <a:pt x="559" y="75"/>
                      <a:pt x="547" y="62"/>
                      <a:pt x="547" y="47"/>
                    </a:cubicBezTo>
                    <a:cubicBezTo>
                      <a:pt x="547" y="32"/>
                      <a:pt x="559" y="19"/>
                      <a:pt x="575" y="19"/>
                    </a:cubicBezTo>
                    <a:cubicBezTo>
                      <a:pt x="590" y="19"/>
                      <a:pt x="602" y="32"/>
                      <a:pt x="602" y="47"/>
                    </a:cubicBezTo>
                    <a:cubicBezTo>
                      <a:pt x="602" y="62"/>
                      <a:pt x="590" y="75"/>
                      <a:pt x="575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19" name="Freeform 20"/>
              <p:cNvSpPr>
                <a:spLocks noEditPoints="1"/>
              </p:cNvSpPr>
              <p:nvPr/>
            </p:nvSpPr>
            <p:spPr bwMode="gray">
              <a:xfrm>
                <a:off x="2673" y="1005"/>
                <a:ext cx="206" cy="549"/>
              </a:xfrm>
              <a:custGeom>
                <a:avLst/>
                <a:gdLst>
                  <a:gd name="T0" fmla="*/ 87 w 87"/>
                  <a:gd name="T1" fmla="*/ 46 h 232"/>
                  <a:gd name="T2" fmla="*/ 43 w 87"/>
                  <a:gd name="T3" fmla="*/ 0 h 232"/>
                  <a:gd name="T4" fmla="*/ 0 w 87"/>
                  <a:gd name="T5" fmla="*/ 46 h 232"/>
                  <a:gd name="T6" fmla="*/ 21 w 87"/>
                  <a:gd name="T7" fmla="*/ 85 h 232"/>
                  <a:gd name="T8" fmla="*/ 21 w 87"/>
                  <a:gd name="T9" fmla="*/ 101 h 232"/>
                  <a:gd name="T10" fmla="*/ 23 w 87"/>
                  <a:gd name="T11" fmla="*/ 148 h 232"/>
                  <a:gd name="T12" fmla="*/ 0 w 87"/>
                  <a:gd name="T13" fmla="*/ 187 h 232"/>
                  <a:gd name="T14" fmla="*/ 43 w 87"/>
                  <a:gd name="T15" fmla="*/ 232 h 232"/>
                  <a:gd name="T16" fmla="*/ 87 w 87"/>
                  <a:gd name="T17" fmla="*/ 187 h 232"/>
                  <a:gd name="T18" fmla="*/ 64 w 87"/>
                  <a:gd name="T19" fmla="*/ 148 h 232"/>
                  <a:gd name="T20" fmla="*/ 65 w 87"/>
                  <a:gd name="T21" fmla="*/ 122 h 232"/>
                  <a:gd name="T22" fmla="*/ 65 w 87"/>
                  <a:gd name="T23" fmla="*/ 105 h 232"/>
                  <a:gd name="T24" fmla="*/ 64 w 87"/>
                  <a:gd name="T25" fmla="*/ 86 h 232"/>
                  <a:gd name="T26" fmla="*/ 87 w 87"/>
                  <a:gd name="T27" fmla="*/ 46 h 232"/>
                  <a:gd name="T28" fmla="*/ 67 w 87"/>
                  <a:gd name="T29" fmla="*/ 187 h 232"/>
                  <a:gd name="T30" fmla="*/ 43 w 87"/>
                  <a:gd name="T31" fmla="*/ 213 h 232"/>
                  <a:gd name="T32" fmla="*/ 19 w 87"/>
                  <a:gd name="T33" fmla="*/ 187 h 232"/>
                  <a:gd name="T34" fmla="*/ 43 w 87"/>
                  <a:gd name="T35" fmla="*/ 162 h 232"/>
                  <a:gd name="T36" fmla="*/ 67 w 87"/>
                  <a:gd name="T37" fmla="*/ 187 h 232"/>
                  <a:gd name="T38" fmla="*/ 43 w 87"/>
                  <a:gd name="T39" fmla="*/ 72 h 232"/>
                  <a:gd name="T40" fmla="*/ 19 w 87"/>
                  <a:gd name="T41" fmla="*/ 46 h 232"/>
                  <a:gd name="T42" fmla="*/ 43 w 87"/>
                  <a:gd name="T43" fmla="*/ 19 h 232"/>
                  <a:gd name="T44" fmla="*/ 67 w 87"/>
                  <a:gd name="T45" fmla="*/ 46 h 232"/>
                  <a:gd name="T46" fmla="*/ 43 w 87"/>
                  <a:gd name="T47" fmla="*/ 7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7" h="232">
                    <a:moveTo>
                      <a:pt x="87" y="46"/>
                    </a:moveTo>
                    <a:cubicBezTo>
                      <a:pt x="87" y="20"/>
                      <a:pt x="67" y="0"/>
                      <a:pt x="43" y="0"/>
                    </a:cubicBezTo>
                    <a:cubicBezTo>
                      <a:pt x="19" y="0"/>
                      <a:pt x="0" y="20"/>
                      <a:pt x="0" y="46"/>
                    </a:cubicBezTo>
                    <a:cubicBezTo>
                      <a:pt x="0" y="63"/>
                      <a:pt x="8" y="77"/>
                      <a:pt x="21" y="85"/>
                    </a:cubicBezTo>
                    <a:cubicBezTo>
                      <a:pt x="21" y="91"/>
                      <a:pt x="21" y="96"/>
                      <a:pt x="21" y="101"/>
                    </a:cubicBezTo>
                    <a:cubicBezTo>
                      <a:pt x="22" y="117"/>
                      <a:pt x="22" y="132"/>
                      <a:pt x="23" y="148"/>
                    </a:cubicBezTo>
                    <a:cubicBezTo>
                      <a:pt x="9" y="156"/>
                      <a:pt x="0" y="170"/>
                      <a:pt x="0" y="187"/>
                    </a:cubicBezTo>
                    <a:cubicBezTo>
                      <a:pt x="0" y="212"/>
                      <a:pt x="19" y="232"/>
                      <a:pt x="43" y="232"/>
                    </a:cubicBezTo>
                    <a:cubicBezTo>
                      <a:pt x="67" y="232"/>
                      <a:pt x="87" y="212"/>
                      <a:pt x="87" y="187"/>
                    </a:cubicBezTo>
                    <a:cubicBezTo>
                      <a:pt x="87" y="170"/>
                      <a:pt x="77" y="156"/>
                      <a:pt x="64" y="148"/>
                    </a:cubicBezTo>
                    <a:cubicBezTo>
                      <a:pt x="64" y="139"/>
                      <a:pt x="64" y="130"/>
                      <a:pt x="65" y="122"/>
                    </a:cubicBezTo>
                    <a:cubicBezTo>
                      <a:pt x="63" y="116"/>
                      <a:pt x="63" y="110"/>
                      <a:pt x="65" y="105"/>
                    </a:cubicBezTo>
                    <a:cubicBezTo>
                      <a:pt x="65" y="98"/>
                      <a:pt x="64" y="92"/>
                      <a:pt x="64" y="86"/>
                    </a:cubicBezTo>
                    <a:cubicBezTo>
                      <a:pt x="77" y="78"/>
                      <a:pt x="87" y="63"/>
                      <a:pt x="87" y="46"/>
                    </a:cubicBezTo>
                    <a:close/>
                    <a:moveTo>
                      <a:pt x="67" y="187"/>
                    </a:moveTo>
                    <a:cubicBezTo>
                      <a:pt x="67" y="201"/>
                      <a:pt x="56" y="213"/>
                      <a:pt x="43" y="213"/>
                    </a:cubicBezTo>
                    <a:cubicBezTo>
                      <a:pt x="30" y="213"/>
                      <a:pt x="19" y="201"/>
                      <a:pt x="19" y="187"/>
                    </a:cubicBezTo>
                    <a:cubicBezTo>
                      <a:pt x="19" y="173"/>
                      <a:pt x="30" y="162"/>
                      <a:pt x="43" y="162"/>
                    </a:cubicBezTo>
                    <a:cubicBezTo>
                      <a:pt x="56" y="162"/>
                      <a:pt x="67" y="173"/>
                      <a:pt x="67" y="187"/>
                    </a:cubicBezTo>
                    <a:close/>
                    <a:moveTo>
                      <a:pt x="43" y="72"/>
                    </a:moveTo>
                    <a:cubicBezTo>
                      <a:pt x="30" y="72"/>
                      <a:pt x="19" y="60"/>
                      <a:pt x="19" y="46"/>
                    </a:cubicBezTo>
                    <a:cubicBezTo>
                      <a:pt x="19" y="31"/>
                      <a:pt x="30" y="19"/>
                      <a:pt x="43" y="19"/>
                    </a:cubicBezTo>
                    <a:cubicBezTo>
                      <a:pt x="56" y="19"/>
                      <a:pt x="67" y="31"/>
                      <a:pt x="67" y="46"/>
                    </a:cubicBezTo>
                    <a:cubicBezTo>
                      <a:pt x="67" y="60"/>
                      <a:pt x="56" y="72"/>
                      <a:pt x="43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  <p:sp>
            <p:nvSpPr>
              <p:cNvPr id="920" name="Freeform 21"/>
              <p:cNvSpPr>
                <a:spLocks noEditPoints="1"/>
              </p:cNvSpPr>
              <p:nvPr/>
            </p:nvSpPr>
            <p:spPr bwMode="gray">
              <a:xfrm>
                <a:off x="3371" y="946"/>
                <a:ext cx="459" cy="471"/>
              </a:xfrm>
              <a:custGeom>
                <a:avLst/>
                <a:gdLst>
                  <a:gd name="T0" fmla="*/ 46 w 194"/>
                  <a:gd name="T1" fmla="*/ 109 h 199"/>
                  <a:gd name="T2" fmla="*/ 0 w 194"/>
                  <a:gd name="T3" fmla="*/ 154 h 199"/>
                  <a:gd name="T4" fmla="*/ 46 w 194"/>
                  <a:gd name="T5" fmla="*/ 199 h 199"/>
                  <a:gd name="T6" fmla="*/ 92 w 194"/>
                  <a:gd name="T7" fmla="*/ 154 h 199"/>
                  <a:gd name="T8" fmla="*/ 90 w 194"/>
                  <a:gd name="T9" fmla="*/ 141 h 199"/>
                  <a:gd name="T10" fmla="*/ 138 w 194"/>
                  <a:gd name="T11" fmla="*/ 93 h 199"/>
                  <a:gd name="T12" fmla="*/ 149 w 194"/>
                  <a:gd name="T13" fmla="*/ 95 h 199"/>
                  <a:gd name="T14" fmla="*/ 194 w 194"/>
                  <a:gd name="T15" fmla="*/ 48 h 199"/>
                  <a:gd name="T16" fmla="*/ 149 w 194"/>
                  <a:gd name="T17" fmla="*/ 0 h 199"/>
                  <a:gd name="T18" fmla="*/ 104 w 194"/>
                  <a:gd name="T19" fmla="*/ 48 h 199"/>
                  <a:gd name="T20" fmla="*/ 107 w 194"/>
                  <a:gd name="T21" fmla="*/ 65 h 199"/>
                  <a:gd name="T22" fmla="*/ 61 w 194"/>
                  <a:gd name="T23" fmla="*/ 112 h 199"/>
                  <a:gd name="T24" fmla="*/ 46 w 194"/>
                  <a:gd name="T25" fmla="*/ 109 h 199"/>
                  <a:gd name="T26" fmla="*/ 149 w 194"/>
                  <a:gd name="T27" fmla="*/ 20 h 199"/>
                  <a:gd name="T28" fmla="*/ 174 w 194"/>
                  <a:gd name="T29" fmla="*/ 48 h 199"/>
                  <a:gd name="T30" fmla="*/ 149 w 194"/>
                  <a:gd name="T31" fmla="*/ 75 h 199"/>
                  <a:gd name="T32" fmla="*/ 123 w 194"/>
                  <a:gd name="T33" fmla="*/ 48 h 199"/>
                  <a:gd name="T34" fmla="*/ 149 w 194"/>
                  <a:gd name="T35" fmla="*/ 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4" h="199">
                    <a:moveTo>
                      <a:pt x="46" y="109"/>
                    </a:moveTo>
                    <a:cubicBezTo>
                      <a:pt x="21" y="109"/>
                      <a:pt x="0" y="129"/>
                      <a:pt x="0" y="154"/>
                    </a:cubicBezTo>
                    <a:cubicBezTo>
                      <a:pt x="0" y="179"/>
                      <a:pt x="21" y="199"/>
                      <a:pt x="46" y="199"/>
                    </a:cubicBezTo>
                    <a:cubicBezTo>
                      <a:pt x="71" y="199"/>
                      <a:pt x="92" y="179"/>
                      <a:pt x="92" y="154"/>
                    </a:cubicBezTo>
                    <a:cubicBezTo>
                      <a:pt x="92" y="149"/>
                      <a:pt x="91" y="145"/>
                      <a:pt x="90" y="141"/>
                    </a:cubicBezTo>
                    <a:cubicBezTo>
                      <a:pt x="106" y="125"/>
                      <a:pt x="122" y="109"/>
                      <a:pt x="138" y="93"/>
                    </a:cubicBezTo>
                    <a:cubicBezTo>
                      <a:pt x="142" y="94"/>
                      <a:pt x="145" y="95"/>
                      <a:pt x="149" y="95"/>
                    </a:cubicBezTo>
                    <a:cubicBezTo>
                      <a:pt x="173" y="95"/>
                      <a:pt x="194" y="74"/>
                      <a:pt x="194" y="48"/>
                    </a:cubicBezTo>
                    <a:cubicBezTo>
                      <a:pt x="194" y="22"/>
                      <a:pt x="173" y="0"/>
                      <a:pt x="149" y="0"/>
                    </a:cubicBezTo>
                    <a:cubicBezTo>
                      <a:pt x="124" y="0"/>
                      <a:pt x="104" y="22"/>
                      <a:pt x="104" y="48"/>
                    </a:cubicBezTo>
                    <a:cubicBezTo>
                      <a:pt x="104" y="54"/>
                      <a:pt x="105" y="60"/>
                      <a:pt x="107" y="65"/>
                    </a:cubicBezTo>
                    <a:cubicBezTo>
                      <a:pt x="92" y="81"/>
                      <a:pt x="76" y="96"/>
                      <a:pt x="61" y="112"/>
                    </a:cubicBezTo>
                    <a:cubicBezTo>
                      <a:pt x="56" y="110"/>
                      <a:pt x="51" y="109"/>
                      <a:pt x="46" y="109"/>
                    </a:cubicBezTo>
                    <a:close/>
                    <a:moveTo>
                      <a:pt x="149" y="20"/>
                    </a:moveTo>
                    <a:cubicBezTo>
                      <a:pt x="163" y="20"/>
                      <a:pt x="174" y="32"/>
                      <a:pt x="174" y="48"/>
                    </a:cubicBezTo>
                    <a:cubicBezTo>
                      <a:pt x="174" y="63"/>
                      <a:pt x="163" y="75"/>
                      <a:pt x="149" y="75"/>
                    </a:cubicBezTo>
                    <a:cubicBezTo>
                      <a:pt x="135" y="75"/>
                      <a:pt x="123" y="63"/>
                      <a:pt x="123" y="48"/>
                    </a:cubicBezTo>
                    <a:cubicBezTo>
                      <a:pt x="123" y="32"/>
                      <a:pt x="135" y="20"/>
                      <a:pt x="14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17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i="1" kern="0" dirty="0">
                  <a:solidFill>
                    <a:srgbClr val="ADBECB"/>
                  </a:solidFill>
                </a:endParaRPr>
              </a:p>
            </p:txBody>
          </p:sp>
        </p:grpSp>
        <p:sp>
          <p:nvSpPr>
            <p:cNvPr id="921" name="Textfeld 920"/>
            <p:cNvSpPr txBox="1"/>
            <p:nvPr/>
          </p:nvSpPr>
          <p:spPr>
            <a:xfrm>
              <a:off x="7745228" y="2510831"/>
              <a:ext cx="580370" cy="2424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plit	</a:t>
              </a:r>
              <a:endPara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22" name="Textfeld 921"/>
            <p:cNvSpPr txBox="1"/>
            <p:nvPr/>
          </p:nvSpPr>
          <p:spPr>
            <a:xfrm>
              <a:off x="8583846" y="2510831"/>
              <a:ext cx="580370" cy="2424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de-DE" sz="12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ffset	</a:t>
              </a:r>
              <a:endPara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924" name="Freihandform 923"/>
          <p:cNvSpPr/>
          <p:nvPr/>
        </p:nvSpPr>
        <p:spPr bwMode="auto">
          <a:xfrm rot="16200000" flipH="1" flipV="1">
            <a:off x="7656739" y="4261256"/>
            <a:ext cx="314836" cy="67010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5" name="Freihandform 924"/>
          <p:cNvSpPr/>
          <p:nvPr/>
        </p:nvSpPr>
        <p:spPr bwMode="auto">
          <a:xfrm rot="16200000" flipH="1" flipV="1">
            <a:off x="7937691" y="3154905"/>
            <a:ext cx="102655" cy="1862213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812" h="85725">
                <a:moveTo>
                  <a:pt x="0" y="0"/>
                </a:moveTo>
                <a:lnTo>
                  <a:pt x="1166812" y="0"/>
                </a:lnTo>
                <a:lnTo>
                  <a:pt x="1166812" y="85725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6" name="Freihandform 925"/>
          <p:cNvSpPr/>
          <p:nvPr/>
        </p:nvSpPr>
        <p:spPr bwMode="auto">
          <a:xfrm rot="16200000" flipH="1" flipV="1">
            <a:off x="8014101" y="4044400"/>
            <a:ext cx="117187" cy="67010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7" name="Freihandform 926"/>
          <p:cNvSpPr/>
          <p:nvPr/>
        </p:nvSpPr>
        <p:spPr bwMode="auto">
          <a:xfrm rot="16200000" flipH="1" flipV="1">
            <a:off x="6685738" y="3593640"/>
            <a:ext cx="455180" cy="67010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8" name="Freihandform 927"/>
          <p:cNvSpPr/>
          <p:nvPr/>
        </p:nvSpPr>
        <p:spPr bwMode="auto">
          <a:xfrm flipH="1" flipV="1">
            <a:off x="9058431" y="5218767"/>
            <a:ext cx="1438993" cy="1478296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812" h="85725">
                <a:moveTo>
                  <a:pt x="0" y="0"/>
                </a:moveTo>
                <a:lnTo>
                  <a:pt x="1166812" y="0"/>
                </a:lnTo>
                <a:lnTo>
                  <a:pt x="1166812" y="85725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929" name="Gruppieren 928"/>
          <p:cNvGrpSpPr/>
          <p:nvPr/>
        </p:nvGrpSpPr>
        <p:grpSpPr>
          <a:xfrm>
            <a:off x="8913842" y="4840389"/>
            <a:ext cx="251991" cy="372633"/>
            <a:chOff x="3594579" y="2390240"/>
            <a:chExt cx="1288080" cy="1904755"/>
          </a:xfrm>
        </p:grpSpPr>
        <p:sp>
          <p:nvSpPr>
            <p:cNvPr id="930" name="Rechteck 929"/>
            <p:cNvSpPr/>
            <p:nvPr/>
          </p:nvSpPr>
          <p:spPr bwMode="auto">
            <a:xfrm>
              <a:off x="3594579" y="2390241"/>
              <a:ext cx="416364" cy="13016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1" name="Rechteck 930"/>
            <p:cNvSpPr/>
            <p:nvPr/>
          </p:nvSpPr>
          <p:spPr bwMode="auto">
            <a:xfrm>
              <a:off x="4090571" y="2390240"/>
              <a:ext cx="792088" cy="13016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2" name="Rechteck 931"/>
            <p:cNvSpPr/>
            <p:nvPr/>
          </p:nvSpPr>
          <p:spPr bwMode="auto">
            <a:xfrm>
              <a:off x="3658523" y="3771676"/>
              <a:ext cx="1148318" cy="52331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3" name="Rechteck 932"/>
            <p:cNvSpPr/>
            <p:nvPr/>
          </p:nvSpPr>
          <p:spPr bwMode="auto">
            <a:xfrm>
              <a:off x="4166087" y="3038245"/>
              <a:ext cx="66595" cy="1747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934" name="Rechteck 933"/>
            <p:cNvSpPr/>
            <p:nvPr/>
          </p:nvSpPr>
          <p:spPr bwMode="auto">
            <a:xfrm>
              <a:off x="3902931" y="3038671"/>
              <a:ext cx="66595" cy="1747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935" name="Freihandform 934"/>
          <p:cNvSpPr/>
          <p:nvPr/>
        </p:nvSpPr>
        <p:spPr bwMode="auto">
          <a:xfrm rot="16200000" flipH="1" flipV="1">
            <a:off x="9768338" y="5243372"/>
            <a:ext cx="314836" cy="67010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36" name="Freihandform 935"/>
          <p:cNvSpPr/>
          <p:nvPr/>
        </p:nvSpPr>
        <p:spPr bwMode="auto">
          <a:xfrm rot="16200000" flipH="1" flipV="1">
            <a:off x="9986890" y="4199420"/>
            <a:ext cx="102655" cy="1737414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6812" h="85725">
                <a:moveTo>
                  <a:pt x="0" y="0"/>
                </a:moveTo>
                <a:lnTo>
                  <a:pt x="1166812" y="0"/>
                </a:lnTo>
                <a:lnTo>
                  <a:pt x="1166812" y="85725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37" name="Freihandform 936"/>
          <p:cNvSpPr/>
          <p:nvPr/>
        </p:nvSpPr>
        <p:spPr bwMode="auto">
          <a:xfrm rot="16200000" flipH="1" flipV="1">
            <a:off x="9967519" y="5026516"/>
            <a:ext cx="117187" cy="67010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38" name="Freihandform 937"/>
          <p:cNvSpPr/>
          <p:nvPr/>
        </p:nvSpPr>
        <p:spPr bwMode="auto">
          <a:xfrm rot="16200000" flipH="1" flipV="1">
            <a:off x="8306279" y="4084702"/>
            <a:ext cx="1437295" cy="67007"/>
          </a:xfrm>
          <a:custGeom>
            <a:avLst/>
            <a:gdLst>
              <a:gd name="connsiteX0" fmla="*/ 0 w 1166812"/>
              <a:gd name="connsiteY0" fmla="*/ 0 h 85725"/>
              <a:gd name="connsiteX1" fmla="*/ 1166812 w 1166812"/>
              <a:gd name="connsiteY1" fmla="*/ 0 h 85725"/>
              <a:gd name="connsiteX2" fmla="*/ 1166812 w 1166812"/>
              <a:gd name="connsiteY2" fmla="*/ 85725 h 85725"/>
              <a:gd name="connsiteX0" fmla="*/ 0 w 1166812"/>
              <a:gd name="connsiteY0" fmla="*/ 0 h 0"/>
              <a:gd name="connsiteX1" fmla="*/ 1166812 w 116681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66812">
                <a:moveTo>
                  <a:pt x="0" y="0"/>
                </a:moveTo>
                <a:lnTo>
                  <a:pt x="1166812" y="0"/>
                </a:lnTo>
              </a:path>
            </a:pathLst>
          </a:custGeom>
          <a:noFill/>
          <a:ln w="6350" cap="rnd">
            <a:solidFill>
              <a:schemeClr val="accent3"/>
            </a:solidFill>
            <a:prstDash val="solid"/>
            <a:miter lim="800000"/>
            <a:headEnd/>
            <a:tailEnd/>
          </a:ln>
          <a:effectLst/>
          <a:extLst/>
        </p:spPr>
        <p:txBody>
          <a:bodyPr rot="0" spcFirstLastPara="0" vertOverflow="overflow" horzOverflow="overflow" vert="horz" wrap="square" lIns="107974" tIns="53987" rIns="107974" bIns="53987" numCol="1" spcCol="71981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06" name="Gruppieren 82"/>
          <p:cNvGrpSpPr/>
          <p:nvPr/>
        </p:nvGrpSpPr>
        <p:grpSpPr>
          <a:xfrm>
            <a:off x="7975881" y="6308797"/>
            <a:ext cx="597009" cy="393763"/>
            <a:chOff x="2913173" y="2232103"/>
            <a:chExt cx="597010" cy="393763"/>
          </a:xfrm>
        </p:grpSpPr>
        <p:sp>
          <p:nvSpPr>
            <p:cNvPr id="107" name="Freeform 260"/>
            <p:cNvSpPr>
              <a:spLocks/>
            </p:cNvSpPr>
            <p:nvPr/>
          </p:nvSpPr>
          <p:spPr bwMode="auto">
            <a:xfrm>
              <a:off x="2913173" y="2323496"/>
              <a:ext cx="597010" cy="302370"/>
            </a:xfrm>
            <a:custGeom>
              <a:avLst/>
              <a:gdLst/>
              <a:ahLst/>
              <a:cxnLst>
                <a:cxn ang="0">
                  <a:pos x="894" y="0"/>
                </a:cxn>
                <a:cxn ang="0">
                  <a:pos x="1244" y="78"/>
                </a:cxn>
                <a:cxn ang="0">
                  <a:pos x="1275" y="91"/>
                </a:cxn>
                <a:cxn ang="0">
                  <a:pos x="1295" y="106"/>
                </a:cxn>
                <a:cxn ang="0">
                  <a:pos x="1308" y="120"/>
                </a:cxn>
                <a:cxn ang="0">
                  <a:pos x="1313" y="135"/>
                </a:cxn>
                <a:cxn ang="0">
                  <a:pos x="1313" y="150"/>
                </a:cxn>
                <a:cxn ang="0">
                  <a:pos x="1310" y="163"/>
                </a:cxn>
                <a:cxn ang="0">
                  <a:pos x="1303" y="176"/>
                </a:cxn>
                <a:cxn ang="0">
                  <a:pos x="1295" y="186"/>
                </a:cxn>
                <a:cxn ang="0">
                  <a:pos x="1288" y="194"/>
                </a:cxn>
                <a:cxn ang="0">
                  <a:pos x="1282" y="199"/>
                </a:cxn>
                <a:cxn ang="0">
                  <a:pos x="1280" y="200"/>
                </a:cxn>
                <a:cxn ang="0">
                  <a:pos x="546" y="628"/>
                </a:cxn>
                <a:cxn ang="0">
                  <a:pos x="512" y="646"/>
                </a:cxn>
                <a:cxn ang="0">
                  <a:pos x="483" y="657"/>
                </a:cxn>
                <a:cxn ang="0">
                  <a:pos x="456" y="664"/>
                </a:cxn>
                <a:cxn ang="0">
                  <a:pos x="434" y="665"/>
                </a:cxn>
                <a:cxn ang="0">
                  <a:pos x="414" y="664"/>
                </a:cxn>
                <a:cxn ang="0">
                  <a:pos x="399" y="661"/>
                </a:cxn>
                <a:cxn ang="0">
                  <a:pos x="386" y="657"/>
                </a:cxn>
                <a:cxn ang="0">
                  <a:pos x="378" y="652"/>
                </a:cxn>
                <a:cxn ang="0">
                  <a:pos x="373" y="649"/>
                </a:cxn>
                <a:cxn ang="0">
                  <a:pos x="372" y="647"/>
                </a:cxn>
                <a:cxn ang="0">
                  <a:pos x="37" y="453"/>
                </a:cxn>
                <a:cxn ang="0">
                  <a:pos x="16" y="434"/>
                </a:cxn>
                <a:cxn ang="0">
                  <a:pos x="5" y="416"/>
                </a:cxn>
                <a:cxn ang="0">
                  <a:pos x="0" y="401"/>
                </a:cxn>
                <a:cxn ang="0">
                  <a:pos x="3" y="388"/>
                </a:cxn>
                <a:cxn ang="0">
                  <a:pos x="9" y="375"/>
                </a:cxn>
                <a:cxn ang="0">
                  <a:pos x="18" y="365"/>
                </a:cxn>
                <a:cxn ang="0">
                  <a:pos x="40" y="352"/>
                </a:cxn>
                <a:cxn ang="0">
                  <a:pos x="50" y="347"/>
                </a:cxn>
                <a:cxn ang="0">
                  <a:pos x="57" y="346"/>
                </a:cxn>
                <a:cxn ang="0">
                  <a:pos x="60" y="344"/>
                </a:cxn>
                <a:cxn ang="0">
                  <a:pos x="894" y="0"/>
                </a:cxn>
              </a:cxnLst>
              <a:rect l="0" t="0" r="r" b="b"/>
              <a:pathLst>
                <a:path w="1313" h="665">
                  <a:moveTo>
                    <a:pt x="894" y="0"/>
                  </a:moveTo>
                  <a:lnTo>
                    <a:pt x="1244" y="78"/>
                  </a:lnTo>
                  <a:lnTo>
                    <a:pt x="1275" y="91"/>
                  </a:lnTo>
                  <a:lnTo>
                    <a:pt x="1295" y="106"/>
                  </a:lnTo>
                  <a:lnTo>
                    <a:pt x="1308" y="120"/>
                  </a:lnTo>
                  <a:lnTo>
                    <a:pt x="1313" y="135"/>
                  </a:lnTo>
                  <a:lnTo>
                    <a:pt x="1313" y="150"/>
                  </a:lnTo>
                  <a:lnTo>
                    <a:pt x="1310" y="163"/>
                  </a:lnTo>
                  <a:lnTo>
                    <a:pt x="1303" y="176"/>
                  </a:lnTo>
                  <a:lnTo>
                    <a:pt x="1295" y="186"/>
                  </a:lnTo>
                  <a:lnTo>
                    <a:pt x="1288" y="194"/>
                  </a:lnTo>
                  <a:lnTo>
                    <a:pt x="1282" y="199"/>
                  </a:lnTo>
                  <a:lnTo>
                    <a:pt x="1280" y="200"/>
                  </a:lnTo>
                  <a:lnTo>
                    <a:pt x="546" y="628"/>
                  </a:lnTo>
                  <a:lnTo>
                    <a:pt x="512" y="646"/>
                  </a:lnTo>
                  <a:lnTo>
                    <a:pt x="483" y="657"/>
                  </a:lnTo>
                  <a:lnTo>
                    <a:pt x="456" y="664"/>
                  </a:lnTo>
                  <a:lnTo>
                    <a:pt x="434" y="665"/>
                  </a:lnTo>
                  <a:lnTo>
                    <a:pt x="414" y="664"/>
                  </a:lnTo>
                  <a:lnTo>
                    <a:pt x="399" y="661"/>
                  </a:lnTo>
                  <a:lnTo>
                    <a:pt x="386" y="657"/>
                  </a:lnTo>
                  <a:lnTo>
                    <a:pt x="378" y="652"/>
                  </a:lnTo>
                  <a:lnTo>
                    <a:pt x="373" y="649"/>
                  </a:lnTo>
                  <a:lnTo>
                    <a:pt x="372" y="647"/>
                  </a:lnTo>
                  <a:lnTo>
                    <a:pt x="37" y="453"/>
                  </a:lnTo>
                  <a:lnTo>
                    <a:pt x="16" y="434"/>
                  </a:lnTo>
                  <a:lnTo>
                    <a:pt x="5" y="416"/>
                  </a:lnTo>
                  <a:lnTo>
                    <a:pt x="0" y="401"/>
                  </a:lnTo>
                  <a:lnTo>
                    <a:pt x="3" y="388"/>
                  </a:lnTo>
                  <a:lnTo>
                    <a:pt x="9" y="375"/>
                  </a:lnTo>
                  <a:lnTo>
                    <a:pt x="18" y="365"/>
                  </a:lnTo>
                  <a:lnTo>
                    <a:pt x="40" y="352"/>
                  </a:lnTo>
                  <a:lnTo>
                    <a:pt x="50" y="347"/>
                  </a:lnTo>
                  <a:lnTo>
                    <a:pt x="57" y="346"/>
                  </a:lnTo>
                  <a:lnTo>
                    <a:pt x="60" y="344"/>
                  </a:lnTo>
                  <a:lnTo>
                    <a:pt x="894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8" name="Freeform 261"/>
            <p:cNvSpPr>
              <a:spLocks/>
            </p:cNvSpPr>
            <p:nvPr/>
          </p:nvSpPr>
          <p:spPr bwMode="auto">
            <a:xfrm>
              <a:off x="3420154" y="2338956"/>
              <a:ext cx="50016" cy="52744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102" y="37"/>
                </a:cxn>
                <a:cxn ang="0">
                  <a:pos x="110" y="116"/>
                </a:cxn>
                <a:cxn ang="0">
                  <a:pos x="72" y="114"/>
                </a:cxn>
                <a:cxn ang="0">
                  <a:pos x="12" y="75"/>
                </a:cxn>
                <a:cxn ang="0">
                  <a:pos x="0" y="26"/>
                </a:cxn>
                <a:cxn ang="0">
                  <a:pos x="46" y="0"/>
                </a:cxn>
              </a:cxnLst>
              <a:rect l="0" t="0" r="r" b="b"/>
              <a:pathLst>
                <a:path w="110" h="116">
                  <a:moveTo>
                    <a:pt x="46" y="0"/>
                  </a:moveTo>
                  <a:lnTo>
                    <a:pt x="102" y="37"/>
                  </a:lnTo>
                  <a:lnTo>
                    <a:pt x="110" y="116"/>
                  </a:lnTo>
                  <a:lnTo>
                    <a:pt x="72" y="114"/>
                  </a:lnTo>
                  <a:lnTo>
                    <a:pt x="12" y="75"/>
                  </a:lnTo>
                  <a:lnTo>
                    <a:pt x="0" y="2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9" name="Freeform 262"/>
            <p:cNvSpPr>
              <a:spLocks/>
            </p:cNvSpPr>
            <p:nvPr/>
          </p:nvSpPr>
          <p:spPr bwMode="auto">
            <a:xfrm>
              <a:off x="3204630" y="2458994"/>
              <a:ext cx="58655" cy="64566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120" y="48"/>
                </a:cxn>
                <a:cxn ang="0">
                  <a:pos x="129" y="97"/>
                </a:cxn>
                <a:cxn ang="0">
                  <a:pos x="106" y="142"/>
                </a:cxn>
                <a:cxn ang="0">
                  <a:pos x="37" y="114"/>
                </a:cxn>
                <a:cxn ang="0">
                  <a:pos x="0" y="30"/>
                </a:cxn>
                <a:cxn ang="0">
                  <a:pos x="45" y="0"/>
                </a:cxn>
              </a:cxnLst>
              <a:rect l="0" t="0" r="r" b="b"/>
              <a:pathLst>
                <a:path w="129" h="142">
                  <a:moveTo>
                    <a:pt x="45" y="0"/>
                  </a:moveTo>
                  <a:lnTo>
                    <a:pt x="120" y="48"/>
                  </a:lnTo>
                  <a:lnTo>
                    <a:pt x="129" y="97"/>
                  </a:lnTo>
                  <a:lnTo>
                    <a:pt x="106" y="142"/>
                  </a:lnTo>
                  <a:lnTo>
                    <a:pt x="37" y="114"/>
                  </a:lnTo>
                  <a:lnTo>
                    <a:pt x="0" y="3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0" name="Freeform 263"/>
            <p:cNvSpPr>
              <a:spLocks/>
            </p:cNvSpPr>
            <p:nvPr/>
          </p:nvSpPr>
          <p:spPr bwMode="auto">
            <a:xfrm>
              <a:off x="3376504" y="2348504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3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0"/>
                </a:cxn>
                <a:cxn ang="0">
                  <a:pos x="139" y="96"/>
                </a:cxn>
                <a:cxn ang="0">
                  <a:pos x="131" y="122"/>
                </a:cxn>
                <a:cxn ang="0">
                  <a:pos x="119" y="147"/>
                </a:cxn>
                <a:cxn ang="0">
                  <a:pos x="105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4"/>
                </a:cxn>
                <a:cxn ang="0">
                  <a:pos x="10" y="170"/>
                </a:cxn>
                <a:cxn ang="0">
                  <a:pos x="3" y="150"/>
                </a:cxn>
                <a:cxn ang="0">
                  <a:pos x="0" y="127"/>
                </a:cxn>
                <a:cxn ang="0">
                  <a:pos x="3" y="101"/>
                </a:cxn>
                <a:cxn ang="0">
                  <a:pos x="10" y="75"/>
                </a:cxn>
                <a:cxn ang="0">
                  <a:pos x="25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3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0"/>
                  </a:lnTo>
                  <a:lnTo>
                    <a:pt x="139" y="96"/>
                  </a:lnTo>
                  <a:lnTo>
                    <a:pt x="131" y="122"/>
                  </a:lnTo>
                  <a:lnTo>
                    <a:pt x="119" y="147"/>
                  </a:lnTo>
                  <a:lnTo>
                    <a:pt x="105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4"/>
                  </a:lnTo>
                  <a:lnTo>
                    <a:pt x="10" y="170"/>
                  </a:lnTo>
                  <a:lnTo>
                    <a:pt x="3" y="150"/>
                  </a:lnTo>
                  <a:lnTo>
                    <a:pt x="0" y="127"/>
                  </a:lnTo>
                  <a:lnTo>
                    <a:pt x="3" y="101"/>
                  </a:lnTo>
                  <a:lnTo>
                    <a:pt x="10" y="75"/>
                  </a:lnTo>
                  <a:lnTo>
                    <a:pt x="25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1" name="Freeform 264"/>
            <p:cNvSpPr>
              <a:spLocks/>
            </p:cNvSpPr>
            <p:nvPr/>
          </p:nvSpPr>
          <p:spPr bwMode="auto">
            <a:xfrm>
              <a:off x="3391509" y="2354415"/>
              <a:ext cx="60929" cy="94121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134" y="18"/>
                </a:cxn>
                <a:cxn ang="0">
                  <a:pos x="124" y="38"/>
                </a:cxn>
                <a:cxn ang="0">
                  <a:pos x="55" y="199"/>
                </a:cxn>
                <a:cxn ang="0">
                  <a:pos x="52" y="207"/>
                </a:cxn>
                <a:cxn ang="0">
                  <a:pos x="0" y="181"/>
                </a:cxn>
                <a:cxn ang="0">
                  <a:pos x="15" y="47"/>
                </a:cxn>
                <a:cxn ang="0">
                  <a:pos x="81" y="0"/>
                </a:cxn>
              </a:cxnLst>
              <a:rect l="0" t="0" r="r" b="b"/>
              <a:pathLst>
                <a:path w="134" h="207">
                  <a:moveTo>
                    <a:pt x="81" y="0"/>
                  </a:moveTo>
                  <a:lnTo>
                    <a:pt x="134" y="18"/>
                  </a:lnTo>
                  <a:lnTo>
                    <a:pt x="124" y="38"/>
                  </a:lnTo>
                  <a:lnTo>
                    <a:pt x="55" y="199"/>
                  </a:lnTo>
                  <a:lnTo>
                    <a:pt x="52" y="207"/>
                  </a:lnTo>
                  <a:lnTo>
                    <a:pt x="0" y="181"/>
                  </a:lnTo>
                  <a:lnTo>
                    <a:pt x="15" y="47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2" name="Freeform 265"/>
            <p:cNvSpPr>
              <a:spLocks/>
            </p:cNvSpPr>
            <p:nvPr/>
          </p:nvSpPr>
          <p:spPr bwMode="auto">
            <a:xfrm>
              <a:off x="3401057" y="2360326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2"/>
                </a:cxn>
                <a:cxn ang="0">
                  <a:pos x="139" y="96"/>
                </a:cxn>
                <a:cxn ang="0">
                  <a:pos x="131" y="123"/>
                </a:cxn>
                <a:cxn ang="0">
                  <a:pos x="119" y="147"/>
                </a:cxn>
                <a:cxn ang="0">
                  <a:pos x="104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5"/>
                </a:cxn>
                <a:cxn ang="0">
                  <a:pos x="8" y="170"/>
                </a:cxn>
                <a:cxn ang="0">
                  <a:pos x="2" y="150"/>
                </a:cxn>
                <a:cxn ang="0">
                  <a:pos x="0" y="127"/>
                </a:cxn>
                <a:cxn ang="0">
                  <a:pos x="2" y="103"/>
                </a:cxn>
                <a:cxn ang="0">
                  <a:pos x="10" y="77"/>
                </a:cxn>
                <a:cxn ang="0">
                  <a:pos x="25" y="47"/>
                </a:cxn>
                <a:cxn ang="0">
                  <a:pos x="44" y="25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2"/>
                  </a:lnTo>
                  <a:lnTo>
                    <a:pt x="139" y="96"/>
                  </a:lnTo>
                  <a:lnTo>
                    <a:pt x="131" y="123"/>
                  </a:lnTo>
                  <a:lnTo>
                    <a:pt x="119" y="147"/>
                  </a:lnTo>
                  <a:lnTo>
                    <a:pt x="104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5"/>
                  </a:lnTo>
                  <a:lnTo>
                    <a:pt x="8" y="170"/>
                  </a:lnTo>
                  <a:lnTo>
                    <a:pt x="2" y="150"/>
                  </a:lnTo>
                  <a:lnTo>
                    <a:pt x="0" y="127"/>
                  </a:lnTo>
                  <a:lnTo>
                    <a:pt x="2" y="103"/>
                  </a:lnTo>
                  <a:lnTo>
                    <a:pt x="10" y="77"/>
                  </a:lnTo>
                  <a:lnTo>
                    <a:pt x="25" y="47"/>
                  </a:lnTo>
                  <a:lnTo>
                    <a:pt x="44" y="25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3" name="Freeform 266"/>
            <p:cNvSpPr>
              <a:spLocks/>
            </p:cNvSpPr>
            <p:nvPr/>
          </p:nvSpPr>
          <p:spPr bwMode="auto">
            <a:xfrm>
              <a:off x="3417426" y="2382606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7" y="0"/>
                </a:cxn>
                <a:cxn ang="0">
                  <a:pos x="67" y="8"/>
                </a:cxn>
                <a:cxn ang="0">
                  <a:pos x="73" y="25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9" y="82"/>
                </a:cxn>
                <a:cxn ang="0">
                  <a:pos x="46" y="96"/>
                </a:cxn>
                <a:cxn ang="0">
                  <a:pos x="31" y="103"/>
                </a:cxn>
                <a:cxn ang="0">
                  <a:pos x="18" y="103"/>
                </a:cxn>
                <a:cxn ang="0">
                  <a:pos x="8" y="96"/>
                </a:cxn>
                <a:cxn ang="0">
                  <a:pos x="3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5" y="39"/>
                </a:cxn>
                <a:cxn ang="0">
                  <a:pos x="15" y="21"/>
                </a:cxn>
                <a:cxn ang="0">
                  <a:pos x="29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7" y="0"/>
                  </a:lnTo>
                  <a:lnTo>
                    <a:pt x="67" y="8"/>
                  </a:lnTo>
                  <a:lnTo>
                    <a:pt x="73" y="25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9" y="82"/>
                  </a:lnTo>
                  <a:lnTo>
                    <a:pt x="46" y="96"/>
                  </a:lnTo>
                  <a:lnTo>
                    <a:pt x="31" y="103"/>
                  </a:lnTo>
                  <a:lnTo>
                    <a:pt x="18" y="103"/>
                  </a:lnTo>
                  <a:lnTo>
                    <a:pt x="8" y="96"/>
                  </a:lnTo>
                  <a:lnTo>
                    <a:pt x="3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5" y="39"/>
                  </a:lnTo>
                  <a:lnTo>
                    <a:pt x="15" y="21"/>
                  </a:lnTo>
                  <a:lnTo>
                    <a:pt x="29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4" name="Freeform 267"/>
            <p:cNvSpPr>
              <a:spLocks/>
            </p:cNvSpPr>
            <p:nvPr/>
          </p:nvSpPr>
          <p:spPr bwMode="auto">
            <a:xfrm>
              <a:off x="3418336" y="2383970"/>
              <a:ext cx="29555" cy="42286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50" y="2"/>
                </a:cxn>
                <a:cxn ang="0">
                  <a:pos x="60" y="9"/>
                </a:cxn>
                <a:cxn ang="0">
                  <a:pos x="65" y="22"/>
                </a:cxn>
                <a:cxn ang="0">
                  <a:pos x="65" y="40"/>
                </a:cxn>
                <a:cxn ang="0">
                  <a:pos x="60" y="57"/>
                </a:cxn>
                <a:cxn ang="0">
                  <a:pos x="52" y="75"/>
                </a:cxn>
                <a:cxn ang="0">
                  <a:pos x="40" y="87"/>
                </a:cxn>
                <a:cxn ang="0">
                  <a:pos x="27" y="93"/>
                </a:cxn>
                <a:cxn ang="0">
                  <a:pos x="14" y="93"/>
                </a:cxn>
                <a:cxn ang="0">
                  <a:pos x="4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4" y="20"/>
                </a:cxn>
                <a:cxn ang="0">
                  <a:pos x="26" y="7"/>
                </a:cxn>
                <a:cxn ang="0">
                  <a:pos x="37" y="0"/>
                </a:cxn>
              </a:cxnLst>
              <a:rect l="0" t="0" r="r" b="b"/>
              <a:pathLst>
                <a:path w="65" h="93">
                  <a:moveTo>
                    <a:pt x="37" y="0"/>
                  </a:moveTo>
                  <a:lnTo>
                    <a:pt x="50" y="2"/>
                  </a:lnTo>
                  <a:lnTo>
                    <a:pt x="60" y="9"/>
                  </a:lnTo>
                  <a:lnTo>
                    <a:pt x="65" y="22"/>
                  </a:lnTo>
                  <a:lnTo>
                    <a:pt x="65" y="40"/>
                  </a:lnTo>
                  <a:lnTo>
                    <a:pt x="60" y="57"/>
                  </a:lnTo>
                  <a:lnTo>
                    <a:pt x="52" y="75"/>
                  </a:lnTo>
                  <a:lnTo>
                    <a:pt x="40" y="87"/>
                  </a:lnTo>
                  <a:lnTo>
                    <a:pt x="27" y="93"/>
                  </a:lnTo>
                  <a:lnTo>
                    <a:pt x="14" y="93"/>
                  </a:lnTo>
                  <a:lnTo>
                    <a:pt x="4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4" y="36"/>
                  </a:lnTo>
                  <a:lnTo>
                    <a:pt x="14" y="20"/>
                  </a:lnTo>
                  <a:lnTo>
                    <a:pt x="26" y="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5" name="Freeform 268"/>
            <p:cNvSpPr>
              <a:spLocks/>
            </p:cNvSpPr>
            <p:nvPr/>
          </p:nvSpPr>
          <p:spPr bwMode="auto">
            <a:xfrm>
              <a:off x="3162344" y="2464905"/>
              <a:ext cx="64566" cy="9002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107" y="4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2" y="70"/>
                </a:cxn>
                <a:cxn ang="0">
                  <a:pos x="138" y="95"/>
                </a:cxn>
                <a:cxn ang="0">
                  <a:pos x="130" y="121"/>
                </a:cxn>
                <a:cxn ang="0">
                  <a:pos x="119" y="146"/>
                </a:cxn>
                <a:cxn ang="0">
                  <a:pos x="104" y="167"/>
                </a:cxn>
                <a:cxn ang="0">
                  <a:pos x="86" y="183"/>
                </a:cxn>
                <a:cxn ang="0">
                  <a:pos x="70" y="193"/>
                </a:cxn>
                <a:cxn ang="0">
                  <a:pos x="50" y="198"/>
                </a:cxn>
                <a:cxn ang="0">
                  <a:pos x="34" y="194"/>
                </a:cxn>
                <a:cxn ang="0">
                  <a:pos x="19" y="185"/>
                </a:cxn>
                <a:cxn ang="0">
                  <a:pos x="8" y="170"/>
                </a:cxn>
                <a:cxn ang="0">
                  <a:pos x="1" y="149"/>
                </a:cxn>
                <a:cxn ang="0">
                  <a:pos x="0" y="126"/>
                </a:cxn>
                <a:cxn ang="0">
                  <a:pos x="1" y="101"/>
                </a:cxn>
                <a:cxn ang="0">
                  <a:pos x="10" y="75"/>
                </a:cxn>
                <a:cxn ang="0">
                  <a:pos x="24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6" y="0"/>
                </a:cxn>
              </a:cxnLst>
              <a:rect l="0" t="0" r="r" b="b"/>
              <a:pathLst>
                <a:path w="142" h="198">
                  <a:moveTo>
                    <a:pt x="86" y="0"/>
                  </a:moveTo>
                  <a:lnTo>
                    <a:pt x="107" y="4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2" y="70"/>
                  </a:lnTo>
                  <a:lnTo>
                    <a:pt x="138" y="95"/>
                  </a:lnTo>
                  <a:lnTo>
                    <a:pt x="130" y="121"/>
                  </a:lnTo>
                  <a:lnTo>
                    <a:pt x="119" y="146"/>
                  </a:lnTo>
                  <a:lnTo>
                    <a:pt x="104" y="167"/>
                  </a:lnTo>
                  <a:lnTo>
                    <a:pt x="86" y="183"/>
                  </a:lnTo>
                  <a:lnTo>
                    <a:pt x="70" y="193"/>
                  </a:lnTo>
                  <a:lnTo>
                    <a:pt x="50" y="198"/>
                  </a:lnTo>
                  <a:lnTo>
                    <a:pt x="34" y="194"/>
                  </a:lnTo>
                  <a:lnTo>
                    <a:pt x="19" y="185"/>
                  </a:lnTo>
                  <a:lnTo>
                    <a:pt x="8" y="170"/>
                  </a:lnTo>
                  <a:lnTo>
                    <a:pt x="1" y="149"/>
                  </a:lnTo>
                  <a:lnTo>
                    <a:pt x="0" y="126"/>
                  </a:lnTo>
                  <a:lnTo>
                    <a:pt x="1" y="101"/>
                  </a:lnTo>
                  <a:lnTo>
                    <a:pt x="10" y="75"/>
                  </a:lnTo>
                  <a:lnTo>
                    <a:pt x="24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6" name="Freeform 269"/>
            <p:cNvSpPr>
              <a:spLocks/>
            </p:cNvSpPr>
            <p:nvPr/>
          </p:nvSpPr>
          <p:spPr bwMode="auto">
            <a:xfrm>
              <a:off x="3176894" y="2470816"/>
              <a:ext cx="59564" cy="93666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31" y="18"/>
                </a:cxn>
                <a:cxn ang="0">
                  <a:pos x="123" y="38"/>
                </a:cxn>
                <a:cxn ang="0">
                  <a:pos x="56" y="198"/>
                </a:cxn>
                <a:cxn ang="0">
                  <a:pos x="51" y="206"/>
                </a:cxn>
                <a:cxn ang="0">
                  <a:pos x="0" y="180"/>
                </a:cxn>
                <a:cxn ang="0">
                  <a:pos x="15" y="48"/>
                </a:cxn>
                <a:cxn ang="0">
                  <a:pos x="82" y="0"/>
                </a:cxn>
              </a:cxnLst>
              <a:rect l="0" t="0" r="r" b="b"/>
              <a:pathLst>
                <a:path w="131" h="206">
                  <a:moveTo>
                    <a:pt x="82" y="0"/>
                  </a:moveTo>
                  <a:lnTo>
                    <a:pt x="131" y="18"/>
                  </a:lnTo>
                  <a:lnTo>
                    <a:pt x="123" y="38"/>
                  </a:lnTo>
                  <a:lnTo>
                    <a:pt x="56" y="198"/>
                  </a:lnTo>
                  <a:lnTo>
                    <a:pt x="51" y="206"/>
                  </a:lnTo>
                  <a:lnTo>
                    <a:pt x="0" y="180"/>
                  </a:lnTo>
                  <a:lnTo>
                    <a:pt x="15" y="48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7" name="Freeform 270"/>
            <p:cNvSpPr>
              <a:spLocks/>
            </p:cNvSpPr>
            <p:nvPr/>
          </p:nvSpPr>
          <p:spPr bwMode="auto">
            <a:xfrm>
              <a:off x="3186897" y="2476727"/>
              <a:ext cx="63657" cy="9002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06" y="4"/>
                </a:cxn>
                <a:cxn ang="0">
                  <a:pos x="120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0" y="71"/>
                </a:cxn>
                <a:cxn ang="0">
                  <a:pos x="138" y="97"/>
                </a:cxn>
                <a:cxn ang="0">
                  <a:pos x="130" y="123"/>
                </a:cxn>
                <a:cxn ang="0">
                  <a:pos x="115" y="152"/>
                </a:cxn>
                <a:cxn ang="0">
                  <a:pos x="96" y="175"/>
                </a:cxn>
                <a:cxn ang="0">
                  <a:pos x="75" y="190"/>
                </a:cxn>
                <a:cxn ang="0">
                  <a:pos x="53" y="198"/>
                </a:cxn>
                <a:cxn ang="0">
                  <a:pos x="32" y="195"/>
                </a:cxn>
                <a:cxn ang="0">
                  <a:pos x="18" y="185"/>
                </a:cxn>
                <a:cxn ang="0">
                  <a:pos x="8" y="170"/>
                </a:cxn>
                <a:cxn ang="0">
                  <a:pos x="1" y="151"/>
                </a:cxn>
                <a:cxn ang="0">
                  <a:pos x="0" y="128"/>
                </a:cxn>
                <a:cxn ang="0">
                  <a:pos x="1" y="102"/>
                </a:cxn>
                <a:cxn ang="0">
                  <a:pos x="9" y="75"/>
                </a:cxn>
                <a:cxn ang="0">
                  <a:pos x="21" y="51"/>
                </a:cxn>
                <a:cxn ang="0">
                  <a:pos x="36" y="31"/>
                </a:cxn>
                <a:cxn ang="0">
                  <a:pos x="52" y="15"/>
                </a:cxn>
                <a:cxn ang="0">
                  <a:pos x="70" y="5"/>
                </a:cxn>
                <a:cxn ang="0">
                  <a:pos x="89" y="0"/>
                </a:cxn>
              </a:cxnLst>
              <a:rect l="0" t="0" r="r" b="b"/>
              <a:pathLst>
                <a:path w="140" h="198">
                  <a:moveTo>
                    <a:pt x="89" y="0"/>
                  </a:moveTo>
                  <a:lnTo>
                    <a:pt x="106" y="4"/>
                  </a:lnTo>
                  <a:lnTo>
                    <a:pt x="120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0" y="71"/>
                  </a:lnTo>
                  <a:lnTo>
                    <a:pt x="138" y="97"/>
                  </a:lnTo>
                  <a:lnTo>
                    <a:pt x="130" y="123"/>
                  </a:lnTo>
                  <a:lnTo>
                    <a:pt x="115" y="152"/>
                  </a:lnTo>
                  <a:lnTo>
                    <a:pt x="96" y="175"/>
                  </a:lnTo>
                  <a:lnTo>
                    <a:pt x="75" y="190"/>
                  </a:lnTo>
                  <a:lnTo>
                    <a:pt x="53" y="198"/>
                  </a:lnTo>
                  <a:lnTo>
                    <a:pt x="32" y="195"/>
                  </a:lnTo>
                  <a:lnTo>
                    <a:pt x="18" y="185"/>
                  </a:lnTo>
                  <a:lnTo>
                    <a:pt x="8" y="170"/>
                  </a:lnTo>
                  <a:lnTo>
                    <a:pt x="1" y="151"/>
                  </a:lnTo>
                  <a:lnTo>
                    <a:pt x="0" y="128"/>
                  </a:lnTo>
                  <a:lnTo>
                    <a:pt x="1" y="102"/>
                  </a:lnTo>
                  <a:lnTo>
                    <a:pt x="9" y="75"/>
                  </a:lnTo>
                  <a:lnTo>
                    <a:pt x="21" y="51"/>
                  </a:lnTo>
                  <a:lnTo>
                    <a:pt x="36" y="31"/>
                  </a:lnTo>
                  <a:lnTo>
                    <a:pt x="52" y="15"/>
                  </a:lnTo>
                  <a:lnTo>
                    <a:pt x="70" y="5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8" name="Freeform 271"/>
            <p:cNvSpPr>
              <a:spLocks/>
            </p:cNvSpPr>
            <p:nvPr/>
          </p:nvSpPr>
          <p:spPr bwMode="auto">
            <a:xfrm>
              <a:off x="3203266" y="2499007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5" y="0"/>
                </a:cxn>
                <a:cxn ang="0">
                  <a:pos x="66" y="9"/>
                </a:cxn>
                <a:cxn ang="0">
                  <a:pos x="71" y="23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8" y="82"/>
                </a:cxn>
                <a:cxn ang="0">
                  <a:pos x="44" y="97"/>
                </a:cxn>
                <a:cxn ang="0">
                  <a:pos x="31" y="103"/>
                </a:cxn>
                <a:cxn ang="0">
                  <a:pos x="16" y="103"/>
                </a:cxn>
                <a:cxn ang="0">
                  <a:pos x="6" y="95"/>
                </a:cxn>
                <a:cxn ang="0">
                  <a:pos x="0" y="79"/>
                </a:cxn>
                <a:cxn ang="0">
                  <a:pos x="0" y="61"/>
                </a:cxn>
                <a:cxn ang="0">
                  <a:pos x="4" y="40"/>
                </a:cxn>
                <a:cxn ang="0">
                  <a:pos x="14" y="22"/>
                </a:cxn>
                <a:cxn ang="0">
                  <a:pos x="27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5" y="0"/>
                  </a:lnTo>
                  <a:lnTo>
                    <a:pt x="66" y="9"/>
                  </a:lnTo>
                  <a:lnTo>
                    <a:pt x="71" y="23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8" y="82"/>
                  </a:lnTo>
                  <a:lnTo>
                    <a:pt x="44" y="97"/>
                  </a:lnTo>
                  <a:lnTo>
                    <a:pt x="31" y="103"/>
                  </a:lnTo>
                  <a:lnTo>
                    <a:pt x="16" y="103"/>
                  </a:lnTo>
                  <a:lnTo>
                    <a:pt x="6" y="95"/>
                  </a:lnTo>
                  <a:lnTo>
                    <a:pt x="0" y="79"/>
                  </a:lnTo>
                  <a:lnTo>
                    <a:pt x="0" y="61"/>
                  </a:lnTo>
                  <a:lnTo>
                    <a:pt x="4" y="40"/>
                  </a:lnTo>
                  <a:lnTo>
                    <a:pt x="14" y="22"/>
                  </a:lnTo>
                  <a:lnTo>
                    <a:pt x="27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9" name="Freeform 272"/>
            <p:cNvSpPr>
              <a:spLocks/>
            </p:cNvSpPr>
            <p:nvPr/>
          </p:nvSpPr>
          <p:spPr bwMode="auto">
            <a:xfrm>
              <a:off x="3203266" y="2500826"/>
              <a:ext cx="30010" cy="42286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0" y="0"/>
                </a:cxn>
                <a:cxn ang="0">
                  <a:pos x="60" y="8"/>
                </a:cxn>
                <a:cxn ang="0">
                  <a:pos x="65" y="21"/>
                </a:cxn>
                <a:cxn ang="0">
                  <a:pos x="66" y="37"/>
                </a:cxn>
                <a:cxn ang="0">
                  <a:pos x="62" y="57"/>
                </a:cxn>
                <a:cxn ang="0">
                  <a:pos x="52" y="73"/>
                </a:cxn>
                <a:cxn ang="0">
                  <a:pos x="40" y="86"/>
                </a:cxn>
                <a:cxn ang="0">
                  <a:pos x="27" y="93"/>
                </a:cxn>
                <a:cxn ang="0">
                  <a:pos x="16" y="91"/>
                </a:cxn>
                <a:cxn ang="0">
                  <a:pos x="6" y="84"/>
                </a:cxn>
                <a:cxn ang="0">
                  <a:pos x="0" y="70"/>
                </a:cxn>
                <a:cxn ang="0">
                  <a:pos x="0" y="53"/>
                </a:cxn>
                <a:cxn ang="0">
                  <a:pos x="4" y="36"/>
                </a:cxn>
                <a:cxn ang="0">
                  <a:pos x="14" y="18"/>
                </a:cxn>
                <a:cxn ang="0">
                  <a:pos x="26" y="6"/>
                </a:cxn>
                <a:cxn ang="0">
                  <a:pos x="39" y="0"/>
                </a:cxn>
              </a:cxnLst>
              <a:rect l="0" t="0" r="r" b="b"/>
              <a:pathLst>
                <a:path w="66" h="93">
                  <a:moveTo>
                    <a:pt x="39" y="0"/>
                  </a:moveTo>
                  <a:lnTo>
                    <a:pt x="50" y="0"/>
                  </a:lnTo>
                  <a:lnTo>
                    <a:pt x="60" y="8"/>
                  </a:lnTo>
                  <a:lnTo>
                    <a:pt x="65" y="21"/>
                  </a:lnTo>
                  <a:lnTo>
                    <a:pt x="66" y="37"/>
                  </a:lnTo>
                  <a:lnTo>
                    <a:pt x="62" y="57"/>
                  </a:lnTo>
                  <a:lnTo>
                    <a:pt x="52" y="73"/>
                  </a:lnTo>
                  <a:lnTo>
                    <a:pt x="40" y="86"/>
                  </a:lnTo>
                  <a:lnTo>
                    <a:pt x="27" y="93"/>
                  </a:lnTo>
                  <a:lnTo>
                    <a:pt x="16" y="91"/>
                  </a:lnTo>
                  <a:lnTo>
                    <a:pt x="6" y="84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4" y="18"/>
                  </a:lnTo>
                  <a:lnTo>
                    <a:pt x="26" y="6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0" name="Freeform 273"/>
            <p:cNvSpPr>
              <a:spLocks/>
            </p:cNvSpPr>
            <p:nvPr/>
          </p:nvSpPr>
          <p:spPr bwMode="auto">
            <a:xfrm>
              <a:off x="2923631" y="2232103"/>
              <a:ext cx="566546" cy="359661"/>
            </a:xfrm>
            <a:custGeom>
              <a:avLst/>
              <a:gdLst/>
              <a:ahLst/>
              <a:cxnLst>
                <a:cxn ang="0">
                  <a:pos x="969" y="1"/>
                </a:cxn>
                <a:cxn ang="0">
                  <a:pos x="985" y="5"/>
                </a:cxn>
                <a:cxn ang="0">
                  <a:pos x="1221" y="111"/>
                </a:cxn>
                <a:cxn ang="0">
                  <a:pos x="1241" y="145"/>
                </a:cxn>
                <a:cxn ang="0">
                  <a:pos x="1246" y="174"/>
                </a:cxn>
                <a:cxn ang="0">
                  <a:pos x="1244" y="248"/>
                </a:cxn>
                <a:cxn ang="0">
                  <a:pos x="1243" y="263"/>
                </a:cxn>
                <a:cxn ang="0">
                  <a:pos x="1233" y="302"/>
                </a:cxn>
                <a:cxn ang="0">
                  <a:pos x="1202" y="352"/>
                </a:cxn>
                <a:cxn ang="0">
                  <a:pos x="1190" y="307"/>
                </a:cxn>
                <a:cxn ang="0">
                  <a:pos x="1161" y="281"/>
                </a:cxn>
                <a:cxn ang="0">
                  <a:pos x="1120" y="281"/>
                </a:cxn>
                <a:cxn ang="0">
                  <a:pos x="1081" y="310"/>
                </a:cxn>
                <a:cxn ang="0">
                  <a:pos x="1050" y="359"/>
                </a:cxn>
                <a:cxn ang="0">
                  <a:pos x="1040" y="424"/>
                </a:cxn>
                <a:cxn ang="0">
                  <a:pos x="724" y="641"/>
                </a:cxn>
                <a:cxn ang="0">
                  <a:pos x="725" y="586"/>
                </a:cxn>
                <a:cxn ang="0">
                  <a:pos x="704" y="545"/>
                </a:cxn>
                <a:cxn ang="0">
                  <a:pos x="667" y="530"/>
                </a:cxn>
                <a:cxn ang="0">
                  <a:pos x="624" y="545"/>
                </a:cxn>
                <a:cxn ang="0">
                  <a:pos x="590" y="584"/>
                </a:cxn>
                <a:cxn ang="0">
                  <a:pos x="569" y="640"/>
                </a:cxn>
                <a:cxn ang="0">
                  <a:pos x="567" y="690"/>
                </a:cxn>
                <a:cxn ang="0">
                  <a:pos x="577" y="718"/>
                </a:cxn>
                <a:cxn ang="0">
                  <a:pos x="497" y="775"/>
                </a:cxn>
                <a:cxn ang="0">
                  <a:pos x="445" y="791"/>
                </a:cxn>
                <a:cxn ang="0">
                  <a:pos x="409" y="790"/>
                </a:cxn>
                <a:cxn ang="0">
                  <a:pos x="391" y="785"/>
                </a:cxn>
                <a:cxn ang="0">
                  <a:pos x="42" y="594"/>
                </a:cxn>
                <a:cxn ang="0">
                  <a:pos x="14" y="564"/>
                </a:cxn>
                <a:cxn ang="0">
                  <a:pos x="3" y="520"/>
                </a:cxn>
                <a:cxn ang="0">
                  <a:pos x="0" y="465"/>
                </a:cxn>
                <a:cxn ang="0">
                  <a:pos x="13" y="416"/>
                </a:cxn>
                <a:cxn ang="0">
                  <a:pos x="40" y="377"/>
                </a:cxn>
                <a:cxn ang="0">
                  <a:pos x="68" y="352"/>
                </a:cxn>
                <a:cxn ang="0">
                  <a:pos x="81" y="343"/>
                </a:cxn>
                <a:cxn ang="0">
                  <a:pos x="900" y="6"/>
                </a:cxn>
                <a:cxn ang="0">
                  <a:pos x="951" y="0"/>
                </a:cxn>
              </a:cxnLst>
              <a:rect l="0" t="0" r="r" b="b"/>
              <a:pathLst>
                <a:path w="1246" h="791">
                  <a:moveTo>
                    <a:pt x="951" y="0"/>
                  </a:moveTo>
                  <a:lnTo>
                    <a:pt x="969" y="1"/>
                  </a:lnTo>
                  <a:lnTo>
                    <a:pt x="980" y="3"/>
                  </a:lnTo>
                  <a:lnTo>
                    <a:pt x="985" y="5"/>
                  </a:lnTo>
                  <a:lnTo>
                    <a:pt x="1203" y="98"/>
                  </a:lnTo>
                  <a:lnTo>
                    <a:pt x="1221" y="111"/>
                  </a:lnTo>
                  <a:lnTo>
                    <a:pt x="1233" y="127"/>
                  </a:lnTo>
                  <a:lnTo>
                    <a:pt x="1241" y="145"/>
                  </a:lnTo>
                  <a:lnTo>
                    <a:pt x="1244" y="161"/>
                  </a:lnTo>
                  <a:lnTo>
                    <a:pt x="1246" y="174"/>
                  </a:lnTo>
                  <a:lnTo>
                    <a:pt x="1246" y="187"/>
                  </a:lnTo>
                  <a:lnTo>
                    <a:pt x="1244" y="248"/>
                  </a:lnTo>
                  <a:lnTo>
                    <a:pt x="1244" y="253"/>
                  </a:lnTo>
                  <a:lnTo>
                    <a:pt x="1243" y="263"/>
                  </a:lnTo>
                  <a:lnTo>
                    <a:pt x="1241" y="281"/>
                  </a:lnTo>
                  <a:lnTo>
                    <a:pt x="1233" y="302"/>
                  </a:lnTo>
                  <a:lnTo>
                    <a:pt x="1221" y="326"/>
                  </a:lnTo>
                  <a:lnTo>
                    <a:pt x="1202" y="352"/>
                  </a:lnTo>
                  <a:lnTo>
                    <a:pt x="1199" y="328"/>
                  </a:lnTo>
                  <a:lnTo>
                    <a:pt x="1190" y="307"/>
                  </a:lnTo>
                  <a:lnTo>
                    <a:pt x="1177" y="290"/>
                  </a:lnTo>
                  <a:lnTo>
                    <a:pt x="1161" y="281"/>
                  </a:lnTo>
                  <a:lnTo>
                    <a:pt x="1141" y="277"/>
                  </a:lnTo>
                  <a:lnTo>
                    <a:pt x="1120" y="281"/>
                  </a:lnTo>
                  <a:lnTo>
                    <a:pt x="1099" y="292"/>
                  </a:lnTo>
                  <a:lnTo>
                    <a:pt x="1081" y="310"/>
                  </a:lnTo>
                  <a:lnTo>
                    <a:pt x="1063" y="331"/>
                  </a:lnTo>
                  <a:lnTo>
                    <a:pt x="1050" y="359"/>
                  </a:lnTo>
                  <a:lnTo>
                    <a:pt x="1042" y="391"/>
                  </a:lnTo>
                  <a:lnTo>
                    <a:pt x="1040" y="424"/>
                  </a:lnTo>
                  <a:lnTo>
                    <a:pt x="1045" y="452"/>
                  </a:lnTo>
                  <a:lnTo>
                    <a:pt x="724" y="641"/>
                  </a:lnTo>
                  <a:lnTo>
                    <a:pt x="727" y="612"/>
                  </a:lnTo>
                  <a:lnTo>
                    <a:pt x="725" y="586"/>
                  </a:lnTo>
                  <a:lnTo>
                    <a:pt x="717" y="563"/>
                  </a:lnTo>
                  <a:lnTo>
                    <a:pt x="704" y="545"/>
                  </a:lnTo>
                  <a:lnTo>
                    <a:pt x="686" y="533"/>
                  </a:lnTo>
                  <a:lnTo>
                    <a:pt x="667" y="530"/>
                  </a:lnTo>
                  <a:lnTo>
                    <a:pt x="646" y="533"/>
                  </a:lnTo>
                  <a:lnTo>
                    <a:pt x="624" y="545"/>
                  </a:lnTo>
                  <a:lnTo>
                    <a:pt x="606" y="563"/>
                  </a:lnTo>
                  <a:lnTo>
                    <a:pt x="590" y="584"/>
                  </a:lnTo>
                  <a:lnTo>
                    <a:pt x="577" y="612"/>
                  </a:lnTo>
                  <a:lnTo>
                    <a:pt x="569" y="640"/>
                  </a:lnTo>
                  <a:lnTo>
                    <a:pt x="566" y="666"/>
                  </a:lnTo>
                  <a:lnTo>
                    <a:pt x="567" y="690"/>
                  </a:lnTo>
                  <a:lnTo>
                    <a:pt x="574" y="711"/>
                  </a:lnTo>
                  <a:lnTo>
                    <a:pt x="577" y="718"/>
                  </a:lnTo>
                  <a:lnTo>
                    <a:pt x="582" y="724"/>
                  </a:lnTo>
                  <a:lnTo>
                    <a:pt x="497" y="775"/>
                  </a:lnTo>
                  <a:lnTo>
                    <a:pt x="469" y="786"/>
                  </a:lnTo>
                  <a:lnTo>
                    <a:pt x="445" y="791"/>
                  </a:lnTo>
                  <a:lnTo>
                    <a:pt x="425" y="791"/>
                  </a:lnTo>
                  <a:lnTo>
                    <a:pt x="409" y="790"/>
                  </a:lnTo>
                  <a:lnTo>
                    <a:pt x="399" y="788"/>
                  </a:lnTo>
                  <a:lnTo>
                    <a:pt x="391" y="785"/>
                  </a:lnTo>
                  <a:lnTo>
                    <a:pt x="389" y="783"/>
                  </a:lnTo>
                  <a:lnTo>
                    <a:pt x="42" y="594"/>
                  </a:lnTo>
                  <a:lnTo>
                    <a:pt x="26" y="582"/>
                  </a:lnTo>
                  <a:lnTo>
                    <a:pt x="14" y="564"/>
                  </a:lnTo>
                  <a:lnTo>
                    <a:pt x="8" y="543"/>
                  </a:lnTo>
                  <a:lnTo>
                    <a:pt x="3" y="520"/>
                  </a:lnTo>
                  <a:lnTo>
                    <a:pt x="0" y="499"/>
                  </a:lnTo>
                  <a:lnTo>
                    <a:pt x="0" y="465"/>
                  </a:lnTo>
                  <a:lnTo>
                    <a:pt x="3" y="439"/>
                  </a:lnTo>
                  <a:lnTo>
                    <a:pt x="13" y="416"/>
                  </a:lnTo>
                  <a:lnTo>
                    <a:pt x="26" y="395"/>
                  </a:lnTo>
                  <a:lnTo>
                    <a:pt x="40" y="377"/>
                  </a:lnTo>
                  <a:lnTo>
                    <a:pt x="55" y="362"/>
                  </a:lnTo>
                  <a:lnTo>
                    <a:pt x="68" y="352"/>
                  </a:lnTo>
                  <a:lnTo>
                    <a:pt x="78" y="344"/>
                  </a:lnTo>
                  <a:lnTo>
                    <a:pt x="81" y="343"/>
                  </a:lnTo>
                  <a:lnTo>
                    <a:pt x="783" y="24"/>
                  </a:lnTo>
                  <a:lnTo>
                    <a:pt x="900" y="6"/>
                  </a:lnTo>
                  <a:lnTo>
                    <a:pt x="928" y="1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1" name="Freeform 274"/>
            <p:cNvSpPr>
              <a:spLocks/>
            </p:cNvSpPr>
            <p:nvPr/>
          </p:nvSpPr>
          <p:spPr bwMode="auto">
            <a:xfrm>
              <a:off x="2932270" y="2400339"/>
              <a:ext cx="33647" cy="5501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4" y="4"/>
                </a:cxn>
                <a:cxn ang="0">
                  <a:pos x="59" y="15"/>
                </a:cxn>
                <a:cxn ang="0">
                  <a:pos x="69" y="35"/>
                </a:cxn>
                <a:cxn ang="0">
                  <a:pos x="74" y="57"/>
                </a:cxn>
                <a:cxn ang="0">
                  <a:pos x="74" y="80"/>
                </a:cxn>
                <a:cxn ang="0">
                  <a:pos x="67" y="100"/>
                </a:cxn>
                <a:cxn ang="0">
                  <a:pos x="56" y="115"/>
                </a:cxn>
                <a:cxn ang="0">
                  <a:pos x="43" y="121"/>
                </a:cxn>
                <a:cxn ang="0">
                  <a:pos x="28" y="118"/>
                </a:cxn>
                <a:cxn ang="0">
                  <a:pos x="15" y="106"/>
                </a:cxn>
                <a:cxn ang="0">
                  <a:pos x="5" y="87"/>
                </a:cxn>
                <a:cxn ang="0">
                  <a:pos x="0" y="64"/>
                </a:cxn>
                <a:cxn ang="0">
                  <a:pos x="0" y="41"/>
                </a:cxn>
                <a:cxn ang="0">
                  <a:pos x="7" y="20"/>
                </a:cxn>
                <a:cxn ang="0">
                  <a:pos x="16" y="7"/>
                </a:cxn>
                <a:cxn ang="0">
                  <a:pos x="29" y="0"/>
                </a:cxn>
              </a:cxnLst>
              <a:rect l="0" t="0" r="r" b="b"/>
              <a:pathLst>
                <a:path w="74" h="121">
                  <a:moveTo>
                    <a:pt x="29" y="0"/>
                  </a:moveTo>
                  <a:lnTo>
                    <a:pt x="44" y="4"/>
                  </a:lnTo>
                  <a:lnTo>
                    <a:pt x="59" y="15"/>
                  </a:lnTo>
                  <a:lnTo>
                    <a:pt x="69" y="35"/>
                  </a:lnTo>
                  <a:lnTo>
                    <a:pt x="74" y="57"/>
                  </a:lnTo>
                  <a:lnTo>
                    <a:pt x="74" y="80"/>
                  </a:lnTo>
                  <a:lnTo>
                    <a:pt x="67" y="100"/>
                  </a:lnTo>
                  <a:lnTo>
                    <a:pt x="56" y="115"/>
                  </a:lnTo>
                  <a:lnTo>
                    <a:pt x="43" y="121"/>
                  </a:lnTo>
                  <a:lnTo>
                    <a:pt x="28" y="118"/>
                  </a:lnTo>
                  <a:lnTo>
                    <a:pt x="15" y="106"/>
                  </a:lnTo>
                  <a:lnTo>
                    <a:pt x="5" y="87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7" y="20"/>
                  </a:lnTo>
                  <a:lnTo>
                    <a:pt x="16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2" name="Freeform 275"/>
            <p:cNvSpPr>
              <a:spLocks/>
            </p:cNvSpPr>
            <p:nvPr/>
          </p:nvSpPr>
          <p:spPr bwMode="auto">
            <a:xfrm>
              <a:off x="3086411" y="2488549"/>
              <a:ext cx="46833" cy="4910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74" y="0"/>
                </a:cxn>
                <a:cxn ang="0">
                  <a:pos x="89" y="5"/>
                </a:cxn>
                <a:cxn ang="0">
                  <a:pos x="98" y="15"/>
                </a:cxn>
                <a:cxn ang="0">
                  <a:pos x="103" y="28"/>
                </a:cxn>
                <a:cxn ang="0">
                  <a:pos x="103" y="45"/>
                </a:cxn>
                <a:cxn ang="0">
                  <a:pos x="98" y="61"/>
                </a:cxn>
                <a:cxn ang="0">
                  <a:pos x="89" y="77"/>
                </a:cxn>
                <a:cxn ang="0">
                  <a:pos x="71" y="95"/>
                </a:cxn>
                <a:cxn ang="0">
                  <a:pos x="51" y="105"/>
                </a:cxn>
                <a:cxn ang="0">
                  <a:pos x="33" y="108"/>
                </a:cxn>
                <a:cxn ang="0">
                  <a:pos x="15" y="103"/>
                </a:cxn>
                <a:cxn ang="0">
                  <a:pos x="5" y="94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5" y="48"/>
                </a:cxn>
                <a:cxn ang="0">
                  <a:pos x="15" y="32"/>
                </a:cxn>
                <a:cxn ang="0">
                  <a:pos x="28" y="17"/>
                </a:cxn>
                <a:cxn ang="0">
                  <a:pos x="43" y="7"/>
                </a:cxn>
                <a:cxn ang="0">
                  <a:pos x="59" y="0"/>
                </a:cxn>
              </a:cxnLst>
              <a:rect l="0" t="0" r="r" b="b"/>
              <a:pathLst>
                <a:path w="103" h="108">
                  <a:moveTo>
                    <a:pt x="59" y="0"/>
                  </a:moveTo>
                  <a:lnTo>
                    <a:pt x="74" y="0"/>
                  </a:lnTo>
                  <a:lnTo>
                    <a:pt x="89" y="5"/>
                  </a:lnTo>
                  <a:lnTo>
                    <a:pt x="98" y="15"/>
                  </a:lnTo>
                  <a:lnTo>
                    <a:pt x="103" y="28"/>
                  </a:lnTo>
                  <a:lnTo>
                    <a:pt x="103" y="45"/>
                  </a:lnTo>
                  <a:lnTo>
                    <a:pt x="98" y="61"/>
                  </a:lnTo>
                  <a:lnTo>
                    <a:pt x="89" y="77"/>
                  </a:lnTo>
                  <a:lnTo>
                    <a:pt x="71" y="95"/>
                  </a:lnTo>
                  <a:lnTo>
                    <a:pt x="51" y="105"/>
                  </a:lnTo>
                  <a:lnTo>
                    <a:pt x="33" y="108"/>
                  </a:lnTo>
                  <a:lnTo>
                    <a:pt x="15" y="103"/>
                  </a:lnTo>
                  <a:lnTo>
                    <a:pt x="5" y="94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5" y="48"/>
                  </a:lnTo>
                  <a:lnTo>
                    <a:pt x="15" y="32"/>
                  </a:lnTo>
                  <a:lnTo>
                    <a:pt x="28" y="17"/>
                  </a:lnTo>
                  <a:lnTo>
                    <a:pt x="43" y="7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3" name="Freeform 276"/>
            <p:cNvSpPr>
              <a:spLocks/>
            </p:cNvSpPr>
            <p:nvPr/>
          </p:nvSpPr>
          <p:spPr bwMode="auto">
            <a:xfrm>
              <a:off x="3055492" y="2232103"/>
              <a:ext cx="376030" cy="190061"/>
            </a:xfrm>
            <a:custGeom>
              <a:avLst/>
              <a:gdLst/>
              <a:ahLst/>
              <a:cxnLst>
                <a:cxn ang="0">
                  <a:pos x="457" y="0"/>
                </a:cxn>
                <a:cxn ang="0">
                  <a:pos x="571" y="18"/>
                </a:cxn>
                <a:cxn ang="0">
                  <a:pos x="603" y="24"/>
                </a:cxn>
                <a:cxn ang="0">
                  <a:pos x="636" y="34"/>
                </a:cxn>
                <a:cxn ang="0">
                  <a:pos x="667" y="45"/>
                </a:cxn>
                <a:cxn ang="0">
                  <a:pos x="696" y="60"/>
                </a:cxn>
                <a:cxn ang="0">
                  <a:pos x="724" y="75"/>
                </a:cxn>
                <a:cxn ang="0">
                  <a:pos x="750" y="90"/>
                </a:cxn>
                <a:cxn ang="0">
                  <a:pos x="771" y="104"/>
                </a:cxn>
                <a:cxn ang="0">
                  <a:pos x="789" y="116"/>
                </a:cxn>
                <a:cxn ang="0">
                  <a:pos x="804" y="127"/>
                </a:cxn>
                <a:cxn ang="0">
                  <a:pos x="812" y="134"/>
                </a:cxn>
                <a:cxn ang="0">
                  <a:pos x="816" y="135"/>
                </a:cxn>
                <a:cxn ang="0">
                  <a:pos x="825" y="153"/>
                </a:cxn>
                <a:cxn ang="0">
                  <a:pos x="827" y="170"/>
                </a:cxn>
                <a:cxn ang="0">
                  <a:pos x="822" y="184"/>
                </a:cxn>
                <a:cxn ang="0">
                  <a:pos x="814" y="197"/>
                </a:cxn>
                <a:cxn ang="0">
                  <a:pos x="802" y="209"/>
                </a:cxn>
                <a:cxn ang="0">
                  <a:pos x="793" y="217"/>
                </a:cxn>
                <a:cxn ang="0">
                  <a:pos x="786" y="222"/>
                </a:cxn>
                <a:cxn ang="0">
                  <a:pos x="783" y="223"/>
                </a:cxn>
                <a:cxn ang="0">
                  <a:pos x="476" y="385"/>
                </a:cxn>
                <a:cxn ang="0">
                  <a:pos x="447" y="401"/>
                </a:cxn>
                <a:cxn ang="0">
                  <a:pos x="416" y="411"/>
                </a:cxn>
                <a:cxn ang="0">
                  <a:pos x="387" y="416"/>
                </a:cxn>
                <a:cxn ang="0">
                  <a:pos x="360" y="418"/>
                </a:cxn>
                <a:cxn ang="0">
                  <a:pos x="339" y="418"/>
                </a:cxn>
                <a:cxn ang="0">
                  <a:pos x="326" y="416"/>
                </a:cxn>
                <a:cxn ang="0">
                  <a:pos x="321" y="416"/>
                </a:cxn>
                <a:cxn ang="0">
                  <a:pos x="276" y="409"/>
                </a:cxn>
                <a:cxn ang="0">
                  <a:pos x="233" y="398"/>
                </a:cxn>
                <a:cxn ang="0">
                  <a:pos x="194" y="383"/>
                </a:cxn>
                <a:cxn ang="0">
                  <a:pos x="157" y="365"/>
                </a:cxn>
                <a:cxn ang="0">
                  <a:pos x="122" y="346"/>
                </a:cxn>
                <a:cxn ang="0">
                  <a:pos x="91" y="326"/>
                </a:cxn>
                <a:cxn ang="0">
                  <a:pos x="65" y="307"/>
                </a:cxn>
                <a:cxn ang="0">
                  <a:pos x="42" y="287"/>
                </a:cxn>
                <a:cxn ang="0">
                  <a:pos x="24" y="272"/>
                </a:cxn>
                <a:cxn ang="0">
                  <a:pos x="0" y="248"/>
                </a:cxn>
                <a:cxn ang="0">
                  <a:pos x="129" y="112"/>
                </a:cxn>
                <a:cxn ang="0">
                  <a:pos x="155" y="116"/>
                </a:cxn>
                <a:cxn ang="0">
                  <a:pos x="457" y="0"/>
                </a:cxn>
              </a:cxnLst>
              <a:rect l="0" t="0" r="r" b="b"/>
              <a:pathLst>
                <a:path w="827" h="418">
                  <a:moveTo>
                    <a:pt x="457" y="0"/>
                  </a:moveTo>
                  <a:lnTo>
                    <a:pt x="571" y="18"/>
                  </a:lnTo>
                  <a:lnTo>
                    <a:pt x="603" y="24"/>
                  </a:lnTo>
                  <a:lnTo>
                    <a:pt x="636" y="34"/>
                  </a:lnTo>
                  <a:lnTo>
                    <a:pt x="667" y="45"/>
                  </a:lnTo>
                  <a:lnTo>
                    <a:pt x="696" y="60"/>
                  </a:lnTo>
                  <a:lnTo>
                    <a:pt x="724" y="75"/>
                  </a:lnTo>
                  <a:lnTo>
                    <a:pt x="750" y="90"/>
                  </a:lnTo>
                  <a:lnTo>
                    <a:pt x="771" y="104"/>
                  </a:lnTo>
                  <a:lnTo>
                    <a:pt x="789" y="116"/>
                  </a:lnTo>
                  <a:lnTo>
                    <a:pt x="804" y="127"/>
                  </a:lnTo>
                  <a:lnTo>
                    <a:pt x="812" y="134"/>
                  </a:lnTo>
                  <a:lnTo>
                    <a:pt x="816" y="135"/>
                  </a:lnTo>
                  <a:lnTo>
                    <a:pt x="825" y="153"/>
                  </a:lnTo>
                  <a:lnTo>
                    <a:pt x="827" y="170"/>
                  </a:lnTo>
                  <a:lnTo>
                    <a:pt x="822" y="184"/>
                  </a:lnTo>
                  <a:lnTo>
                    <a:pt x="814" y="197"/>
                  </a:lnTo>
                  <a:lnTo>
                    <a:pt x="802" y="209"/>
                  </a:lnTo>
                  <a:lnTo>
                    <a:pt x="793" y="217"/>
                  </a:lnTo>
                  <a:lnTo>
                    <a:pt x="786" y="222"/>
                  </a:lnTo>
                  <a:lnTo>
                    <a:pt x="783" y="223"/>
                  </a:lnTo>
                  <a:lnTo>
                    <a:pt x="476" y="385"/>
                  </a:lnTo>
                  <a:lnTo>
                    <a:pt x="447" y="401"/>
                  </a:lnTo>
                  <a:lnTo>
                    <a:pt x="416" y="411"/>
                  </a:lnTo>
                  <a:lnTo>
                    <a:pt x="387" y="416"/>
                  </a:lnTo>
                  <a:lnTo>
                    <a:pt x="360" y="418"/>
                  </a:lnTo>
                  <a:lnTo>
                    <a:pt x="339" y="418"/>
                  </a:lnTo>
                  <a:lnTo>
                    <a:pt x="326" y="416"/>
                  </a:lnTo>
                  <a:lnTo>
                    <a:pt x="321" y="416"/>
                  </a:lnTo>
                  <a:lnTo>
                    <a:pt x="276" y="409"/>
                  </a:lnTo>
                  <a:lnTo>
                    <a:pt x="233" y="398"/>
                  </a:lnTo>
                  <a:lnTo>
                    <a:pt x="194" y="383"/>
                  </a:lnTo>
                  <a:lnTo>
                    <a:pt x="157" y="365"/>
                  </a:lnTo>
                  <a:lnTo>
                    <a:pt x="122" y="346"/>
                  </a:lnTo>
                  <a:lnTo>
                    <a:pt x="91" y="326"/>
                  </a:lnTo>
                  <a:lnTo>
                    <a:pt x="65" y="307"/>
                  </a:lnTo>
                  <a:lnTo>
                    <a:pt x="42" y="287"/>
                  </a:lnTo>
                  <a:lnTo>
                    <a:pt x="24" y="272"/>
                  </a:lnTo>
                  <a:lnTo>
                    <a:pt x="0" y="248"/>
                  </a:lnTo>
                  <a:lnTo>
                    <a:pt x="129" y="112"/>
                  </a:lnTo>
                  <a:lnTo>
                    <a:pt x="155" y="116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4" name="Freeform 277"/>
            <p:cNvSpPr>
              <a:spLocks/>
            </p:cNvSpPr>
            <p:nvPr/>
          </p:nvSpPr>
          <p:spPr bwMode="auto">
            <a:xfrm>
              <a:off x="3111873" y="2232103"/>
              <a:ext cx="265540" cy="115037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342" y="0"/>
                </a:cxn>
                <a:cxn ang="0">
                  <a:pos x="357" y="3"/>
                </a:cxn>
                <a:cxn ang="0">
                  <a:pos x="373" y="10"/>
                </a:cxn>
                <a:cxn ang="0">
                  <a:pos x="563" y="94"/>
                </a:cxn>
                <a:cxn ang="0">
                  <a:pos x="577" y="103"/>
                </a:cxn>
                <a:cxn ang="0">
                  <a:pos x="582" y="112"/>
                </a:cxn>
                <a:cxn ang="0">
                  <a:pos x="584" y="121"/>
                </a:cxn>
                <a:cxn ang="0">
                  <a:pos x="574" y="134"/>
                </a:cxn>
                <a:cxn ang="0">
                  <a:pos x="569" y="137"/>
                </a:cxn>
                <a:cxn ang="0">
                  <a:pos x="568" y="139"/>
                </a:cxn>
                <a:cxn ang="0">
                  <a:pos x="339" y="241"/>
                </a:cxn>
                <a:cxn ang="0">
                  <a:pos x="307" y="251"/>
                </a:cxn>
                <a:cxn ang="0">
                  <a:pos x="279" y="253"/>
                </a:cxn>
                <a:cxn ang="0">
                  <a:pos x="256" y="251"/>
                </a:cxn>
                <a:cxn ang="0">
                  <a:pos x="240" y="248"/>
                </a:cxn>
                <a:cxn ang="0">
                  <a:pos x="228" y="245"/>
                </a:cxn>
                <a:cxn ang="0">
                  <a:pos x="225" y="243"/>
                </a:cxn>
                <a:cxn ang="0">
                  <a:pos x="8" y="134"/>
                </a:cxn>
                <a:cxn ang="0">
                  <a:pos x="6" y="132"/>
                </a:cxn>
                <a:cxn ang="0">
                  <a:pos x="3" y="130"/>
                </a:cxn>
                <a:cxn ang="0">
                  <a:pos x="0" y="121"/>
                </a:cxn>
                <a:cxn ang="0">
                  <a:pos x="3" y="114"/>
                </a:cxn>
                <a:cxn ang="0">
                  <a:pos x="11" y="106"/>
                </a:cxn>
                <a:cxn ang="0">
                  <a:pos x="28" y="98"/>
                </a:cxn>
                <a:cxn ang="0">
                  <a:pos x="315" y="1"/>
                </a:cxn>
                <a:cxn ang="0">
                  <a:pos x="318" y="1"/>
                </a:cxn>
                <a:cxn ang="0">
                  <a:pos x="328" y="0"/>
                </a:cxn>
              </a:cxnLst>
              <a:rect l="0" t="0" r="r" b="b"/>
              <a:pathLst>
                <a:path w="584" h="253">
                  <a:moveTo>
                    <a:pt x="328" y="0"/>
                  </a:moveTo>
                  <a:lnTo>
                    <a:pt x="342" y="0"/>
                  </a:lnTo>
                  <a:lnTo>
                    <a:pt x="357" y="3"/>
                  </a:lnTo>
                  <a:lnTo>
                    <a:pt x="373" y="10"/>
                  </a:lnTo>
                  <a:lnTo>
                    <a:pt x="563" y="94"/>
                  </a:lnTo>
                  <a:lnTo>
                    <a:pt x="577" y="103"/>
                  </a:lnTo>
                  <a:lnTo>
                    <a:pt x="582" y="112"/>
                  </a:lnTo>
                  <a:lnTo>
                    <a:pt x="584" y="121"/>
                  </a:lnTo>
                  <a:lnTo>
                    <a:pt x="574" y="134"/>
                  </a:lnTo>
                  <a:lnTo>
                    <a:pt x="569" y="137"/>
                  </a:lnTo>
                  <a:lnTo>
                    <a:pt x="568" y="139"/>
                  </a:lnTo>
                  <a:lnTo>
                    <a:pt x="339" y="241"/>
                  </a:lnTo>
                  <a:lnTo>
                    <a:pt x="307" y="251"/>
                  </a:lnTo>
                  <a:lnTo>
                    <a:pt x="279" y="253"/>
                  </a:lnTo>
                  <a:lnTo>
                    <a:pt x="256" y="251"/>
                  </a:lnTo>
                  <a:lnTo>
                    <a:pt x="240" y="248"/>
                  </a:lnTo>
                  <a:lnTo>
                    <a:pt x="228" y="245"/>
                  </a:lnTo>
                  <a:lnTo>
                    <a:pt x="225" y="243"/>
                  </a:lnTo>
                  <a:lnTo>
                    <a:pt x="8" y="134"/>
                  </a:lnTo>
                  <a:lnTo>
                    <a:pt x="6" y="132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3" y="114"/>
                  </a:lnTo>
                  <a:lnTo>
                    <a:pt x="11" y="106"/>
                  </a:lnTo>
                  <a:lnTo>
                    <a:pt x="28" y="98"/>
                  </a:lnTo>
                  <a:lnTo>
                    <a:pt x="315" y="1"/>
                  </a:lnTo>
                  <a:lnTo>
                    <a:pt x="318" y="1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rgbClr val="AF235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5" name="Freeform 278"/>
            <p:cNvSpPr>
              <a:spLocks/>
            </p:cNvSpPr>
            <p:nvPr/>
          </p:nvSpPr>
          <p:spPr bwMode="auto">
            <a:xfrm>
              <a:off x="3355133" y="2281210"/>
              <a:ext cx="90483" cy="6502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99" y="45"/>
                </a:cxn>
                <a:cxn ang="0">
                  <a:pos x="111" y="143"/>
                </a:cxn>
                <a:cxn ang="0">
                  <a:pos x="124" y="125"/>
                </a:cxn>
                <a:cxn ang="0">
                  <a:pos x="130" y="110"/>
                </a:cxn>
                <a:cxn ang="0">
                  <a:pos x="132" y="99"/>
                </a:cxn>
                <a:cxn ang="0">
                  <a:pos x="130" y="91"/>
                </a:cxn>
                <a:cxn ang="0">
                  <a:pos x="126" y="84"/>
                </a:cxn>
                <a:cxn ang="0">
                  <a:pos x="121" y="81"/>
                </a:cxn>
                <a:cxn ang="0">
                  <a:pos x="117" y="78"/>
                </a:cxn>
                <a:cxn ang="0">
                  <a:pos x="116" y="78"/>
                </a:cxn>
                <a:cxn ang="0">
                  <a:pos x="0" y="24"/>
                </a:cxn>
                <a:cxn ang="0">
                  <a:pos x="28" y="0"/>
                </a:cxn>
              </a:cxnLst>
              <a:rect l="0" t="0" r="r" b="b"/>
              <a:pathLst>
                <a:path w="199" h="143">
                  <a:moveTo>
                    <a:pt x="28" y="0"/>
                  </a:moveTo>
                  <a:lnTo>
                    <a:pt x="199" y="45"/>
                  </a:lnTo>
                  <a:lnTo>
                    <a:pt x="111" y="143"/>
                  </a:lnTo>
                  <a:lnTo>
                    <a:pt x="124" y="125"/>
                  </a:lnTo>
                  <a:lnTo>
                    <a:pt x="130" y="110"/>
                  </a:lnTo>
                  <a:lnTo>
                    <a:pt x="132" y="99"/>
                  </a:lnTo>
                  <a:lnTo>
                    <a:pt x="130" y="91"/>
                  </a:lnTo>
                  <a:lnTo>
                    <a:pt x="126" y="84"/>
                  </a:lnTo>
                  <a:lnTo>
                    <a:pt x="121" y="81"/>
                  </a:lnTo>
                  <a:lnTo>
                    <a:pt x="117" y="78"/>
                  </a:lnTo>
                  <a:lnTo>
                    <a:pt x="116" y="78"/>
                  </a:lnTo>
                  <a:lnTo>
                    <a:pt x="0" y="2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6" name="Freeform 279"/>
            <p:cNvSpPr>
              <a:spLocks/>
            </p:cNvSpPr>
            <p:nvPr/>
          </p:nvSpPr>
          <p:spPr bwMode="auto">
            <a:xfrm>
              <a:off x="3368319" y="2278027"/>
              <a:ext cx="66840" cy="259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7" y="33"/>
                </a:cxn>
                <a:cxn ang="0">
                  <a:pos x="147" y="57"/>
                </a:cxn>
                <a:cxn ang="0">
                  <a:pos x="38" y="38"/>
                </a:cxn>
                <a:cxn ang="0">
                  <a:pos x="0" y="0"/>
                </a:cxn>
              </a:cxnLst>
              <a:rect l="0" t="0" r="r" b="b"/>
              <a:pathLst>
                <a:path w="147" h="57">
                  <a:moveTo>
                    <a:pt x="0" y="0"/>
                  </a:moveTo>
                  <a:lnTo>
                    <a:pt x="147" y="33"/>
                  </a:lnTo>
                  <a:lnTo>
                    <a:pt x="147" y="57"/>
                  </a:lnTo>
                  <a:lnTo>
                    <a:pt x="38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7" name="Freeform 280"/>
            <p:cNvSpPr>
              <a:spLocks/>
            </p:cNvSpPr>
            <p:nvPr/>
          </p:nvSpPr>
          <p:spPr bwMode="auto">
            <a:xfrm>
              <a:off x="3185079" y="2339410"/>
              <a:ext cx="78662" cy="92302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73" y="7"/>
                </a:cxn>
                <a:cxn ang="0">
                  <a:pos x="152" y="15"/>
                </a:cxn>
                <a:cxn ang="0">
                  <a:pos x="137" y="25"/>
                </a:cxn>
                <a:cxn ang="0">
                  <a:pos x="128" y="33"/>
                </a:cxn>
                <a:cxn ang="0">
                  <a:pos x="123" y="41"/>
                </a:cxn>
                <a:cxn ang="0">
                  <a:pos x="119" y="48"/>
                </a:cxn>
                <a:cxn ang="0">
                  <a:pos x="119" y="49"/>
                </a:cxn>
                <a:cxn ang="0">
                  <a:pos x="102" y="141"/>
                </a:cxn>
                <a:cxn ang="0">
                  <a:pos x="102" y="154"/>
                </a:cxn>
                <a:cxn ang="0">
                  <a:pos x="108" y="162"/>
                </a:cxn>
                <a:cxn ang="0">
                  <a:pos x="116" y="169"/>
                </a:cxn>
                <a:cxn ang="0">
                  <a:pos x="128" y="170"/>
                </a:cxn>
                <a:cxn ang="0">
                  <a:pos x="137" y="172"/>
                </a:cxn>
                <a:cxn ang="0">
                  <a:pos x="147" y="172"/>
                </a:cxn>
                <a:cxn ang="0">
                  <a:pos x="136" y="185"/>
                </a:cxn>
                <a:cxn ang="0">
                  <a:pos x="88" y="203"/>
                </a:cxn>
                <a:cxn ang="0">
                  <a:pos x="30" y="201"/>
                </a:cxn>
                <a:cxn ang="0">
                  <a:pos x="0" y="175"/>
                </a:cxn>
                <a:cxn ang="0">
                  <a:pos x="22" y="173"/>
                </a:cxn>
                <a:cxn ang="0">
                  <a:pos x="38" y="169"/>
                </a:cxn>
                <a:cxn ang="0">
                  <a:pos x="51" y="162"/>
                </a:cxn>
                <a:cxn ang="0">
                  <a:pos x="61" y="155"/>
                </a:cxn>
                <a:cxn ang="0">
                  <a:pos x="66" y="147"/>
                </a:cxn>
                <a:cxn ang="0">
                  <a:pos x="69" y="142"/>
                </a:cxn>
                <a:cxn ang="0">
                  <a:pos x="71" y="141"/>
                </a:cxn>
                <a:cxn ang="0">
                  <a:pos x="98" y="53"/>
                </a:cxn>
                <a:cxn ang="0">
                  <a:pos x="98" y="38"/>
                </a:cxn>
                <a:cxn ang="0">
                  <a:pos x="93" y="28"/>
                </a:cxn>
                <a:cxn ang="0">
                  <a:pos x="85" y="18"/>
                </a:cxn>
                <a:cxn ang="0">
                  <a:pos x="66" y="9"/>
                </a:cxn>
                <a:cxn ang="0">
                  <a:pos x="95" y="0"/>
                </a:cxn>
              </a:cxnLst>
              <a:rect l="0" t="0" r="r" b="b"/>
              <a:pathLst>
                <a:path w="173" h="203">
                  <a:moveTo>
                    <a:pt x="95" y="0"/>
                  </a:moveTo>
                  <a:lnTo>
                    <a:pt x="173" y="7"/>
                  </a:lnTo>
                  <a:lnTo>
                    <a:pt x="152" y="15"/>
                  </a:lnTo>
                  <a:lnTo>
                    <a:pt x="137" y="25"/>
                  </a:lnTo>
                  <a:lnTo>
                    <a:pt x="128" y="33"/>
                  </a:lnTo>
                  <a:lnTo>
                    <a:pt x="123" y="41"/>
                  </a:lnTo>
                  <a:lnTo>
                    <a:pt x="119" y="48"/>
                  </a:lnTo>
                  <a:lnTo>
                    <a:pt x="119" y="49"/>
                  </a:lnTo>
                  <a:lnTo>
                    <a:pt x="102" y="141"/>
                  </a:lnTo>
                  <a:lnTo>
                    <a:pt x="102" y="154"/>
                  </a:lnTo>
                  <a:lnTo>
                    <a:pt x="108" y="162"/>
                  </a:lnTo>
                  <a:lnTo>
                    <a:pt x="116" y="169"/>
                  </a:lnTo>
                  <a:lnTo>
                    <a:pt x="128" y="170"/>
                  </a:lnTo>
                  <a:lnTo>
                    <a:pt x="137" y="172"/>
                  </a:lnTo>
                  <a:lnTo>
                    <a:pt x="147" y="172"/>
                  </a:lnTo>
                  <a:lnTo>
                    <a:pt x="136" y="185"/>
                  </a:lnTo>
                  <a:lnTo>
                    <a:pt x="88" y="203"/>
                  </a:lnTo>
                  <a:lnTo>
                    <a:pt x="30" y="201"/>
                  </a:lnTo>
                  <a:lnTo>
                    <a:pt x="0" y="175"/>
                  </a:lnTo>
                  <a:lnTo>
                    <a:pt x="22" y="173"/>
                  </a:lnTo>
                  <a:lnTo>
                    <a:pt x="38" y="169"/>
                  </a:lnTo>
                  <a:lnTo>
                    <a:pt x="51" y="162"/>
                  </a:lnTo>
                  <a:lnTo>
                    <a:pt x="61" y="155"/>
                  </a:lnTo>
                  <a:lnTo>
                    <a:pt x="66" y="147"/>
                  </a:lnTo>
                  <a:lnTo>
                    <a:pt x="69" y="142"/>
                  </a:lnTo>
                  <a:lnTo>
                    <a:pt x="71" y="141"/>
                  </a:lnTo>
                  <a:lnTo>
                    <a:pt x="98" y="53"/>
                  </a:lnTo>
                  <a:lnTo>
                    <a:pt x="98" y="38"/>
                  </a:lnTo>
                  <a:lnTo>
                    <a:pt x="93" y="28"/>
                  </a:lnTo>
                  <a:lnTo>
                    <a:pt x="85" y="18"/>
                  </a:lnTo>
                  <a:lnTo>
                    <a:pt x="66" y="9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9" name="Gruppieren 82"/>
          <p:cNvGrpSpPr/>
          <p:nvPr/>
        </p:nvGrpSpPr>
        <p:grpSpPr>
          <a:xfrm>
            <a:off x="8255196" y="4129345"/>
            <a:ext cx="597009" cy="393763"/>
            <a:chOff x="2913173" y="2232103"/>
            <a:chExt cx="597010" cy="393763"/>
          </a:xfrm>
        </p:grpSpPr>
        <p:sp>
          <p:nvSpPr>
            <p:cNvPr id="50" name="Freeform 260"/>
            <p:cNvSpPr>
              <a:spLocks/>
            </p:cNvSpPr>
            <p:nvPr/>
          </p:nvSpPr>
          <p:spPr bwMode="auto">
            <a:xfrm>
              <a:off x="2913173" y="2323496"/>
              <a:ext cx="597010" cy="302370"/>
            </a:xfrm>
            <a:custGeom>
              <a:avLst/>
              <a:gdLst/>
              <a:ahLst/>
              <a:cxnLst>
                <a:cxn ang="0">
                  <a:pos x="894" y="0"/>
                </a:cxn>
                <a:cxn ang="0">
                  <a:pos x="1244" y="78"/>
                </a:cxn>
                <a:cxn ang="0">
                  <a:pos x="1275" y="91"/>
                </a:cxn>
                <a:cxn ang="0">
                  <a:pos x="1295" y="106"/>
                </a:cxn>
                <a:cxn ang="0">
                  <a:pos x="1308" y="120"/>
                </a:cxn>
                <a:cxn ang="0">
                  <a:pos x="1313" y="135"/>
                </a:cxn>
                <a:cxn ang="0">
                  <a:pos x="1313" y="150"/>
                </a:cxn>
                <a:cxn ang="0">
                  <a:pos x="1310" y="163"/>
                </a:cxn>
                <a:cxn ang="0">
                  <a:pos x="1303" y="176"/>
                </a:cxn>
                <a:cxn ang="0">
                  <a:pos x="1295" y="186"/>
                </a:cxn>
                <a:cxn ang="0">
                  <a:pos x="1288" y="194"/>
                </a:cxn>
                <a:cxn ang="0">
                  <a:pos x="1282" y="199"/>
                </a:cxn>
                <a:cxn ang="0">
                  <a:pos x="1280" y="200"/>
                </a:cxn>
                <a:cxn ang="0">
                  <a:pos x="546" y="628"/>
                </a:cxn>
                <a:cxn ang="0">
                  <a:pos x="512" y="646"/>
                </a:cxn>
                <a:cxn ang="0">
                  <a:pos x="483" y="657"/>
                </a:cxn>
                <a:cxn ang="0">
                  <a:pos x="456" y="664"/>
                </a:cxn>
                <a:cxn ang="0">
                  <a:pos x="434" y="665"/>
                </a:cxn>
                <a:cxn ang="0">
                  <a:pos x="414" y="664"/>
                </a:cxn>
                <a:cxn ang="0">
                  <a:pos x="399" y="661"/>
                </a:cxn>
                <a:cxn ang="0">
                  <a:pos x="386" y="657"/>
                </a:cxn>
                <a:cxn ang="0">
                  <a:pos x="378" y="652"/>
                </a:cxn>
                <a:cxn ang="0">
                  <a:pos x="373" y="649"/>
                </a:cxn>
                <a:cxn ang="0">
                  <a:pos x="372" y="647"/>
                </a:cxn>
                <a:cxn ang="0">
                  <a:pos x="37" y="453"/>
                </a:cxn>
                <a:cxn ang="0">
                  <a:pos x="16" y="434"/>
                </a:cxn>
                <a:cxn ang="0">
                  <a:pos x="5" y="416"/>
                </a:cxn>
                <a:cxn ang="0">
                  <a:pos x="0" y="401"/>
                </a:cxn>
                <a:cxn ang="0">
                  <a:pos x="3" y="388"/>
                </a:cxn>
                <a:cxn ang="0">
                  <a:pos x="9" y="375"/>
                </a:cxn>
                <a:cxn ang="0">
                  <a:pos x="18" y="365"/>
                </a:cxn>
                <a:cxn ang="0">
                  <a:pos x="40" y="352"/>
                </a:cxn>
                <a:cxn ang="0">
                  <a:pos x="50" y="347"/>
                </a:cxn>
                <a:cxn ang="0">
                  <a:pos x="57" y="346"/>
                </a:cxn>
                <a:cxn ang="0">
                  <a:pos x="60" y="344"/>
                </a:cxn>
                <a:cxn ang="0">
                  <a:pos x="894" y="0"/>
                </a:cxn>
              </a:cxnLst>
              <a:rect l="0" t="0" r="r" b="b"/>
              <a:pathLst>
                <a:path w="1313" h="665">
                  <a:moveTo>
                    <a:pt x="894" y="0"/>
                  </a:moveTo>
                  <a:lnTo>
                    <a:pt x="1244" y="78"/>
                  </a:lnTo>
                  <a:lnTo>
                    <a:pt x="1275" y="91"/>
                  </a:lnTo>
                  <a:lnTo>
                    <a:pt x="1295" y="106"/>
                  </a:lnTo>
                  <a:lnTo>
                    <a:pt x="1308" y="120"/>
                  </a:lnTo>
                  <a:lnTo>
                    <a:pt x="1313" y="135"/>
                  </a:lnTo>
                  <a:lnTo>
                    <a:pt x="1313" y="150"/>
                  </a:lnTo>
                  <a:lnTo>
                    <a:pt x="1310" y="163"/>
                  </a:lnTo>
                  <a:lnTo>
                    <a:pt x="1303" y="176"/>
                  </a:lnTo>
                  <a:lnTo>
                    <a:pt x="1295" y="186"/>
                  </a:lnTo>
                  <a:lnTo>
                    <a:pt x="1288" y="194"/>
                  </a:lnTo>
                  <a:lnTo>
                    <a:pt x="1282" y="199"/>
                  </a:lnTo>
                  <a:lnTo>
                    <a:pt x="1280" y="200"/>
                  </a:lnTo>
                  <a:lnTo>
                    <a:pt x="546" y="628"/>
                  </a:lnTo>
                  <a:lnTo>
                    <a:pt x="512" y="646"/>
                  </a:lnTo>
                  <a:lnTo>
                    <a:pt x="483" y="657"/>
                  </a:lnTo>
                  <a:lnTo>
                    <a:pt x="456" y="664"/>
                  </a:lnTo>
                  <a:lnTo>
                    <a:pt x="434" y="665"/>
                  </a:lnTo>
                  <a:lnTo>
                    <a:pt x="414" y="664"/>
                  </a:lnTo>
                  <a:lnTo>
                    <a:pt x="399" y="661"/>
                  </a:lnTo>
                  <a:lnTo>
                    <a:pt x="386" y="657"/>
                  </a:lnTo>
                  <a:lnTo>
                    <a:pt x="378" y="652"/>
                  </a:lnTo>
                  <a:lnTo>
                    <a:pt x="373" y="649"/>
                  </a:lnTo>
                  <a:lnTo>
                    <a:pt x="372" y="647"/>
                  </a:lnTo>
                  <a:lnTo>
                    <a:pt x="37" y="453"/>
                  </a:lnTo>
                  <a:lnTo>
                    <a:pt x="16" y="434"/>
                  </a:lnTo>
                  <a:lnTo>
                    <a:pt x="5" y="416"/>
                  </a:lnTo>
                  <a:lnTo>
                    <a:pt x="0" y="401"/>
                  </a:lnTo>
                  <a:lnTo>
                    <a:pt x="3" y="388"/>
                  </a:lnTo>
                  <a:lnTo>
                    <a:pt x="9" y="375"/>
                  </a:lnTo>
                  <a:lnTo>
                    <a:pt x="18" y="365"/>
                  </a:lnTo>
                  <a:lnTo>
                    <a:pt x="40" y="352"/>
                  </a:lnTo>
                  <a:lnTo>
                    <a:pt x="50" y="347"/>
                  </a:lnTo>
                  <a:lnTo>
                    <a:pt x="57" y="346"/>
                  </a:lnTo>
                  <a:lnTo>
                    <a:pt x="60" y="344"/>
                  </a:lnTo>
                  <a:lnTo>
                    <a:pt x="894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261"/>
            <p:cNvSpPr>
              <a:spLocks/>
            </p:cNvSpPr>
            <p:nvPr/>
          </p:nvSpPr>
          <p:spPr bwMode="auto">
            <a:xfrm>
              <a:off x="3420154" y="2338956"/>
              <a:ext cx="50016" cy="52744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102" y="37"/>
                </a:cxn>
                <a:cxn ang="0">
                  <a:pos x="110" y="116"/>
                </a:cxn>
                <a:cxn ang="0">
                  <a:pos x="72" y="114"/>
                </a:cxn>
                <a:cxn ang="0">
                  <a:pos x="12" y="75"/>
                </a:cxn>
                <a:cxn ang="0">
                  <a:pos x="0" y="26"/>
                </a:cxn>
                <a:cxn ang="0">
                  <a:pos x="46" y="0"/>
                </a:cxn>
              </a:cxnLst>
              <a:rect l="0" t="0" r="r" b="b"/>
              <a:pathLst>
                <a:path w="110" h="116">
                  <a:moveTo>
                    <a:pt x="46" y="0"/>
                  </a:moveTo>
                  <a:lnTo>
                    <a:pt x="102" y="37"/>
                  </a:lnTo>
                  <a:lnTo>
                    <a:pt x="110" y="116"/>
                  </a:lnTo>
                  <a:lnTo>
                    <a:pt x="72" y="114"/>
                  </a:lnTo>
                  <a:lnTo>
                    <a:pt x="12" y="75"/>
                  </a:lnTo>
                  <a:lnTo>
                    <a:pt x="0" y="2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2" name="Freeform 262"/>
            <p:cNvSpPr>
              <a:spLocks/>
            </p:cNvSpPr>
            <p:nvPr/>
          </p:nvSpPr>
          <p:spPr bwMode="auto">
            <a:xfrm>
              <a:off x="3204630" y="2458994"/>
              <a:ext cx="58655" cy="64566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120" y="48"/>
                </a:cxn>
                <a:cxn ang="0">
                  <a:pos x="129" y="97"/>
                </a:cxn>
                <a:cxn ang="0">
                  <a:pos x="106" y="142"/>
                </a:cxn>
                <a:cxn ang="0">
                  <a:pos x="37" y="114"/>
                </a:cxn>
                <a:cxn ang="0">
                  <a:pos x="0" y="30"/>
                </a:cxn>
                <a:cxn ang="0">
                  <a:pos x="45" y="0"/>
                </a:cxn>
              </a:cxnLst>
              <a:rect l="0" t="0" r="r" b="b"/>
              <a:pathLst>
                <a:path w="129" h="142">
                  <a:moveTo>
                    <a:pt x="45" y="0"/>
                  </a:moveTo>
                  <a:lnTo>
                    <a:pt x="120" y="48"/>
                  </a:lnTo>
                  <a:lnTo>
                    <a:pt x="129" y="97"/>
                  </a:lnTo>
                  <a:lnTo>
                    <a:pt x="106" y="142"/>
                  </a:lnTo>
                  <a:lnTo>
                    <a:pt x="37" y="114"/>
                  </a:lnTo>
                  <a:lnTo>
                    <a:pt x="0" y="3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263"/>
            <p:cNvSpPr>
              <a:spLocks/>
            </p:cNvSpPr>
            <p:nvPr/>
          </p:nvSpPr>
          <p:spPr bwMode="auto">
            <a:xfrm>
              <a:off x="3376504" y="2348504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3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0"/>
                </a:cxn>
                <a:cxn ang="0">
                  <a:pos x="139" y="96"/>
                </a:cxn>
                <a:cxn ang="0">
                  <a:pos x="131" y="122"/>
                </a:cxn>
                <a:cxn ang="0">
                  <a:pos x="119" y="147"/>
                </a:cxn>
                <a:cxn ang="0">
                  <a:pos x="105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4"/>
                </a:cxn>
                <a:cxn ang="0">
                  <a:pos x="10" y="170"/>
                </a:cxn>
                <a:cxn ang="0">
                  <a:pos x="3" y="150"/>
                </a:cxn>
                <a:cxn ang="0">
                  <a:pos x="0" y="127"/>
                </a:cxn>
                <a:cxn ang="0">
                  <a:pos x="3" y="101"/>
                </a:cxn>
                <a:cxn ang="0">
                  <a:pos x="10" y="75"/>
                </a:cxn>
                <a:cxn ang="0">
                  <a:pos x="25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3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0"/>
                  </a:lnTo>
                  <a:lnTo>
                    <a:pt x="139" y="96"/>
                  </a:lnTo>
                  <a:lnTo>
                    <a:pt x="131" y="122"/>
                  </a:lnTo>
                  <a:lnTo>
                    <a:pt x="119" y="147"/>
                  </a:lnTo>
                  <a:lnTo>
                    <a:pt x="105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4"/>
                  </a:lnTo>
                  <a:lnTo>
                    <a:pt x="10" y="170"/>
                  </a:lnTo>
                  <a:lnTo>
                    <a:pt x="3" y="150"/>
                  </a:lnTo>
                  <a:lnTo>
                    <a:pt x="0" y="127"/>
                  </a:lnTo>
                  <a:lnTo>
                    <a:pt x="3" y="101"/>
                  </a:lnTo>
                  <a:lnTo>
                    <a:pt x="10" y="75"/>
                  </a:lnTo>
                  <a:lnTo>
                    <a:pt x="25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264"/>
            <p:cNvSpPr>
              <a:spLocks/>
            </p:cNvSpPr>
            <p:nvPr/>
          </p:nvSpPr>
          <p:spPr bwMode="auto">
            <a:xfrm>
              <a:off x="3391509" y="2354415"/>
              <a:ext cx="60929" cy="94121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134" y="18"/>
                </a:cxn>
                <a:cxn ang="0">
                  <a:pos x="124" y="38"/>
                </a:cxn>
                <a:cxn ang="0">
                  <a:pos x="55" y="199"/>
                </a:cxn>
                <a:cxn ang="0">
                  <a:pos x="52" y="207"/>
                </a:cxn>
                <a:cxn ang="0">
                  <a:pos x="0" y="181"/>
                </a:cxn>
                <a:cxn ang="0">
                  <a:pos x="15" y="47"/>
                </a:cxn>
                <a:cxn ang="0">
                  <a:pos x="81" y="0"/>
                </a:cxn>
              </a:cxnLst>
              <a:rect l="0" t="0" r="r" b="b"/>
              <a:pathLst>
                <a:path w="134" h="207">
                  <a:moveTo>
                    <a:pt x="81" y="0"/>
                  </a:moveTo>
                  <a:lnTo>
                    <a:pt x="134" y="18"/>
                  </a:lnTo>
                  <a:lnTo>
                    <a:pt x="124" y="38"/>
                  </a:lnTo>
                  <a:lnTo>
                    <a:pt x="55" y="199"/>
                  </a:lnTo>
                  <a:lnTo>
                    <a:pt x="52" y="207"/>
                  </a:lnTo>
                  <a:lnTo>
                    <a:pt x="0" y="181"/>
                  </a:lnTo>
                  <a:lnTo>
                    <a:pt x="15" y="47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Freeform 265"/>
            <p:cNvSpPr>
              <a:spLocks/>
            </p:cNvSpPr>
            <p:nvPr/>
          </p:nvSpPr>
          <p:spPr bwMode="auto">
            <a:xfrm>
              <a:off x="3401057" y="2360326"/>
              <a:ext cx="64566" cy="90029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8" y="3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9" y="47"/>
                </a:cxn>
                <a:cxn ang="0">
                  <a:pos x="142" y="72"/>
                </a:cxn>
                <a:cxn ang="0">
                  <a:pos x="139" y="96"/>
                </a:cxn>
                <a:cxn ang="0">
                  <a:pos x="131" y="123"/>
                </a:cxn>
                <a:cxn ang="0">
                  <a:pos x="119" y="147"/>
                </a:cxn>
                <a:cxn ang="0">
                  <a:pos x="104" y="167"/>
                </a:cxn>
                <a:cxn ang="0">
                  <a:pos x="88" y="183"/>
                </a:cxn>
                <a:cxn ang="0">
                  <a:pos x="70" y="193"/>
                </a:cxn>
                <a:cxn ang="0">
                  <a:pos x="51" y="198"/>
                </a:cxn>
                <a:cxn ang="0">
                  <a:pos x="34" y="194"/>
                </a:cxn>
                <a:cxn ang="0">
                  <a:pos x="20" y="185"/>
                </a:cxn>
                <a:cxn ang="0">
                  <a:pos x="8" y="170"/>
                </a:cxn>
                <a:cxn ang="0">
                  <a:pos x="2" y="150"/>
                </a:cxn>
                <a:cxn ang="0">
                  <a:pos x="0" y="127"/>
                </a:cxn>
                <a:cxn ang="0">
                  <a:pos x="2" y="103"/>
                </a:cxn>
                <a:cxn ang="0">
                  <a:pos x="10" y="77"/>
                </a:cxn>
                <a:cxn ang="0">
                  <a:pos x="25" y="47"/>
                </a:cxn>
                <a:cxn ang="0">
                  <a:pos x="44" y="25"/>
                </a:cxn>
                <a:cxn ang="0">
                  <a:pos x="65" y="8"/>
                </a:cxn>
                <a:cxn ang="0">
                  <a:pos x="87" y="0"/>
                </a:cxn>
              </a:cxnLst>
              <a:rect l="0" t="0" r="r" b="b"/>
              <a:pathLst>
                <a:path w="142" h="198">
                  <a:moveTo>
                    <a:pt x="87" y="0"/>
                  </a:moveTo>
                  <a:lnTo>
                    <a:pt x="108" y="3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9" y="47"/>
                  </a:lnTo>
                  <a:lnTo>
                    <a:pt x="142" y="72"/>
                  </a:lnTo>
                  <a:lnTo>
                    <a:pt x="139" y="96"/>
                  </a:lnTo>
                  <a:lnTo>
                    <a:pt x="131" y="123"/>
                  </a:lnTo>
                  <a:lnTo>
                    <a:pt x="119" y="147"/>
                  </a:lnTo>
                  <a:lnTo>
                    <a:pt x="104" y="167"/>
                  </a:lnTo>
                  <a:lnTo>
                    <a:pt x="88" y="183"/>
                  </a:lnTo>
                  <a:lnTo>
                    <a:pt x="70" y="193"/>
                  </a:lnTo>
                  <a:lnTo>
                    <a:pt x="51" y="198"/>
                  </a:lnTo>
                  <a:lnTo>
                    <a:pt x="34" y="194"/>
                  </a:lnTo>
                  <a:lnTo>
                    <a:pt x="20" y="185"/>
                  </a:lnTo>
                  <a:lnTo>
                    <a:pt x="8" y="170"/>
                  </a:lnTo>
                  <a:lnTo>
                    <a:pt x="2" y="150"/>
                  </a:lnTo>
                  <a:lnTo>
                    <a:pt x="0" y="127"/>
                  </a:lnTo>
                  <a:lnTo>
                    <a:pt x="2" y="103"/>
                  </a:lnTo>
                  <a:lnTo>
                    <a:pt x="10" y="77"/>
                  </a:lnTo>
                  <a:lnTo>
                    <a:pt x="25" y="47"/>
                  </a:lnTo>
                  <a:lnTo>
                    <a:pt x="44" y="25"/>
                  </a:lnTo>
                  <a:lnTo>
                    <a:pt x="65" y="8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6" name="Freeform 266"/>
            <p:cNvSpPr>
              <a:spLocks/>
            </p:cNvSpPr>
            <p:nvPr/>
          </p:nvSpPr>
          <p:spPr bwMode="auto">
            <a:xfrm>
              <a:off x="3417426" y="2382606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7" y="0"/>
                </a:cxn>
                <a:cxn ang="0">
                  <a:pos x="67" y="8"/>
                </a:cxn>
                <a:cxn ang="0">
                  <a:pos x="73" y="25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9" y="82"/>
                </a:cxn>
                <a:cxn ang="0">
                  <a:pos x="46" y="96"/>
                </a:cxn>
                <a:cxn ang="0">
                  <a:pos x="31" y="103"/>
                </a:cxn>
                <a:cxn ang="0">
                  <a:pos x="18" y="103"/>
                </a:cxn>
                <a:cxn ang="0">
                  <a:pos x="8" y="96"/>
                </a:cxn>
                <a:cxn ang="0">
                  <a:pos x="3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5" y="39"/>
                </a:cxn>
                <a:cxn ang="0">
                  <a:pos x="15" y="21"/>
                </a:cxn>
                <a:cxn ang="0">
                  <a:pos x="29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7" y="0"/>
                  </a:lnTo>
                  <a:lnTo>
                    <a:pt x="67" y="8"/>
                  </a:lnTo>
                  <a:lnTo>
                    <a:pt x="73" y="25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9" y="82"/>
                  </a:lnTo>
                  <a:lnTo>
                    <a:pt x="46" y="96"/>
                  </a:lnTo>
                  <a:lnTo>
                    <a:pt x="31" y="103"/>
                  </a:lnTo>
                  <a:lnTo>
                    <a:pt x="18" y="103"/>
                  </a:lnTo>
                  <a:lnTo>
                    <a:pt x="8" y="96"/>
                  </a:lnTo>
                  <a:lnTo>
                    <a:pt x="3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5" y="39"/>
                  </a:lnTo>
                  <a:lnTo>
                    <a:pt x="15" y="21"/>
                  </a:lnTo>
                  <a:lnTo>
                    <a:pt x="29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7" name="Freeform 267"/>
            <p:cNvSpPr>
              <a:spLocks/>
            </p:cNvSpPr>
            <p:nvPr/>
          </p:nvSpPr>
          <p:spPr bwMode="auto">
            <a:xfrm>
              <a:off x="3418336" y="2383970"/>
              <a:ext cx="29555" cy="42286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50" y="2"/>
                </a:cxn>
                <a:cxn ang="0">
                  <a:pos x="60" y="9"/>
                </a:cxn>
                <a:cxn ang="0">
                  <a:pos x="65" y="22"/>
                </a:cxn>
                <a:cxn ang="0">
                  <a:pos x="65" y="40"/>
                </a:cxn>
                <a:cxn ang="0">
                  <a:pos x="60" y="57"/>
                </a:cxn>
                <a:cxn ang="0">
                  <a:pos x="52" y="75"/>
                </a:cxn>
                <a:cxn ang="0">
                  <a:pos x="40" y="87"/>
                </a:cxn>
                <a:cxn ang="0">
                  <a:pos x="27" y="93"/>
                </a:cxn>
                <a:cxn ang="0">
                  <a:pos x="14" y="93"/>
                </a:cxn>
                <a:cxn ang="0">
                  <a:pos x="4" y="85"/>
                </a:cxn>
                <a:cxn ang="0">
                  <a:pos x="0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4" y="20"/>
                </a:cxn>
                <a:cxn ang="0">
                  <a:pos x="26" y="7"/>
                </a:cxn>
                <a:cxn ang="0">
                  <a:pos x="37" y="0"/>
                </a:cxn>
              </a:cxnLst>
              <a:rect l="0" t="0" r="r" b="b"/>
              <a:pathLst>
                <a:path w="65" h="93">
                  <a:moveTo>
                    <a:pt x="37" y="0"/>
                  </a:moveTo>
                  <a:lnTo>
                    <a:pt x="50" y="2"/>
                  </a:lnTo>
                  <a:lnTo>
                    <a:pt x="60" y="9"/>
                  </a:lnTo>
                  <a:lnTo>
                    <a:pt x="65" y="22"/>
                  </a:lnTo>
                  <a:lnTo>
                    <a:pt x="65" y="40"/>
                  </a:lnTo>
                  <a:lnTo>
                    <a:pt x="60" y="57"/>
                  </a:lnTo>
                  <a:lnTo>
                    <a:pt x="52" y="75"/>
                  </a:lnTo>
                  <a:lnTo>
                    <a:pt x="40" y="87"/>
                  </a:lnTo>
                  <a:lnTo>
                    <a:pt x="27" y="93"/>
                  </a:lnTo>
                  <a:lnTo>
                    <a:pt x="14" y="93"/>
                  </a:lnTo>
                  <a:lnTo>
                    <a:pt x="4" y="85"/>
                  </a:lnTo>
                  <a:lnTo>
                    <a:pt x="0" y="72"/>
                  </a:lnTo>
                  <a:lnTo>
                    <a:pt x="0" y="56"/>
                  </a:lnTo>
                  <a:lnTo>
                    <a:pt x="4" y="36"/>
                  </a:lnTo>
                  <a:lnTo>
                    <a:pt x="14" y="20"/>
                  </a:lnTo>
                  <a:lnTo>
                    <a:pt x="26" y="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Freeform 268"/>
            <p:cNvSpPr>
              <a:spLocks/>
            </p:cNvSpPr>
            <p:nvPr/>
          </p:nvSpPr>
          <p:spPr bwMode="auto">
            <a:xfrm>
              <a:off x="3162344" y="2464905"/>
              <a:ext cx="64566" cy="9002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107" y="4"/>
                </a:cxn>
                <a:cxn ang="0">
                  <a:pos x="122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2" y="70"/>
                </a:cxn>
                <a:cxn ang="0">
                  <a:pos x="138" y="95"/>
                </a:cxn>
                <a:cxn ang="0">
                  <a:pos x="130" y="121"/>
                </a:cxn>
                <a:cxn ang="0">
                  <a:pos x="119" y="146"/>
                </a:cxn>
                <a:cxn ang="0">
                  <a:pos x="104" y="167"/>
                </a:cxn>
                <a:cxn ang="0">
                  <a:pos x="86" y="183"/>
                </a:cxn>
                <a:cxn ang="0">
                  <a:pos x="70" y="193"/>
                </a:cxn>
                <a:cxn ang="0">
                  <a:pos x="50" y="198"/>
                </a:cxn>
                <a:cxn ang="0">
                  <a:pos x="34" y="194"/>
                </a:cxn>
                <a:cxn ang="0">
                  <a:pos x="19" y="185"/>
                </a:cxn>
                <a:cxn ang="0">
                  <a:pos x="8" y="170"/>
                </a:cxn>
                <a:cxn ang="0">
                  <a:pos x="1" y="149"/>
                </a:cxn>
                <a:cxn ang="0">
                  <a:pos x="0" y="126"/>
                </a:cxn>
                <a:cxn ang="0">
                  <a:pos x="1" y="101"/>
                </a:cxn>
                <a:cxn ang="0">
                  <a:pos x="10" y="75"/>
                </a:cxn>
                <a:cxn ang="0">
                  <a:pos x="24" y="46"/>
                </a:cxn>
                <a:cxn ang="0">
                  <a:pos x="44" y="23"/>
                </a:cxn>
                <a:cxn ang="0">
                  <a:pos x="65" y="8"/>
                </a:cxn>
                <a:cxn ang="0">
                  <a:pos x="86" y="0"/>
                </a:cxn>
              </a:cxnLst>
              <a:rect l="0" t="0" r="r" b="b"/>
              <a:pathLst>
                <a:path w="142" h="198">
                  <a:moveTo>
                    <a:pt x="86" y="0"/>
                  </a:moveTo>
                  <a:lnTo>
                    <a:pt x="107" y="4"/>
                  </a:lnTo>
                  <a:lnTo>
                    <a:pt x="122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2" y="70"/>
                  </a:lnTo>
                  <a:lnTo>
                    <a:pt x="138" y="95"/>
                  </a:lnTo>
                  <a:lnTo>
                    <a:pt x="130" y="121"/>
                  </a:lnTo>
                  <a:lnTo>
                    <a:pt x="119" y="146"/>
                  </a:lnTo>
                  <a:lnTo>
                    <a:pt x="104" y="167"/>
                  </a:lnTo>
                  <a:lnTo>
                    <a:pt x="86" y="183"/>
                  </a:lnTo>
                  <a:lnTo>
                    <a:pt x="70" y="193"/>
                  </a:lnTo>
                  <a:lnTo>
                    <a:pt x="50" y="198"/>
                  </a:lnTo>
                  <a:lnTo>
                    <a:pt x="34" y="194"/>
                  </a:lnTo>
                  <a:lnTo>
                    <a:pt x="19" y="185"/>
                  </a:lnTo>
                  <a:lnTo>
                    <a:pt x="8" y="170"/>
                  </a:lnTo>
                  <a:lnTo>
                    <a:pt x="1" y="149"/>
                  </a:lnTo>
                  <a:lnTo>
                    <a:pt x="0" y="126"/>
                  </a:lnTo>
                  <a:lnTo>
                    <a:pt x="1" y="101"/>
                  </a:lnTo>
                  <a:lnTo>
                    <a:pt x="10" y="75"/>
                  </a:lnTo>
                  <a:lnTo>
                    <a:pt x="24" y="46"/>
                  </a:lnTo>
                  <a:lnTo>
                    <a:pt x="44" y="23"/>
                  </a:lnTo>
                  <a:lnTo>
                    <a:pt x="65" y="8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9" name="Freeform 269"/>
            <p:cNvSpPr>
              <a:spLocks/>
            </p:cNvSpPr>
            <p:nvPr/>
          </p:nvSpPr>
          <p:spPr bwMode="auto">
            <a:xfrm>
              <a:off x="3176894" y="2470816"/>
              <a:ext cx="59564" cy="93666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131" y="18"/>
                </a:cxn>
                <a:cxn ang="0">
                  <a:pos x="123" y="38"/>
                </a:cxn>
                <a:cxn ang="0">
                  <a:pos x="56" y="198"/>
                </a:cxn>
                <a:cxn ang="0">
                  <a:pos x="51" y="206"/>
                </a:cxn>
                <a:cxn ang="0">
                  <a:pos x="0" y="180"/>
                </a:cxn>
                <a:cxn ang="0">
                  <a:pos x="15" y="48"/>
                </a:cxn>
                <a:cxn ang="0">
                  <a:pos x="82" y="0"/>
                </a:cxn>
              </a:cxnLst>
              <a:rect l="0" t="0" r="r" b="b"/>
              <a:pathLst>
                <a:path w="131" h="206">
                  <a:moveTo>
                    <a:pt x="82" y="0"/>
                  </a:moveTo>
                  <a:lnTo>
                    <a:pt x="131" y="18"/>
                  </a:lnTo>
                  <a:lnTo>
                    <a:pt x="123" y="38"/>
                  </a:lnTo>
                  <a:lnTo>
                    <a:pt x="56" y="198"/>
                  </a:lnTo>
                  <a:lnTo>
                    <a:pt x="51" y="206"/>
                  </a:lnTo>
                  <a:lnTo>
                    <a:pt x="0" y="180"/>
                  </a:lnTo>
                  <a:lnTo>
                    <a:pt x="15" y="48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Freeform 270"/>
            <p:cNvSpPr>
              <a:spLocks/>
            </p:cNvSpPr>
            <p:nvPr/>
          </p:nvSpPr>
          <p:spPr bwMode="auto">
            <a:xfrm>
              <a:off x="3186897" y="2476727"/>
              <a:ext cx="63657" cy="9002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06" y="4"/>
                </a:cxn>
                <a:cxn ang="0">
                  <a:pos x="120" y="13"/>
                </a:cxn>
                <a:cxn ang="0">
                  <a:pos x="132" y="28"/>
                </a:cxn>
                <a:cxn ang="0">
                  <a:pos x="138" y="48"/>
                </a:cxn>
                <a:cxn ang="0">
                  <a:pos x="140" y="71"/>
                </a:cxn>
                <a:cxn ang="0">
                  <a:pos x="138" y="97"/>
                </a:cxn>
                <a:cxn ang="0">
                  <a:pos x="130" y="123"/>
                </a:cxn>
                <a:cxn ang="0">
                  <a:pos x="115" y="152"/>
                </a:cxn>
                <a:cxn ang="0">
                  <a:pos x="96" y="175"/>
                </a:cxn>
                <a:cxn ang="0">
                  <a:pos x="75" y="190"/>
                </a:cxn>
                <a:cxn ang="0">
                  <a:pos x="53" y="198"/>
                </a:cxn>
                <a:cxn ang="0">
                  <a:pos x="32" y="195"/>
                </a:cxn>
                <a:cxn ang="0">
                  <a:pos x="18" y="185"/>
                </a:cxn>
                <a:cxn ang="0">
                  <a:pos x="8" y="170"/>
                </a:cxn>
                <a:cxn ang="0">
                  <a:pos x="1" y="151"/>
                </a:cxn>
                <a:cxn ang="0">
                  <a:pos x="0" y="128"/>
                </a:cxn>
                <a:cxn ang="0">
                  <a:pos x="1" y="102"/>
                </a:cxn>
                <a:cxn ang="0">
                  <a:pos x="9" y="75"/>
                </a:cxn>
                <a:cxn ang="0">
                  <a:pos x="21" y="51"/>
                </a:cxn>
                <a:cxn ang="0">
                  <a:pos x="36" y="31"/>
                </a:cxn>
                <a:cxn ang="0">
                  <a:pos x="52" y="15"/>
                </a:cxn>
                <a:cxn ang="0">
                  <a:pos x="70" y="5"/>
                </a:cxn>
                <a:cxn ang="0">
                  <a:pos x="89" y="0"/>
                </a:cxn>
              </a:cxnLst>
              <a:rect l="0" t="0" r="r" b="b"/>
              <a:pathLst>
                <a:path w="140" h="198">
                  <a:moveTo>
                    <a:pt x="89" y="0"/>
                  </a:moveTo>
                  <a:lnTo>
                    <a:pt x="106" y="4"/>
                  </a:lnTo>
                  <a:lnTo>
                    <a:pt x="120" y="13"/>
                  </a:lnTo>
                  <a:lnTo>
                    <a:pt x="132" y="28"/>
                  </a:lnTo>
                  <a:lnTo>
                    <a:pt x="138" y="48"/>
                  </a:lnTo>
                  <a:lnTo>
                    <a:pt x="140" y="71"/>
                  </a:lnTo>
                  <a:lnTo>
                    <a:pt x="138" y="97"/>
                  </a:lnTo>
                  <a:lnTo>
                    <a:pt x="130" y="123"/>
                  </a:lnTo>
                  <a:lnTo>
                    <a:pt x="115" y="152"/>
                  </a:lnTo>
                  <a:lnTo>
                    <a:pt x="96" y="175"/>
                  </a:lnTo>
                  <a:lnTo>
                    <a:pt x="75" y="190"/>
                  </a:lnTo>
                  <a:lnTo>
                    <a:pt x="53" y="198"/>
                  </a:lnTo>
                  <a:lnTo>
                    <a:pt x="32" y="195"/>
                  </a:lnTo>
                  <a:lnTo>
                    <a:pt x="18" y="185"/>
                  </a:lnTo>
                  <a:lnTo>
                    <a:pt x="8" y="170"/>
                  </a:lnTo>
                  <a:lnTo>
                    <a:pt x="1" y="151"/>
                  </a:lnTo>
                  <a:lnTo>
                    <a:pt x="0" y="128"/>
                  </a:lnTo>
                  <a:lnTo>
                    <a:pt x="1" y="102"/>
                  </a:lnTo>
                  <a:lnTo>
                    <a:pt x="9" y="75"/>
                  </a:lnTo>
                  <a:lnTo>
                    <a:pt x="21" y="51"/>
                  </a:lnTo>
                  <a:lnTo>
                    <a:pt x="36" y="31"/>
                  </a:lnTo>
                  <a:lnTo>
                    <a:pt x="52" y="15"/>
                  </a:lnTo>
                  <a:lnTo>
                    <a:pt x="70" y="5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1" name="Freeform 271"/>
            <p:cNvSpPr>
              <a:spLocks/>
            </p:cNvSpPr>
            <p:nvPr/>
          </p:nvSpPr>
          <p:spPr bwMode="auto">
            <a:xfrm>
              <a:off x="3203266" y="2499007"/>
              <a:ext cx="33192" cy="4683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5" y="0"/>
                </a:cxn>
                <a:cxn ang="0">
                  <a:pos x="66" y="9"/>
                </a:cxn>
                <a:cxn ang="0">
                  <a:pos x="71" y="23"/>
                </a:cxn>
                <a:cxn ang="0">
                  <a:pos x="73" y="43"/>
                </a:cxn>
                <a:cxn ang="0">
                  <a:pos x="68" y="64"/>
                </a:cxn>
                <a:cxn ang="0">
                  <a:pos x="58" y="82"/>
                </a:cxn>
                <a:cxn ang="0">
                  <a:pos x="44" y="97"/>
                </a:cxn>
                <a:cxn ang="0">
                  <a:pos x="31" y="103"/>
                </a:cxn>
                <a:cxn ang="0">
                  <a:pos x="16" y="103"/>
                </a:cxn>
                <a:cxn ang="0">
                  <a:pos x="6" y="95"/>
                </a:cxn>
                <a:cxn ang="0">
                  <a:pos x="0" y="79"/>
                </a:cxn>
                <a:cxn ang="0">
                  <a:pos x="0" y="61"/>
                </a:cxn>
                <a:cxn ang="0">
                  <a:pos x="4" y="40"/>
                </a:cxn>
                <a:cxn ang="0">
                  <a:pos x="14" y="22"/>
                </a:cxn>
                <a:cxn ang="0">
                  <a:pos x="27" y="7"/>
                </a:cxn>
                <a:cxn ang="0">
                  <a:pos x="42" y="0"/>
                </a:cxn>
              </a:cxnLst>
              <a:rect l="0" t="0" r="r" b="b"/>
              <a:pathLst>
                <a:path w="73" h="103">
                  <a:moveTo>
                    <a:pt x="42" y="0"/>
                  </a:moveTo>
                  <a:lnTo>
                    <a:pt x="55" y="0"/>
                  </a:lnTo>
                  <a:lnTo>
                    <a:pt x="66" y="9"/>
                  </a:lnTo>
                  <a:lnTo>
                    <a:pt x="71" y="23"/>
                  </a:lnTo>
                  <a:lnTo>
                    <a:pt x="73" y="43"/>
                  </a:lnTo>
                  <a:lnTo>
                    <a:pt x="68" y="64"/>
                  </a:lnTo>
                  <a:lnTo>
                    <a:pt x="58" y="82"/>
                  </a:lnTo>
                  <a:lnTo>
                    <a:pt x="44" y="97"/>
                  </a:lnTo>
                  <a:lnTo>
                    <a:pt x="31" y="103"/>
                  </a:lnTo>
                  <a:lnTo>
                    <a:pt x="16" y="103"/>
                  </a:lnTo>
                  <a:lnTo>
                    <a:pt x="6" y="95"/>
                  </a:lnTo>
                  <a:lnTo>
                    <a:pt x="0" y="79"/>
                  </a:lnTo>
                  <a:lnTo>
                    <a:pt x="0" y="61"/>
                  </a:lnTo>
                  <a:lnTo>
                    <a:pt x="4" y="40"/>
                  </a:lnTo>
                  <a:lnTo>
                    <a:pt x="14" y="22"/>
                  </a:lnTo>
                  <a:lnTo>
                    <a:pt x="27" y="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" name="Freeform 272"/>
            <p:cNvSpPr>
              <a:spLocks/>
            </p:cNvSpPr>
            <p:nvPr/>
          </p:nvSpPr>
          <p:spPr bwMode="auto">
            <a:xfrm>
              <a:off x="3203266" y="2500826"/>
              <a:ext cx="30010" cy="42286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50" y="0"/>
                </a:cxn>
                <a:cxn ang="0">
                  <a:pos x="60" y="8"/>
                </a:cxn>
                <a:cxn ang="0">
                  <a:pos x="65" y="21"/>
                </a:cxn>
                <a:cxn ang="0">
                  <a:pos x="66" y="37"/>
                </a:cxn>
                <a:cxn ang="0">
                  <a:pos x="62" y="57"/>
                </a:cxn>
                <a:cxn ang="0">
                  <a:pos x="52" y="73"/>
                </a:cxn>
                <a:cxn ang="0">
                  <a:pos x="40" y="86"/>
                </a:cxn>
                <a:cxn ang="0">
                  <a:pos x="27" y="93"/>
                </a:cxn>
                <a:cxn ang="0">
                  <a:pos x="16" y="91"/>
                </a:cxn>
                <a:cxn ang="0">
                  <a:pos x="6" y="84"/>
                </a:cxn>
                <a:cxn ang="0">
                  <a:pos x="0" y="70"/>
                </a:cxn>
                <a:cxn ang="0">
                  <a:pos x="0" y="53"/>
                </a:cxn>
                <a:cxn ang="0">
                  <a:pos x="4" y="36"/>
                </a:cxn>
                <a:cxn ang="0">
                  <a:pos x="14" y="18"/>
                </a:cxn>
                <a:cxn ang="0">
                  <a:pos x="26" y="6"/>
                </a:cxn>
                <a:cxn ang="0">
                  <a:pos x="39" y="0"/>
                </a:cxn>
              </a:cxnLst>
              <a:rect l="0" t="0" r="r" b="b"/>
              <a:pathLst>
                <a:path w="66" h="93">
                  <a:moveTo>
                    <a:pt x="39" y="0"/>
                  </a:moveTo>
                  <a:lnTo>
                    <a:pt x="50" y="0"/>
                  </a:lnTo>
                  <a:lnTo>
                    <a:pt x="60" y="8"/>
                  </a:lnTo>
                  <a:lnTo>
                    <a:pt x="65" y="21"/>
                  </a:lnTo>
                  <a:lnTo>
                    <a:pt x="66" y="37"/>
                  </a:lnTo>
                  <a:lnTo>
                    <a:pt x="62" y="57"/>
                  </a:lnTo>
                  <a:lnTo>
                    <a:pt x="52" y="73"/>
                  </a:lnTo>
                  <a:lnTo>
                    <a:pt x="40" y="86"/>
                  </a:lnTo>
                  <a:lnTo>
                    <a:pt x="27" y="93"/>
                  </a:lnTo>
                  <a:lnTo>
                    <a:pt x="16" y="91"/>
                  </a:lnTo>
                  <a:lnTo>
                    <a:pt x="6" y="84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4" y="36"/>
                  </a:lnTo>
                  <a:lnTo>
                    <a:pt x="14" y="18"/>
                  </a:lnTo>
                  <a:lnTo>
                    <a:pt x="26" y="6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3" name="Freeform 273"/>
            <p:cNvSpPr>
              <a:spLocks/>
            </p:cNvSpPr>
            <p:nvPr/>
          </p:nvSpPr>
          <p:spPr bwMode="auto">
            <a:xfrm>
              <a:off x="2923631" y="2232103"/>
              <a:ext cx="566546" cy="359661"/>
            </a:xfrm>
            <a:custGeom>
              <a:avLst/>
              <a:gdLst/>
              <a:ahLst/>
              <a:cxnLst>
                <a:cxn ang="0">
                  <a:pos x="969" y="1"/>
                </a:cxn>
                <a:cxn ang="0">
                  <a:pos x="985" y="5"/>
                </a:cxn>
                <a:cxn ang="0">
                  <a:pos x="1221" y="111"/>
                </a:cxn>
                <a:cxn ang="0">
                  <a:pos x="1241" y="145"/>
                </a:cxn>
                <a:cxn ang="0">
                  <a:pos x="1246" y="174"/>
                </a:cxn>
                <a:cxn ang="0">
                  <a:pos x="1244" y="248"/>
                </a:cxn>
                <a:cxn ang="0">
                  <a:pos x="1243" y="263"/>
                </a:cxn>
                <a:cxn ang="0">
                  <a:pos x="1233" y="302"/>
                </a:cxn>
                <a:cxn ang="0">
                  <a:pos x="1202" y="352"/>
                </a:cxn>
                <a:cxn ang="0">
                  <a:pos x="1190" y="307"/>
                </a:cxn>
                <a:cxn ang="0">
                  <a:pos x="1161" y="281"/>
                </a:cxn>
                <a:cxn ang="0">
                  <a:pos x="1120" y="281"/>
                </a:cxn>
                <a:cxn ang="0">
                  <a:pos x="1081" y="310"/>
                </a:cxn>
                <a:cxn ang="0">
                  <a:pos x="1050" y="359"/>
                </a:cxn>
                <a:cxn ang="0">
                  <a:pos x="1040" y="424"/>
                </a:cxn>
                <a:cxn ang="0">
                  <a:pos x="724" y="641"/>
                </a:cxn>
                <a:cxn ang="0">
                  <a:pos x="725" y="586"/>
                </a:cxn>
                <a:cxn ang="0">
                  <a:pos x="704" y="545"/>
                </a:cxn>
                <a:cxn ang="0">
                  <a:pos x="667" y="530"/>
                </a:cxn>
                <a:cxn ang="0">
                  <a:pos x="624" y="545"/>
                </a:cxn>
                <a:cxn ang="0">
                  <a:pos x="590" y="584"/>
                </a:cxn>
                <a:cxn ang="0">
                  <a:pos x="569" y="640"/>
                </a:cxn>
                <a:cxn ang="0">
                  <a:pos x="567" y="690"/>
                </a:cxn>
                <a:cxn ang="0">
                  <a:pos x="577" y="718"/>
                </a:cxn>
                <a:cxn ang="0">
                  <a:pos x="497" y="775"/>
                </a:cxn>
                <a:cxn ang="0">
                  <a:pos x="445" y="791"/>
                </a:cxn>
                <a:cxn ang="0">
                  <a:pos x="409" y="790"/>
                </a:cxn>
                <a:cxn ang="0">
                  <a:pos x="391" y="785"/>
                </a:cxn>
                <a:cxn ang="0">
                  <a:pos x="42" y="594"/>
                </a:cxn>
                <a:cxn ang="0">
                  <a:pos x="14" y="564"/>
                </a:cxn>
                <a:cxn ang="0">
                  <a:pos x="3" y="520"/>
                </a:cxn>
                <a:cxn ang="0">
                  <a:pos x="0" y="465"/>
                </a:cxn>
                <a:cxn ang="0">
                  <a:pos x="13" y="416"/>
                </a:cxn>
                <a:cxn ang="0">
                  <a:pos x="40" y="377"/>
                </a:cxn>
                <a:cxn ang="0">
                  <a:pos x="68" y="352"/>
                </a:cxn>
                <a:cxn ang="0">
                  <a:pos x="81" y="343"/>
                </a:cxn>
                <a:cxn ang="0">
                  <a:pos x="900" y="6"/>
                </a:cxn>
                <a:cxn ang="0">
                  <a:pos x="951" y="0"/>
                </a:cxn>
              </a:cxnLst>
              <a:rect l="0" t="0" r="r" b="b"/>
              <a:pathLst>
                <a:path w="1246" h="791">
                  <a:moveTo>
                    <a:pt x="951" y="0"/>
                  </a:moveTo>
                  <a:lnTo>
                    <a:pt x="969" y="1"/>
                  </a:lnTo>
                  <a:lnTo>
                    <a:pt x="980" y="3"/>
                  </a:lnTo>
                  <a:lnTo>
                    <a:pt x="985" y="5"/>
                  </a:lnTo>
                  <a:lnTo>
                    <a:pt x="1203" y="98"/>
                  </a:lnTo>
                  <a:lnTo>
                    <a:pt x="1221" y="111"/>
                  </a:lnTo>
                  <a:lnTo>
                    <a:pt x="1233" y="127"/>
                  </a:lnTo>
                  <a:lnTo>
                    <a:pt x="1241" y="145"/>
                  </a:lnTo>
                  <a:lnTo>
                    <a:pt x="1244" y="161"/>
                  </a:lnTo>
                  <a:lnTo>
                    <a:pt x="1246" y="174"/>
                  </a:lnTo>
                  <a:lnTo>
                    <a:pt x="1246" y="187"/>
                  </a:lnTo>
                  <a:lnTo>
                    <a:pt x="1244" y="248"/>
                  </a:lnTo>
                  <a:lnTo>
                    <a:pt x="1244" y="253"/>
                  </a:lnTo>
                  <a:lnTo>
                    <a:pt x="1243" y="263"/>
                  </a:lnTo>
                  <a:lnTo>
                    <a:pt x="1241" y="281"/>
                  </a:lnTo>
                  <a:lnTo>
                    <a:pt x="1233" y="302"/>
                  </a:lnTo>
                  <a:lnTo>
                    <a:pt x="1221" y="326"/>
                  </a:lnTo>
                  <a:lnTo>
                    <a:pt x="1202" y="352"/>
                  </a:lnTo>
                  <a:lnTo>
                    <a:pt x="1199" y="328"/>
                  </a:lnTo>
                  <a:lnTo>
                    <a:pt x="1190" y="307"/>
                  </a:lnTo>
                  <a:lnTo>
                    <a:pt x="1177" y="290"/>
                  </a:lnTo>
                  <a:lnTo>
                    <a:pt x="1161" y="281"/>
                  </a:lnTo>
                  <a:lnTo>
                    <a:pt x="1141" y="277"/>
                  </a:lnTo>
                  <a:lnTo>
                    <a:pt x="1120" y="281"/>
                  </a:lnTo>
                  <a:lnTo>
                    <a:pt x="1099" y="292"/>
                  </a:lnTo>
                  <a:lnTo>
                    <a:pt x="1081" y="310"/>
                  </a:lnTo>
                  <a:lnTo>
                    <a:pt x="1063" y="331"/>
                  </a:lnTo>
                  <a:lnTo>
                    <a:pt x="1050" y="359"/>
                  </a:lnTo>
                  <a:lnTo>
                    <a:pt x="1042" y="391"/>
                  </a:lnTo>
                  <a:lnTo>
                    <a:pt x="1040" y="424"/>
                  </a:lnTo>
                  <a:lnTo>
                    <a:pt x="1045" y="452"/>
                  </a:lnTo>
                  <a:lnTo>
                    <a:pt x="724" y="641"/>
                  </a:lnTo>
                  <a:lnTo>
                    <a:pt x="727" y="612"/>
                  </a:lnTo>
                  <a:lnTo>
                    <a:pt x="725" y="586"/>
                  </a:lnTo>
                  <a:lnTo>
                    <a:pt x="717" y="563"/>
                  </a:lnTo>
                  <a:lnTo>
                    <a:pt x="704" y="545"/>
                  </a:lnTo>
                  <a:lnTo>
                    <a:pt x="686" y="533"/>
                  </a:lnTo>
                  <a:lnTo>
                    <a:pt x="667" y="530"/>
                  </a:lnTo>
                  <a:lnTo>
                    <a:pt x="646" y="533"/>
                  </a:lnTo>
                  <a:lnTo>
                    <a:pt x="624" y="545"/>
                  </a:lnTo>
                  <a:lnTo>
                    <a:pt x="606" y="563"/>
                  </a:lnTo>
                  <a:lnTo>
                    <a:pt x="590" y="584"/>
                  </a:lnTo>
                  <a:lnTo>
                    <a:pt x="577" y="612"/>
                  </a:lnTo>
                  <a:lnTo>
                    <a:pt x="569" y="640"/>
                  </a:lnTo>
                  <a:lnTo>
                    <a:pt x="566" y="666"/>
                  </a:lnTo>
                  <a:lnTo>
                    <a:pt x="567" y="690"/>
                  </a:lnTo>
                  <a:lnTo>
                    <a:pt x="574" y="711"/>
                  </a:lnTo>
                  <a:lnTo>
                    <a:pt x="577" y="718"/>
                  </a:lnTo>
                  <a:lnTo>
                    <a:pt x="582" y="724"/>
                  </a:lnTo>
                  <a:lnTo>
                    <a:pt x="497" y="775"/>
                  </a:lnTo>
                  <a:lnTo>
                    <a:pt x="469" y="786"/>
                  </a:lnTo>
                  <a:lnTo>
                    <a:pt x="445" y="791"/>
                  </a:lnTo>
                  <a:lnTo>
                    <a:pt x="425" y="791"/>
                  </a:lnTo>
                  <a:lnTo>
                    <a:pt x="409" y="790"/>
                  </a:lnTo>
                  <a:lnTo>
                    <a:pt x="399" y="788"/>
                  </a:lnTo>
                  <a:lnTo>
                    <a:pt x="391" y="785"/>
                  </a:lnTo>
                  <a:lnTo>
                    <a:pt x="389" y="783"/>
                  </a:lnTo>
                  <a:lnTo>
                    <a:pt x="42" y="594"/>
                  </a:lnTo>
                  <a:lnTo>
                    <a:pt x="26" y="582"/>
                  </a:lnTo>
                  <a:lnTo>
                    <a:pt x="14" y="564"/>
                  </a:lnTo>
                  <a:lnTo>
                    <a:pt x="8" y="543"/>
                  </a:lnTo>
                  <a:lnTo>
                    <a:pt x="3" y="520"/>
                  </a:lnTo>
                  <a:lnTo>
                    <a:pt x="0" y="499"/>
                  </a:lnTo>
                  <a:lnTo>
                    <a:pt x="0" y="465"/>
                  </a:lnTo>
                  <a:lnTo>
                    <a:pt x="3" y="439"/>
                  </a:lnTo>
                  <a:lnTo>
                    <a:pt x="13" y="416"/>
                  </a:lnTo>
                  <a:lnTo>
                    <a:pt x="26" y="395"/>
                  </a:lnTo>
                  <a:lnTo>
                    <a:pt x="40" y="377"/>
                  </a:lnTo>
                  <a:lnTo>
                    <a:pt x="55" y="362"/>
                  </a:lnTo>
                  <a:lnTo>
                    <a:pt x="68" y="352"/>
                  </a:lnTo>
                  <a:lnTo>
                    <a:pt x="78" y="344"/>
                  </a:lnTo>
                  <a:lnTo>
                    <a:pt x="81" y="343"/>
                  </a:lnTo>
                  <a:lnTo>
                    <a:pt x="783" y="24"/>
                  </a:lnTo>
                  <a:lnTo>
                    <a:pt x="900" y="6"/>
                  </a:lnTo>
                  <a:lnTo>
                    <a:pt x="928" y="1"/>
                  </a:lnTo>
                  <a:lnTo>
                    <a:pt x="951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4" name="Freeform 274"/>
            <p:cNvSpPr>
              <a:spLocks/>
            </p:cNvSpPr>
            <p:nvPr/>
          </p:nvSpPr>
          <p:spPr bwMode="auto">
            <a:xfrm>
              <a:off x="2932270" y="2400339"/>
              <a:ext cx="33647" cy="5501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4" y="4"/>
                </a:cxn>
                <a:cxn ang="0">
                  <a:pos x="59" y="15"/>
                </a:cxn>
                <a:cxn ang="0">
                  <a:pos x="69" y="35"/>
                </a:cxn>
                <a:cxn ang="0">
                  <a:pos x="74" y="57"/>
                </a:cxn>
                <a:cxn ang="0">
                  <a:pos x="74" y="80"/>
                </a:cxn>
                <a:cxn ang="0">
                  <a:pos x="67" y="100"/>
                </a:cxn>
                <a:cxn ang="0">
                  <a:pos x="56" y="115"/>
                </a:cxn>
                <a:cxn ang="0">
                  <a:pos x="43" y="121"/>
                </a:cxn>
                <a:cxn ang="0">
                  <a:pos x="28" y="118"/>
                </a:cxn>
                <a:cxn ang="0">
                  <a:pos x="15" y="106"/>
                </a:cxn>
                <a:cxn ang="0">
                  <a:pos x="5" y="87"/>
                </a:cxn>
                <a:cxn ang="0">
                  <a:pos x="0" y="64"/>
                </a:cxn>
                <a:cxn ang="0">
                  <a:pos x="0" y="41"/>
                </a:cxn>
                <a:cxn ang="0">
                  <a:pos x="7" y="20"/>
                </a:cxn>
                <a:cxn ang="0">
                  <a:pos x="16" y="7"/>
                </a:cxn>
                <a:cxn ang="0">
                  <a:pos x="29" y="0"/>
                </a:cxn>
              </a:cxnLst>
              <a:rect l="0" t="0" r="r" b="b"/>
              <a:pathLst>
                <a:path w="74" h="121">
                  <a:moveTo>
                    <a:pt x="29" y="0"/>
                  </a:moveTo>
                  <a:lnTo>
                    <a:pt x="44" y="4"/>
                  </a:lnTo>
                  <a:lnTo>
                    <a:pt x="59" y="15"/>
                  </a:lnTo>
                  <a:lnTo>
                    <a:pt x="69" y="35"/>
                  </a:lnTo>
                  <a:lnTo>
                    <a:pt x="74" y="57"/>
                  </a:lnTo>
                  <a:lnTo>
                    <a:pt x="74" y="80"/>
                  </a:lnTo>
                  <a:lnTo>
                    <a:pt x="67" y="100"/>
                  </a:lnTo>
                  <a:lnTo>
                    <a:pt x="56" y="115"/>
                  </a:lnTo>
                  <a:lnTo>
                    <a:pt x="43" y="121"/>
                  </a:lnTo>
                  <a:lnTo>
                    <a:pt x="28" y="118"/>
                  </a:lnTo>
                  <a:lnTo>
                    <a:pt x="15" y="106"/>
                  </a:lnTo>
                  <a:lnTo>
                    <a:pt x="5" y="87"/>
                  </a:lnTo>
                  <a:lnTo>
                    <a:pt x="0" y="64"/>
                  </a:lnTo>
                  <a:lnTo>
                    <a:pt x="0" y="41"/>
                  </a:lnTo>
                  <a:lnTo>
                    <a:pt x="7" y="20"/>
                  </a:lnTo>
                  <a:lnTo>
                    <a:pt x="16" y="7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5" name="Freeform 275"/>
            <p:cNvSpPr>
              <a:spLocks/>
            </p:cNvSpPr>
            <p:nvPr/>
          </p:nvSpPr>
          <p:spPr bwMode="auto">
            <a:xfrm>
              <a:off x="3086411" y="2488549"/>
              <a:ext cx="46833" cy="4910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74" y="0"/>
                </a:cxn>
                <a:cxn ang="0">
                  <a:pos x="89" y="5"/>
                </a:cxn>
                <a:cxn ang="0">
                  <a:pos x="98" y="15"/>
                </a:cxn>
                <a:cxn ang="0">
                  <a:pos x="103" y="28"/>
                </a:cxn>
                <a:cxn ang="0">
                  <a:pos x="103" y="45"/>
                </a:cxn>
                <a:cxn ang="0">
                  <a:pos x="98" y="61"/>
                </a:cxn>
                <a:cxn ang="0">
                  <a:pos x="89" y="77"/>
                </a:cxn>
                <a:cxn ang="0">
                  <a:pos x="71" y="95"/>
                </a:cxn>
                <a:cxn ang="0">
                  <a:pos x="51" y="105"/>
                </a:cxn>
                <a:cxn ang="0">
                  <a:pos x="33" y="108"/>
                </a:cxn>
                <a:cxn ang="0">
                  <a:pos x="15" y="103"/>
                </a:cxn>
                <a:cxn ang="0">
                  <a:pos x="5" y="94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5" y="48"/>
                </a:cxn>
                <a:cxn ang="0">
                  <a:pos x="15" y="32"/>
                </a:cxn>
                <a:cxn ang="0">
                  <a:pos x="28" y="17"/>
                </a:cxn>
                <a:cxn ang="0">
                  <a:pos x="43" y="7"/>
                </a:cxn>
                <a:cxn ang="0">
                  <a:pos x="59" y="0"/>
                </a:cxn>
              </a:cxnLst>
              <a:rect l="0" t="0" r="r" b="b"/>
              <a:pathLst>
                <a:path w="103" h="108">
                  <a:moveTo>
                    <a:pt x="59" y="0"/>
                  </a:moveTo>
                  <a:lnTo>
                    <a:pt x="74" y="0"/>
                  </a:lnTo>
                  <a:lnTo>
                    <a:pt x="89" y="5"/>
                  </a:lnTo>
                  <a:lnTo>
                    <a:pt x="98" y="15"/>
                  </a:lnTo>
                  <a:lnTo>
                    <a:pt x="103" y="28"/>
                  </a:lnTo>
                  <a:lnTo>
                    <a:pt x="103" y="45"/>
                  </a:lnTo>
                  <a:lnTo>
                    <a:pt x="98" y="61"/>
                  </a:lnTo>
                  <a:lnTo>
                    <a:pt x="89" y="77"/>
                  </a:lnTo>
                  <a:lnTo>
                    <a:pt x="71" y="95"/>
                  </a:lnTo>
                  <a:lnTo>
                    <a:pt x="51" y="105"/>
                  </a:lnTo>
                  <a:lnTo>
                    <a:pt x="33" y="108"/>
                  </a:lnTo>
                  <a:lnTo>
                    <a:pt x="15" y="103"/>
                  </a:lnTo>
                  <a:lnTo>
                    <a:pt x="5" y="94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5" y="48"/>
                  </a:lnTo>
                  <a:lnTo>
                    <a:pt x="15" y="32"/>
                  </a:lnTo>
                  <a:lnTo>
                    <a:pt x="28" y="17"/>
                  </a:lnTo>
                  <a:lnTo>
                    <a:pt x="43" y="7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6" name="Freeform 276"/>
            <p:cNvSpPr>
              <a:spLocks/>
            </p:cNvSpPr>
            <p:nvPr/>
          </p:nvSpPr>
          <p:spPr bwMode="auto">
            <a:xfrm>
              <a:off x="3055492" y="2232103"/>
              <a:ext cx="376030" cy="190061"/>
            </a:xfrm>
            <a:custGeom>
              <a:avLst/>
              <a:gdLst/>
              <a:ahLst/>
              <a:cxnLst>
                <a:cxn ang="0">
                  <a:pos x="457" y="0"/>
                </a:cxn>
                <a:cxn ang="0">
                  <a:pos x="571" y="18"/>
                </a:cxn>
                <a:cxn ang="0">
                  <a:pos x="603" y="24"/>
                </a:cxn>
                <a:cxn ang="0">
                  <a:pos x="636" y="34"/>
                </a:cxn>
                <a:cxn ang="0">
                  <a:pos x="667" y="45"/>
                </a:cxn>
                <a:cxn ang="0">
                  <a:pos x="696" y="60"/>
                </a:cxn>
                <a:cxn ang="0">
                  <a:pos x="724" y="75"/>
                </a:cxn>
                <a:cxn ang="0">
                  <a:pos x="750" y="90"/>
                </a:cxn>
                <a:cxn ang="0">
                  <a:pos x="771" y="104"/>
                </a:cxn>
                <a:cxn ang="0">
                  <a:pos x="789" y="116"/>
                </a:cxn>
                <a:cxn ang="0">
                  <a:pos x="804" y="127"/>
                </a:cxn>
                <a:cxn ang="0">
                  <a:pos x="812" y="134"/>
                </a:cxn>
                <a:cxn ang="0">
                  <a:pos x="816" y="135"/>
                </a:cxn>
                <a:cxn ang="0">
                  <a:pos x="825" y="153"/>
                </a:cxn>
                <a:cxn ang="0">
                  <a:pos x="827" y="170"/>
                </a:cxn>
                <a:cxn ang="0">
                  <a:pos x="822" y="184"/>
                </a:cxn>
                <a:cxn ang="0">
                  <a:pos x="814" y="197"/>
                </a:cxn>
                <a:cxn ang="0">
                  <a:pos x="802" y="209"/>
                </a:cxn>
                <a:cxn ang="0">
                  <a:pos x="793" y="217"/>
                </a:cxn>
                <a:cxn ang="0">
                  <a:pos x="786" y="222"/>
                </a:cxn>
                <a:cxn ang="0">
                  <a:pos x="783" y="223"/>
                </a:cxn>
                <a:cxn ang="0">
                  <a:pos x="476" y="385"/>
                </a:cxn>
                <a:cxn ang="0">
                  <a:pos x="447" y="401"/>
                </a:cxn>
                <a:cxn ang="0">
                  <a:pos x="416" y="411"/>
                </a:cxn>
                <a:cxn ang="0">
                  <a:pos x="387" y="416"/>
                </a:cxn>
                <a:cxn ang="0">
                  <a:pos x="360" y="418"/>
                </a:cxn>
                <a:cxn ang="0">
                  <a:pos x="339" y="418"/>
                </a:cxn>
                <a:cxn ang="0">
                  <a:pos x="326" y="416"/>
                </a:cxn>
                <a:cxn ang="0">
                  <a:pos x="321" y="416"/>
                </a:cxn>
                <a:cxn ang="0">
                  <a:pos x="276" y="409"/>
                </a:cxn>
                <a:cxn ang="0">
                  <a:pos x="233" y="398"/>
                </a:cxn>
                <a:cxn ang="0">
                  <a:pos x="194" y="383"/>
                </a:cxn>
                <a:cxn ang="0">
                  <a:pos x="157" y="365"/>
                </a:cxn>
                <a:cxn ang="0">
                  <a:pos x="122" y="346"/>
                </a:cxn>
                <a:cxn ang="0">
                  <a:pos x="91" y="326"/>
                </a:cxn>
                <a:cxn ang="0">
                  <a:pos x="65" y="307"/>
                </a:cxn>
                <a:cxn ang="0">
                  <a:pos x="42" y="287"/>
                </a:cxn>
                <a:cxn ang="0">
                  <a:pos x="24" y="272"/>
                </a:cxn>
                <a:cxn ang="0">
                  <a:pos x="0" y="248"/>
                </a:cxn>
                <a:cxn ang="0">
                  <a:pos x="129" y="112"/>
                </a:cxn>
                <a:cxn ang="0">
                  <a:pos x="155" y="116"/>
                </a:cxn>
                <a:cxn ang="0">
                  <a:pos x="457" y="0"/>
                </a:cxn>
              </a:cxnLst>
              <a:rect l="0" t="0" r="r" b="b"/>
              <a:pathLst>
                <a:path w="827" h="418">
                  <a:moveTo>
                    <a:pt x="457" y="0"/>
                  </a:moveTo>
                  <a:lnTo>
                    <a:pt x="571" y="18"/>
                  </a:lnTo>
                  <a:lnTo>
                    <a:pt x="603" y="24"/>
                  </a:lnTo>
                  <a:lnTo>
                    <a:pt x="636" y="34"/>
                  </a:lnTo>
                  <a:lnTo>
                    <a:pt x="667" y="45"/>
                  </a:lnTo>
                  <a:lnTo>
                    <a:pt x="696" y="60"/>
                  </a:lnTo>
                  <a:lnTo>
                    <a:pt x="724" y="75"/>
                  </a:lnTo>
                  <a:lnTo>
                    <a:pt x="750" y="90"/>
                  </a:lnTo>
                  <a:lnTo>
                    <a:pt x="771" y="104"/>
                  </a:lnTo>
                  <a:lnTo>
                    <a:pt x="789" y="116"/>
                  </a:lnTo>
                  <a:lnTo>
                    <a:pt x="804" y="127"/>
                  </a:lnTo>
                  <a:lnTo>
                    <a:pt x="812" y="134"/>
                  </a:lnTo>
                  <a:lnTo>
                    <a:pt x="816" y="135"/>
                  </a:lnTo>
                  <a:lnTo>
                    <a:pt x="825" y="153"/>
                  </a:lnTo>
                  <a:lnTo>
                    <a:pt x="827" y="170"/>
                  </a:lnTo>
                  <a:lnTo>
                    <a:pt x="822" y="184"/>
                  </a:lnTo>
                  <a:lnTo>
                    <a:pt x="814" y="197"/>
                  </a:lnTo>
                  <a:lnTo>
                    <a:pt x="802" y="209"/>
                  </a:lnTo>
                  <a:lnTo>
                    <a:pt x="793" y="217"/>
                  </a:lnTo>
                  <a:lnTo>
                    <a:pt x="786" y="222"/>
                  </a:lnTo>
                  <a:lnTo>
                    <a:pt x="783" y="223"/>
                  </a:lnTo>
                  <a:lnTo>
                    <a:pt x="476" y="385"/>
                  </a:lnTo>
                  <a:lnTo>
                    <a:pt x="447" y="401"/>
                  </a:lnTo>
                  <a:lnTo>
                    <a:pt x="416" y="411"/>
                  </a:lnTo>
                  <a:lnTo>
                    <a:pt x="387" y="416"/>
                  </a:lnTo>
                  <a:lnTo>
                    <a:pt x="360" y="418"/>
                  </a:lnTo>
                  <a:lnTo>
                    <a:pt x="339" y="418"/>
                  </a:lnTo>
                  <a:lnTo>
                    <a:pt x="326" y="416"/>
                  </a:lnTo>
                  <a:lnTo>
                    <a:pt x="321" y="416"/>
                  </a:lnTo>
                  <a:lnTo>
                    <a:pt x="276" y="409"/>
                  </a:lnTo>
                  <a:lnTo>
                    <a:pt x="233" y="398"/>
                  </a:lnTo>
                  <a:lnTo>
                    <a:pt x="194" y="383"/>
                  </a:lnTo>
                  <a:lnTo>
                    <a:pt x="157" y="365"/>
                  </a:lnTo>
                  <a:lnTo>
                    <a:pt x="122" y="346"/>
                  </a:lnTo>
                  <a:lnTo>
                    <a:pt x="91" y="326"/>
                  </a:lnTo>
                  <a:lnTo>
                    <a:pt x="65" y="307"/>
                  </a:lnTo>
                  <a:lnTo>
                    <a:pt x="42" y="287"/>
                  </a:lnTo>
                  <a:lnTo>
                    <a:pt x="24" y="272"/>
                  </a:lnTo>
                  <a:lnTo>
                    <a:pt x="0" y="248"/>
                  </a:lnTo>
                  <a:lnTo>
                    <a:pt x="129" y="112"/>
                  </a:lnTo>
                  <a:lnTo>
                    <a:pt x="155" y="116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Freeform 277"/>
            <p:cNvSpPr>
              <a:spLocks/>
            </p:cNvSpPr>
            <p:nvPr/>
          </p:nvSpPr>
          <p:spPr bwMode="auto">
            <a:xfrm>
              <a:off x="3111873" y="2232103"/>
              <a:ext cx="265540" cy="115037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342" y="0"/>
                </a:cxn>
                <a:cxn ang="0">
                  <a:pos x="357" y="3"/>
                </a:cxn>
                <a:cxn ang="0">
                  <a:pos x="373" y="10"/>
                </a:cxn>
                <a:cxn ang="0">
                  <a:pos x="563" y="94"/>
                </a:cxn>
                <a:cxn ang="0">
                  <a:pos x="577" y="103"/>
                </a:cxn>
                <a:cxn ang="0">
                  <a:pos x="582" y="112"/>
                </a:cxn>
                <a:cxn ang="0">
                  <a:pos x="584" y="121"/>
                </a:cxn>
                <a:cxn ang="0">
                  <a:pos x="574" y="134"/>
                </a:cxn>
                <a:cxn ang="0">
                  <a:pos x="569" y="137"/>
                </a:cxn>
                <a:cxn ang="0">
                  <a:pos x="568" y="139"/>
                </a:cxn>
                <a:cxn ang="0">
                  <a:pos x="339" y="241"/>
                </a:cxn>
                <a:cxn ang="0">
                  <a:pos x="307" y="251"/>
                </a:cxn>
                <a:cxn ang="0">
                  <a:pos x="279" y="253"/>
                </a:cxn>
                <a:cxn ang="0">
                  <a:pos x="256" y="251"/>
                </a:cxn>
                <a:cxn ang="0">
                  <a:pos x="240" y="248"/>
                </a:cxn>
                <a:cxn ang="0">
                  <a:pos x="228" y="245"/>
                </a:cxn>
                <a:cxn ang="0">
                  <a:pos x="225" y="243"/>
                </a:cxn>
                <a:cxn ang="0">
                  <a:pos x="8" y="134"/>
                </a:cxn>
                <a:cxn ang="0">
                  <a:pos x="6" y="132"/>
                </a:cxn>
                <a:cxn ang="0">
                  <a:pos x="3" y="130"/>
                </a:cxn>
                <a:cxn ang="0">
                  <a:pos x="0" y="121"/>
                </a:cxn>
                <a:cxn ang="0">
                  <a:pos x="3" y="114"/>
                </a:cxn>
                <a:cxn ang="0">
                  <a:pos x="11" y="106"/>
                </a:cxn>
                <a:cxn ang="0">
                  <a:pos x="28" y="98"/>
                </a:cxn>
                <a:cxn ang="0">
                  <a:pos x="315" y="1"/>
                </a:cxn>
                <a:cxn ang="0">
                  <a:pos x="318" y="1"/>
                </a:cxn>
                <a:cxn ang="0">
                  <a:pos x="328" y="0"/>
                </a:cxn>
              </a:cxnLst>
              <a:rect l="0" t="0" r="r" b="b"/>
              <a:pathLst>
                <a:path w="584" h="253">
                  <a:moveTo>
                    <a:pt x="328" y="0"/>
                  </a:moveTo>
                  <a:lnTo>
                    <a:pt x="342" y="0"/>
                  </a:lnTo>
                  <a:lnTo>
                    <a:pt x="357" y="3"/>
                  </a:lnTo>
                  <a:lnTo>
                    <a:pt x="373" y="10"/>
                  </a:lnTo>
                  <a:lnTo>
                    <a:pt x="563" y="94"/>
                  </a:lnTo>
                  <a:lnTo>
                    <a:pt x="577" y="103"/>
                  </a:lnTo>
                  <a:lnTo>
                    <a:pt x="582" y="112"/>
                  </a:lnTo>
                  <a:lnTo>
                    <a:pt x="584" y="121"/>
                  </a:lnTo>
                  <a:lnTo>
                    <a:pt x="574" y="134"/>
                  </a:lnTo>
                  <a:lnTo>
                    <a:pt x="569" y="137"/>
                  </a:lnTo>
                  <a:lnTo>
                    <a:pt x="568" y="139"/>
                  </a:lnTo>
                  <a:lnTo>
                    <a:pt x="339" y="241"/>
                  </a:lnTo>
                  <a:lnTo>
                    <a:pt x="307" y="251"/>
                  </a:lnTo>
                  <a:lnTo>
                    <a:pt x="279" y="253"/>
                  </a:lnTo>
                  <a:lnTo>
                    <a:pt x="256" y="251"/>
                  </a:lnTo>
                  <a:lnTo>
                    <a:pt x="240" y="248"/>
                  </a:lnTo>
                  <a:lnTo>
                    <a:pt x="228" y="245"/>
                  </a:lnTo>
                  <a:lnTo>
                    <a:pt x="225" y="243"/>
                  </a:lnTo>
                  <a:lnTo>
                    <a:pt x="8" y="134"/>
                  </a:lnTo>
                  <a:lnTo>
                    <a:pt x="6" y="132"/>
                  </a:lnTo>
                  <a:lnTo>
                    <a:pt x="3" y="130"/>
                  </a:lnTo>
                  <a:lnTo>
                    <a:pt x="0" y="121"/>
                  </a:lnTo>
                  <a:lnTo>
                    <a:pt x="3" y="114"/>
                  </a:lnTo>
                  <a:lnTo>
                    <a:pt x="11" y="106"/>
                  </a:lnTo>
                  <a:lnTo>
                    <a:pt x="28" y="98"/>
                  </a:lnTo>
                  <a:lnTo>
                    <a:pt x="315" y="1"/>
                  </a:lnTo>
                  <a:lnTo>
                    <a:pt x="318" y="1"/>
                  </a:lnTo>
                  <a:lnTo>
                    <a:pt x="328" y="0"/>
                  </a:lnTo>
                  <a:close/>
                </a:path>
              </a:pathLst>
            </a:custGeom>
            <a:solidFill>
              <a:srgbClr val="AF235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Freeform 278"/>
            <p:cNvSpPr>
              <a:spLocks/>
            </p:cNvSpPr>
            <p:nvPr/>
          </p:nvSpPr>
          <p:spPr bwMode="auto">
            <a:xfrm>
              <a:off x="3355133" y="2281210"/>
              <a:ext cx="90483" cy="6502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99" y="45"/>
                </a:cxn>
                <a:cxn ang="0">
                  <a:pos x="111" y="143"/>
                </a:cxn>
                <a:cxn ang="0">
                  <a:pos x="124" y="125"/>
                </a:cxn>
                <a:cxn ang="0">
                  <a:pos x="130" y="110"/>
                </a:cxn>
                <a:cxn ang="0">
                  <a:pos x="132" y="99"/>
                </a:cxn>
                <a:cxn ang="0">
                  <a:pos x="130" y="91"/>
                </a:cxn>
                <a:cxn ang="0">
                  <a:pos x="126" y="84"/>
                </a:cxn>
                <a:cxn ang="0">
                  <a:pos x="121" y="81"/>
                </a:cxn>
                <a:cxn ang="0">
                  <a:pos x="117" y="78"/>
                </a:cxn>
                <a:cxn ang="0">
                  <a:pos x="116" y="78"/>
                </a:cxn>
                <a:cxn ang="0">
                  <a:pos x="0" y="24"/>
                </a:cxn>
                <a:cxn ang="0">
                  <a:pos x="28" y="0"/>
                </a:cxn>
              </a:cxnLst>
              <a:rect l="0" t="0" r="r" b="b"/>
              <a:pathLst>
                <a:path w="199" h="143">
                  <a:moveTo>
                    <a:pt x="28" y="0"/>
                  </a:moveTo>
                  <a:lnTo>
                    <a:pt x="199" y="45"/>
                  </a:lnTo>
                  <a:lnTo>
                    <a:pt x="111" y="143"/>
                  </a:lnTo>
                  <a:lnTo>
                    <a:pt x="124" y="125"/>
                  </a:lnTo>
                  <a:lnTo>
                    <a:pt x="130" y="110"/>
                  </a:lnTo>
                  <a:lnTo>
                    <a:pt x="132" y="99"/>
                  </a:lnTo>
                  <a:lnTo>
                    <a:pt x="130" y="91"/>
                  </a:lnTo>
                  <a:lnTo>
                    <a:pt x="126" y="84"/>
                  </a:lnTo>
                  <a:lnTo>
                    <a:pt x="121" y="81"/>
                  </a:lnTo>
                  <a:lnTo>
                    <a:pt x="117" y="78"/>
                  </a:lnTo>
                  <a:lnTo>
                    <a:pt x="116" y="78"/>
                  </a:lnTo>
                  <a:lnTo>
                    <a:pt x="0" y="2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Freeform 279"/>
            <p:cNvSpPr>
              <a:spLocks/>
            </p:cNvSpPr>
            <p:nvPr/>
          </p:nvSpPr>
          <p:spPr bwMode="auto">
            <a:xfrm>
              <a:off x="3368319" y="2278027"/>
              <a:ext cx="66840" cy="259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7" y="33"/>
                </a:cxn>
                <a:cxn ang="0">
                  <a:pos x="147" y="57"/>
                </a:cxn>
                <a:cxn ang="0">
                  <a:pos x="38" y="38"/>
                </a:cxn>
                <a:cxn ang="0">
                  <a:pos x="0" y="0"/>
                </a:cxn>
              </a:cxnLst>
              <a:rect l="0" t="0" r="r" b="b"/>
              <a:pathLst>
                <a:path w="147" h="57">
                  <a:moveTo>
                    <a:pt x="0" y="0"/>
                  </a:moveTo>
                  <a:lnTo>
                    <a:pt x="147" y="33"/>
                  </a:lnTo>
                  <a:lnTo>
                    <a:pt x="147" y="57"/>
                  </a:lnTo>
                  <a:lnTo>
                    <a:pt x="38" y="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Freeform 280"/>
            <p:cNvSpPr>
              <a:spLocks/>
            </p:cNvSpPr>
            <p:nvPr/>
          </p:nvSpPr>
          <p:spPr bwMode="auto">
            <a:xfrm>
              <a:off x="3185079" y="2339410"/>
              <a:ext cx="78662" cy="92302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173" y="7"/>
                </a:cxn>
                <a:cxn ang="0">
                  <a:pos x="152" y="15"/>
                </a:cxn>
                <a:cxn ang="0">
                  <a:pos x="137" y="25"/>
                </a:cxn>
                <a:cxn ang="0">
                  <a:pos x="128" y="33"/>
                </a:cxn>
                <a:cxn ang="0">
                  <a:pos x="123" y="41"/>
                </a:cxn>
                <a:cxn ang="0">
                  <a:pos x="119" y="48"/>
                </a:cxn>
                <a:cxn ang="0">
                  <a:pos x="119" y="49"/>
                </a:cxn>
                <a:cxn ang="0">
                  <a:pos x="102" y="141"/>
                </a:cxn>
                <a:cxn ang="0">
                  <a:pos x="102" y="154"/>
                </a:cxn>
                <a:cxn ang="0">
                  <a:pos x="108" y="162"/>
                </a:cxn>
                <a:cxn ang="0">
                  <a:pos x="116" y="169"/>
                </a:cxn>
                <a:cxn ang="0">
                  <a:pos x="128" y="170"/>
                </a:cxn>
                <a:cxn ang="0">
                  <a:pos x="137" y="172"/>
                </a:cxn>
                <a:cxn ang="0">
                  <a:pos x="147" y="172"/>
                </a:cxn>
                <a:cxn ang="0">
                  <a:pos x="136" y="185"/>
                </a:cxn>
                <a:cxn ang="0">
                  <a:pos x="88" y="203"/>
                </a:cxn>
                <a:cxn ang="0">
                  <a:pos x="30" y="201"/>
                </a:cxn>
                <a:cxn ang="0">
                  <a:pos x="0" y="175"/>
                </a:cxn>
                <a:cxn ang="0">
                  <a:pos x="22" y="173"/>
                </a:cxn>
                <a:cxn ang="0">
                  <a:pos x="38" y="169"/>
                </a:cxn>
                <a:cxn ang="0">
                  <a:pos x="51" y="162"/>
                </a:cxn>
                <a:cxn ang="0">
                  <a:pos x="61" y="155"/>
                </a:cxn>
                <a:cxn ang="0">
                  <a:pos x="66" y="147"/>
                </a:cxn>
                <a:cxn ang="0">
                  <a:pos x="69" y="142"/>
                </a:cxn>
                <a:cxn ang="0">
                  <a:pos x="71" y="141"/>
                </a:cxn>
                <a:cxn ang="0">
                  <a:pos x="98" y="53"/>
                </a:cxn>
                <a:cxn ang="0">
                  <a:pos x="98" y="38"/>
                </a:cxn>
                <a:cxn ang="0">
                  <a:pos x="93" y="28"/>
                </a:cxn>
                <a:cxn ang="0">
                  <a:pos x="85" y="18"/>
                </a:cxn>
                <a:cxn ang="0">
                  <a:pos x="66" y="9"/>
                </a:cxn>
                <a:cxn ang="0">
                  <a:pos x="95" y="0"/>
                </a:cxn>
              </a:cxnLst>
              <a:rect l="0" t="0" r="r" b="b"/>
              <a:pathLst>
                <a:path w="173" h="203">
                  <a:moveTo>
                    <a:pt x="95" y="0"/>
                  </a:moveTo>
                  <a:lnTo>
                    <a:pt x="173" y="7"/>
                  </a:lnTo>
                  <a:lnTo>
                    <a:pt x="152" y="15"/>
                  </a:lnTo>
                  <a:lnTo>
                    <a:pt x="137" y="25"/>
                  </a:lnTo>
                  <a:lnTo>
                    <a:pt x="128" y="33"/>
                  </a:lnTo>
                  <a:lnTo>
                    <a:pt x="123" y="41"/>
                  </a:lnTo>
                  <a:lnTo>
                    <a:pt x="119" y="48"/>
                  </a:lnTo>
                  <a:lnTo>
                    <a:pt x="119" y="49"/>
                  </a:lnTo>
                  <a:lnTo>
                    <a:pt x="102" y="141"/>
                  </a:lnTo>
                  <a:lnTo>
                    <a:pt x="102" y="154"/>
                  </a:lnTo>
                  <a:lnTo>
                    <a:pt x="108" y="162"/>
                  </a:lnTo>
                  <a:lnTo>
                    <a:pt x="116" y="169"/>
                  </a:lnTo>
                  <a:lnTo>
                    <a:pt x="128" y="170"/>
                  </a:lnTo>
                  <a:lnTo>
                    <a:pt x="137" y="172"/>
                  </a:lnTo>
                  <a:lnTo>
                    <a:pt x="147" y="172"/>
                  </a:lnTo>
                  <a:lnTo>
                    <a:pt x="136" y="185"/>
                  </a:lnTo>
                  <a:lnTo>
                    <a:pt x="88" y="203"/>
                  </a:lnTo>
                  <a:lnTo>
                    <a:pt x="30" y="201"/>
                  </a:lnTo>
                  <a:lnTo>
                    <a:pt x="0" y="175"/>
                  </a:lnTo>
                  <a:lnTo>
                    <a:pt x="22" y="173"/>
                  </a:lnTo>
                  <a:lnTo>
                    <a:pt x="38" y="169"/>
                  </a:lnTo>
                  <a:lnTo>
                    <a:pt x="51" y="162"/>
                  </a:lnTo>
                  <a:lnTo>
                    <a:pt x="61" y="155"/>
                  </a:lnTo>
                  <a:lnTo>
                    <a:pt x="66" y="147"/>
                  </a:lnTo>
                  <a:lnTo>
                    <a:pt x="69" y="142"/>
                  </a:lnTo>
                  <a:lnTo>
                    <a:pt x="71" y="141"/>
                  </a:lnTo>
                  <a:lnTo>
                    <a:pt x="98" y="53"/>
                  </a:lnTo>
                  <a:lnTo>
                    <a:pt x="98" y="38"/>
                  </a:lnTo>
                  <a:lnTo>
                    <a:pt x="93" y="28"/>
                  </a:lnTo>
                  <a:lnTo>
                    <a:pt x="85" y="18"/>
                  </a:lnTo>
                  <a:lnTo>
                    <a:pt x="66" y="9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871E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57" name="Gruppieren 73"/>
          <p:cNvGrpSpPr/>
          <p:nvPr/>
        </p:nvGrpSpPr>
        <p:grpSpPr>
          <a:xfrm>
            <a:off x="7647350" y="5154416"/>
            <a:ext cx="772331" cy="603061"/>
            <a:chOff x="1748832" y="3137568"/>
            <a:chExt cx="772331" cy="603061"/>
          </a:xfrm>
        </p:grpSpPr>
        <p:sp>
          <p:nvSpPr>
            <p:cNvPr id="158" name="Freeform 210"/>
            <p:cNvSpPr>
              <a:spLocks/>
            </p:cNvSpPr>
            <p:nvPr/>
          </p:nvSpPr>
          <p:spPr bwMode="auto">
            <a:xfrm rot="21422926">
              <a:off x="1748832" y="3318314"/>
              <a:ext cx="772331" cy="422315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1294" y="457"/>
                </a:cxn>
                <a:cxn ang="0">
                  <a:pos x="1320" y="467"/>
                </a:cxn>
                <a:cxn ang="0">
                  <a:pos x="1336" y="478"/>
                </a:cxn>
                <a:cxn ang="0">
                  <a:pos x="1344" y="490"/>
                </a:cxn>
                <a:cxn ang="0">
                  <a:pos x="1346" y="500"/>
                </a:cxn>
                <a:cxn ang="0">
                  <a:pos x="1344" y="509"/>
                </a:cxn>
                <a:cxn ang="0">
                  <a:pos x="1339" y="518"/>
                </a:cxn>
                <a:cxn ang="0">
                  <a:pos x="1326" y="531"/>
                </a:cxn>
                <a:cxn ang="0">
                  <a:pos x="936" y="713"/>
                </a:cxn>
                <a:cxn ang="0">
                  <a:pos x="905" y="728"/>
                </a:cxn>
                <a:cxn ang="0">
                  <a:pos x="878" y="735"/>
                </a:cxn>
                <a:cxn ang="0">
                  <a:pos x="853" y="736"/>
                </a:cxn>
                <a:cxn ang="0">
                  <a:pos x="832" y="733"/>
                </a:cxn>
                <a:cxn ang="0">
                  <a:pos x="814" y="726"/>
                </a:cxn>
                <a:cxn ang="0">
                  <a:pos x="803" y="720"/>
                </a:cxn>
                <a:cxn ang="0">
                  <a:pos x="794" y="715"/>
                </a:cxn>
                <a:cxn ang="0">
                  <a:pos x="791" y="713"/>
                </a:cxn>
                <a:cxn ang="0">
                  <a:pos x="29" y="263"/>
                </a:cxn>
                <a:cxn ang="0">
                  <a:pos x="28" y="261"/>
                </a:cxn>
                <a:cxn ang="0">
                  <a:pos x="21" y="258"/>
                </a:cxn>
                <a:cxn ang="0">
                  <a:pos x="7" y="243"/>
                </a:cxn>
                <a:cxn ang="0">
                  <a:pos x="2" y="234"/>
                </a:cxn>
                <a:cxn ang="0">
                  <a:pos x="0" y="222"/>
                </a:cxn>
                <a:cxn ang="0">
                  <a:pos x="3" y="209"/>
                </a:cxn>
                <a:cxn ang="0">
                  <a:pos x="15" y="196"/>
                </a:cxn>
                <a:cxn ang="0">
                  <a:pos x="34" y="181"/>
                </a:cxn>
                <a:cxn ang="0">
                  <a:pos x="338" y="39"/>
                </a:cxn>
                <a:cxn ang="0">
                  <a:pos x="485" y="0"/>
                </a:cxn>
              </a:cxnLst>
              <a:rect l="0" t="0" r="r" b="b"/>
              <a:pathLst>
                <a:path w="1346" h="736">
                  <a:moveTo>
                    <a:pt x="485" y="0"/>
                  </a:moveTo>
                  <a:lnTo>
                    <a:pt x="1294" y="457"/>
                  </a:lnTo>
                  <a:lnTo>
                    <a:pt x="1320" y="467"/>
                  </a:lnTo>
                  <a:lnTo>
                    <a:pt x="1336" y="478"/>
                  </a:lnTo>
                  <a:lnTo>
                    <a:pt x="1344" y="490"/>
                  </a:lnTo>
                  <a:lnTo>
                    <a:pt x="1346" y="500"/>
                  </a:lnTo>
                  <a:lnTo>
                    <a:pt x="1344" y="509"/>
                  </a:lnTo>
                  <a:lnTo>
                    <a:pt x="1339" y="518"/>
                  </a:lnTo>
                  <a:lnTo>
                    <a:pt x="1326" y="531"/>
                  </a:lnTo>
                  <a:lnTo>
                    <a:pt x="936" y="713"/>
                  </a:lnTo>
                  <a:lnTo>
                    <a:pt x="905" y="728"/>
                  </a:lnTo>
                  <a:lnTo>
                    <a:pt x="878" y="735"/>
                  </a:lnTo>
                  <a:lnTo>
                    <a:pt x="853" y="736"/>
                  </a:lnTo>
                  <a:lnTo>
                    <a:pt x="832" y="733"/>
                  </a:lnTo>
                  <a:lnTo>
                    <a:pt x="814" y="726"/>
                  </a:lnTo>
                  <a:lnTo>
                    <a:pt x="803" y="720"/>
                  </a:lnTo>
                  <a:lnTo>
                    <a:pt x="794" y="715"/>
                  </a:lnTo>
                  <a:lnTo>
                    <a:pt x="791" y="713"/>
                  </a:lnTo>
                  <a:lnTo>
                    <a:pt x="29" y="263"/>
                  </a:lnTo>
                  <a:lnTo>
                    <a:pt x="28" y="261"/>
                  </a:lnTo>
                  <a:lnTo>
                    <a:pt x="21" y="258"/>
                  </a:lnTo>
                  <a:lnTo>
                    <a:pt x="7" y="243"/>
                  </a:lnTo>
                  <a:lnTo>
                    <a:pt x="2" y="234"/>
                  </a:lnTo>
                  <a:lnTo>
                    <a:pt x="0" y="222"/>
                  </a:lnTo>
                  <a:lnTo>
                    <a:pt x="3" y="209"/>
                  </a:lnTo>
                  <a:lnTo>
                    <a:pt x="15" y="196"/>
                  </a:lnTo>
                  <a:lnTo>
                    <a:pt x="34" y="181"/>
                  </a:lnTo>
                  <a:lnTo>
                    <a:pt x="338" y="39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9" name="Freeform 211"/>
            <p:cNvSpPr>
              <a:spLocks/>
            </p:cNvSpPr>
            <p:nvPr/>
          </p:nvSpPr>
          <p:spPr bwMode="auto">
            <a:xfrm>
              <a:off x="2024255" y="3487011"/>
              <a:ext cx="71724" cy="69430"/>
            </a:xfrm>
            <a:custGeom>
              <a:avLst/>
              <a:gdLst/>
              <a:ahLst/>
              <a:cxnLst>
                <a:cxn ang="0">
                  <a:pos x="125" y="0"/>
                </a:cxn>
                <a:cxn ang="0">
                  <a:pos x="86" y="95"/>
                </a:cxn>
                <a:cxn ang="0">
                  <a:pos x="18" y="121"/>
                </a:cxn>
                <a:cxn ang="0">
                  <a:pos x="9" y="106"/>
                </a:cxn>
                <a:cxn ang="0">
                  <a:pos x="0" y="29"/>
                </a:cxn>
                <a:cxn ang="0">
                  <a:pos x="125" y="0"/>
                </a:cxn>
              </a:cxnLst>
              <a:rect l="0" t="0" r="r" b="b"/>
              <a:pathLst>
                <a:path w="125" h="121">
                  <a:moveTo>
                    <a:pt x="125" y="0"/>
                  </a:moveTo>
                  <a:lnTo>
                    <a:pt x="86" y="95"/>
                  </a:lnTo>
                  <a:lnTo>
                    <a:pt x="18" y="121"/>
                  </a:lnTo>
                  <a:lnTo>
                    <a:pt x="9" y="106"/>
                  </a:lnTo>
                  <a:lnTo>
                    <a:pt x="0" y="29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0" name="Freeform 212"/>
            <p:cNvSpPr>
              <a:spLocks/>
            </p:cNvSpPr>
            <p:nvPr/>
          </p:nvSpPr>
          <p:spPr bwMode="auto">
            <a:xfrm>
              <a:off x="2067289" y="3517996"/>
              <a:ext cx="79184" cy="10844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75" y="6"/>
                </a:cxn>
                <a:cxn ang="0">
                  <a:pos x="94" y="21"/>
                </a:cxn>
                <a:cxn ang="0">
                  <a:pos x="114" y="44"/>
                </a:cxn>
                <a:cxn ang="0">
                  <a:pos x="129" y="72"/>
                </a:cxn>
                <a:cxn ang="0">
                  <a:pos x="137" y="98"/>
                </a:cxn>
                <a:cxn ang="0">
                  <a:pos x="138" y="122"/>
                </a:cxn>
                <a:cxn ang="0">
                  <a:pos x="137" y="143"/>
                </a:cxn>
                <a:cxn ang="0">
                  <a:pos x="130" y="163"/>
                </a:cxn>
                <a:cxn ang="0">
                  <a:pos x="120" y="178"/>
                </a:cxn>
                <a:cxn ang="0">
                  <a:pos x="106" y="186"/>
                </a:cxn>
                <a:cxn ang="0">
                  <a:pos x="89" y="189"/>
                </a:cxn>
                <a:cxn ang="0">
                  <a:pos x="71" y="184"/>
                </a:cxn>
                <a:cxn ang="0">
                  <a:pos x="54" y="174"/>
                </a:cxn>
                <a:cxn ang="0">
                  <a:pos x="37" y="160"/>
                </a:cxn>
                <a:cxn ang="0">
                  <a:pos x="23" y="140"/>
                </a:cxn>
                <a:cxn ang="0">
                  <a:pos x="11" y="116"/>
                </a:cxn>
                <a:cxn ang="0">
                  <a:pos x="3" y="91"/>
                </a:cxn>
                <a:cxn ang="0">
                  <a:pos x="0" y="67"/>
                </a:cxn>
                <a:cxn ang="0">
                  <a:pos x="1" y="44"/>
                </a:cxn>
                <a:cxn ang="0">
                  <a:pos x="8" y="26"/>
                </a:cxn>
                <a:cxn ang="0">
                  <a:pos x="18" y="11"/>
                </a:cxn>
                <a:cxn ang="0">
                  <a:pos x="32" y="1"/>
                </a:cxn>
                <a:cxn ang="0">
                  <a:pos x="54" y="0"/>
                </a:cxn>
              </a:cxnLst>
              <a:rect l="0" t="0" r="r" b="b"/>
              <a:pathLst>
                <a:path w="138" h="189">
                  <a:moveTo>
                    <a:pt x="54" y="0"/>
                  </a:moveTo>
                  <a:lnTo>
                    <a:pt x="75" y="6"/>
                  </a:lnTo>
                  <a:lnTo>
                    <a:pt x="94" y="21"/>
                  </a:lnTo>
                  <a:lnTo>
                    <a:pt x="114" y="44"/>
                  </a:lnTo>
                  <a:lnTo>
                    <a:pt x="129" y="72"/>
                  </a:lnTo>
                  <a:lnTo>
                    <a:pt x="137" y="98"/>
                  </a:lnTo>
                  <a:lnTo>
                    <a:pt x="138" y="122"/>
                  </a:lnTo>
                  <a:lnTo>
                    <a:pt x="137" y="143"/>
                  </a:lnTo>
                  <a:lnTo>
                    <a:pt x="130" y="163"/>
                  </a:lnTo>
                  <a:lnTo>
                    <a:pt x="120" y="178"/>
                  </a:lnTo>
                  <a:lnTo>
                    <a:pt x="106" y="186"/>
                  </a:lnTo>
                  <a:lnTo>
                    <a:pt x="89" y="189"/>
                  </a:lnTo>
                  <a:lnTo>
                    <a:pt x="71" y="184"/>
                  </a:lnTo>
                  <a:lnTo>
                    <a:pt x="54" y="174"/>
                  </a:lnTo>
                  <a:lnTo>
                    <a:pt x="37" y="160"/>
                  </a:lnTo>
                  <a:lnTo>
                    <a:pt x="23" y="140"/>
                  </a:lnTo>
                  <a:lnTo>
                    <a:pt x="11" y="116"/>
                  </a:lnTo>
                  <a:lnTo>
                    <a:pt x="3" y="91"/>
                  </a:lnTo>
                  <a:lnTo>
                    <a:pt x="0" y="67"/>
                  </a:lnTo>
                  <a:lnTo>
                    <a:pt x="1" y="44"/>
                  </a:lnTo>
                  <a:lnTo>
                    <a:pt x="8" y="26"/>
                  </a:lnTo>
                  <a:lnTo>
                    <a:pt x="18" y="11"/>
                  </a:lnTo>
                  <a:lnTo>
                    <a:pt x="32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1" name="Freeform 213"/>
            <p:cNvSpPr>
              <a:spLocks/>
            </p:cNvSpPr>
            <p:nvPr/>
          </p:nvSpPr>
          <p:spPr bwMode="auto">
            <a:xfrm>
              <a:off x="2055813" y="3519717"/>
              <a:ext cx="75741" cy="118202"/>
            </a:xfrm>
            <a:custGeom>
              <a:avLst/>
              <a:gdLst/>
              <a:ahLst/>
              <a:cxnLst>
                <a:cxn ang="0">
                  <a:pos x="51" y="0"/>
                </a:cxn>
                <a:cxn ang="0">
                  <a:pos x="118" y="47"/>
                </a:cxn>
                <a:cxn ang="0">
                  <a:pos x="132" y="180"/>
                </a:cxn>
                <a:cxn ang="0">
                  <a:pos x="82" y="206"/>
                </a:cxn>
                <a:cxn ang="0">
                  <a:pos x="77" y="198"/>
                </a:cxn>
                <a:cxn ang="0">
                  <a:pos x="10" y="38"/>
                </a:cxn>
                <a:cxn ang="0">
                  <a:pos x="0" y="18"/>
                </a:cxn>
                <a:cxn ang="0">
                  <a:pos x="51" y="0"/>
                </a:cxn>
              </a:cxnLst>
              <a:rect l="0" t="0" r="r" b="b"/>
              <a:pathLst>
                <a:path w="132" h="206">
                  <a:moveTo>
                    <a:pt x="51" y="0"/>
                  </a:moveTo>
                  <a:lnTo>
                    <a:pt x="118" y="47"/>
                  </a:lnTo>
                  <a:lnTo>
                    <a:pt x="132" y="180"/>
                  </a:lnTo>
                  <a:lnTo>
                    <a:pt x="82" y="206"/>
                  </a:lnTo>
                  <a:lnTo>
                    <a:pt x="77" y="198"/>
                  </a:lnTo>
                  <a:lnTo>
                    <a:pt x="10" y="38"/>
                  </a:lnTo>
                  <a:lnTo>
                    <a:pt x="0" y="1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2" name="Freeform 214"/>
            <p:cNvSpPr>
              <a:spLocks/>
            </p:cNvSpPr>
            <p:nvPr/>
          </p:nvSpPr>
          <p:spPr bwMode="auto">
            <a:xfrm>
              <a:off x="2039173" y="3527176"/>
              <a:ext cx="80332" cy="113612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70" y="5"/>
                </a:cxn>
                <a:cxn ang="0">
                  <a:pos x="88" y="15"/>
                </a:cxn>
                <a:cxn ang="0">
                  <a:pos x="104" y="31"/>
                </a:cxn>
                <a:cxn ang="0">
                  <a:pos x="119" y="51"/>
                </a:cxn>
                <a:cxn ang="0">
                  <a:pos x="130" y="75"/>
                </a:cxn>
                <a:cxn ang="0">
                  <a:pos x="138" y="101"/>
                </a:cxn>
                <a:cxn ang="0">
                  <a:pos x="140" y="126"/>
                </a:cxn>
                <a:cxn ang="0">
                  <a:pos x="138" y="149"/>
                </a:cxn>
                <a:cxn ang="0">
                  <a:pos x="132" y="170"/>
                </a:cxn>
                <a:cxn ang="0">
                  <a:pos x="122" y="185"/>
                </a:cxn>
                <a:cxn ang="0">
                  <a:pos x="107" y="194"/>
                </a:cxn>
                <a:cxn ang="0">
                  <a:pos x="86" y="198"/>
                </a:cxn>
                <a:cxn ang="0">
                  <a:pos x="65" y="189"/>
                </a:cxn>
                <a:cxn ang="0">
                  <a:pos x="44" y="173"/>
                </a:cxn>
                <a:cxn ang="0">
                  <a:pos x="24" y="150"/>
                </a:cxn>
                <a:cxn ang="0">
                  <a:pos x="10" y="121"/>
                </a:cxn>
                <a:cxn ang="0">
                  <a:pos x="1" y="95"/>
                </a:cxn>
                <a:cxn ang="0">
                  <a:pos x="0" y="70"/>
                </a:cxn>
                <a:cxn ang="0">
                  <a:pos x="1" y="48"/>
                </a:cxn>
                <a:cxn ang="0">
                  <a:pos x="8" y="28"/>
                </a:cxn>
                <a:cxn ang="0">
                  <a:pos x="19" y="13"/>
                </a:cxn>
                <a:cxn ang="0">
                  <a:pos x="34" y="3"/>
                </a:cxn>
                <a:cxn ang="0">
                  <a:pos x="50" y="0"/>
                </a:cxn>
              </a:cxnLst>
              <a:rect l="0" t="0" r="r" b="b"/>
              <a:pathLst>
                <a:path w="140" h="198">
                  <a:moveTo>
                    <a:pt x="50" y="0"/>
                  </a:moveTo>
                  <a:lnTo>
                    <a:pt x="70" y="5"/>
                  </a:lnTo>
                  <a:lnTo>
                    <a:pt x="88" y="15"/>
                  </a:lnTo>
                  <a:lnTo>
                    <a:pt x="104" y="31"/>
                  </a:lnTo>
                  <a:lnTo>
                    <a:pt x="119" y="51"/>
                  </a:lnTo>
                  <a:lnTo>
                    <a:pt x="130" y="75"/>
                  </a:lnTo>
                  <a:lnTo>
                    <a:pt x="138" y="101"/>
                  </a:lnTo>
                  <a:lnTo>
                    <a:pt x="140" y="126"/>
                  </a:lnTo>
                  <a:lnTo>
                    <a:pt x="138" y="149"/>
                  </a:lnTo>
                  <a:lnTo>
                    <a:pt x="132" y="170"/>
                  </a:lnTo>
                  <a:lnTo>
                    <a:pt x="122" y="185"/>
                  </a:lnTo>
                  <a:lnTo>
                    <a:pt x="107" y="194"/>
                  </a:lnTo>
                  <a:lnTo>
                    <a:pt x="86" y="198"/>
                  </a:lnTo>
                  <a:lnTo>
                    <a:pt x="65" y="189"/>
                  </a:lnTo>
                  <a:lnTo>
                    <a:pt x="44" y="173"/>
                  </a:lnTo>
                  <a:lnTo>
                    <a:pt x="24" y="150"/>
                  </a:lnTo>
                  <a:lnTo>
                    <a:pt x="10" y="121"/>
                  </a:lnTo>
                  <a:lnTo>
                    <a:pt x="1" y="95"/>
                  </a:lnTo>
                  <a:lnTo>
                    <a:pt x="0" y="70"/>
                  </a:lnTo>
                  <a:lnTo>
                    <a:pt x="1" y="48"/>
                  </a:lnTo>
                  <a:lnTo>
                    <a:pt x="8" y="28"/>
                  </a:lnTo>
                  <a:lnTo>
                    <a:pt x="19" y="13"/>
                  </a:lnTo>
                  <a:lnTo>
                    <a:pt x="34" y="3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3" name="Freeform 215"/>
            <p:cNvSpPr>
              <a:spLocks/>
            </p:cNvSpPr>
            <p:nvPr/>
          </p:nvSpPr>
          <p:spPr bwMode="auto">
            <a:xfrm>
              <a:off x="2056961" y="3555293"/>
              <a:ext cx="41887" cy="57954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1" y="0"/>
                </a:cxn>
                <a:cxn ang="0">
                  <a:pos x="45" y="7"/>
                </a:cxn>
                <a:cxn ang="0">
                  <a:pos x="58" y="20"/>
                </a:cxn>
                <a:cxn ang="0">
                  <a:pos x="68" y="39"/>
                </a:cxn>
                <a:cxn ang="0">
                  <a:pos x="73" y="61"/>
                </a:cxn>
                <a:cxn ang="0">
                  <a:pos x="73" y="78"/>
                </a:cxn>
                <a:cxn ang="0">
                  <a:pos x="67" y="93"/>
                </a:cxn>
                <a:cxn ang="0">
                  <a:pos x="57" y="101"/>
                </a:cxn>
                <a:cxn ang="0">
                  <a:pos x="42" y="101"/>
                </a:cxn>
                <a:cxn ang="0">
                  <a:pos x="29" y="95"/>
                </a:cxn>
                <a:cxn ang="0">
                  <a:pos x="14" y="82"/>
                </a:cxn>
                <a:cxn ang="0">
                  <a:pos x="5" y="62"/>
                </a:cxn>
                <a:cxn ang="0">
                  <a:pos x="0" y="41"/>
                </a:cxn>
                <a:cxn ang="0">
                  <a:pos x="1" y="23"/>
                </a:cxn>
                <a:cxn ang="0">
                  <a:pos x="6" y="8"/>
                </a:cxn>
                <a:cxn ang="0">
                  <a:pos x="18" y="0"/>
                </a:cxn>
              </a:cxnLst>
              <a:rect l="0" t="0" r="r" b="b"/>
              <a:pathLst>
                <a:path w="73" h="101">
                  <a:moveTo>
                    <a:pt x="18" y="0"/>
                  </a:moveTo>
                  <a:lnTo>
                    <a:pt x="31" y="0"/>
                  </a:lnTo>
                  <a:lnTo>
                    <a:pt x="45" y="7"/>
                  </a:lnTo>
                  <a:lnTo>
                    <a:pt x="58" y="20"/>
                  </a:lnTo>
                  <a:lnTo>
                    <a:pt x="68" y="39"/>
                  </a:lnTo>
                  <a:lnTo>
                    <a:pt x="73" y="61"/>
                  </a:lnTo>
                  <a:lnTo>
                    <a:pt x="73" y="78"/>
                  </a:lnTo>
                  <a:lnTo>
                    <a:pt x="67" y="93"/>
                  </a:lnTo>
                  <a:lnTo>
                    <a:pt x="57" y="101"/>
                  </a:lnTo>
                  <a:lnTo>
                    <a:pt x="42" y="101"/>
                  </a:lnTo>
                  <a:lnTo>
                    <a:pt x="29" y="95"/>
                  </a:lnTo>
                  <a:lnTo>
                    <a:pt x="14" y="82"/>
                  </a:lnTo>
                  <a:lnTo>
                    <a:pt x="5" y="62"/>
                  </a:lnTo>
                  <a:lnTo>
                    <a:pt x="0" y="41"/>
                  </a:lnTo>
                  <a:lnTo>
                    <a:pt x="1" y="23"/>
                  </a:lnTo>
                  <a:lnTo>
                    <a:pt x="6" y="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4" name="Freeform 216"/>
            <p:cNvSpPr>
              <a:spLocks/>
            </p:cNvSpPr>
            <p:nvPr/>
          </p:nvSpPr>
          <p:spPr bwMode="auto">
            <a:xfrm>
              <a:off x="2060404" y="3557014"/>
              <a:ext cx="38444" cy="5336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8" y="0"/>
                </a:cxn>
                <a:cxn ang="0">
                  <a:pos x="41" y="7"/>
                </a:cxn>
                <a:cxn ang="0">
                  <a:pos x="52" y="18"/>
                </a:cxn>
                <a:cxn ang="0">
                  <a:pos x="62" y="36"/>
                </a:cxn>
                <a:cxn ang="0">
                  <a:pos x="67" y="54"/>
                </a:cxn>
                <a:cxn ang="0">
                  <a:pos x="67" y="71"/>
                </a:cxn>
                <a:cxn ang="0">
                  <a:pos x="61" y="84"/>
                </a:cxn>
                <a:cxn ang="0">
                  <a:pos x="51" y="92"/>
                </a:cxn>
                <a:cxn ang="0">
                  <a:pos x="39" y="93"/>
                </a:cxn>
                <a:cxn ang="0">
                  <a:pos x="26" y="87"/>
                </a:cxn>
                <a:cxn ang="0">
                  <a:pos x="15" y="74"/>
                </a:cxn>
                <a:cxn ang="0">
                  <a:pos x="5" y="58"/>
                </a:cxn>
                <a:cxn ang="0">
                  <a:pos x="0" y="38"/>
                </a:cxn>
                <a:cxn ang="0">
                  <a:pos x="2" y="22"/>
                </a:cxn>
                <a:cxn ang="0">
                  <a:pos x="7" y="9"/>
                </a:cxn>
                <a:cxn ang="0">
                  <a:pos x="17" y="0"/>
                </a:cxn>
              </a:cxnLst>
              <a:rect l="0" t="0" r="r" b="b"/>
              <a:pathLst>
                <a:path w="67" h="93">
                  <a:moveTo>
                    <a:pt x="17" y="0"/>
                  </a:moveTo>
                  <a:lnTo>
                    <a:pt x="28" y="0"/>
                  </a:lnTo>
                  <a:lnTo>
                    <a:pt x="41" y="7"/>
                  </a:lnTo>
                  <a:lnTo>
                    <a:pt x="52" y="18"/>
                  </a:lnTo>
                  <a:lnTo>
                    <a:pt x="62" y="36"/>
                  </a:lnTo>
                  <a:lnTo>
                    <a:pt x="67" y="54"/>
                  </a:lnTo>
                  <a:lnTo>
                    <a:pt x="67" y="71"/>
                  </a:lnTo>
                  <a:lnTo>
                    <a:pt x="61" y="84"/>
                  </a:lnTo>
                  <a:lnTo>
                    <a:pt x="51" y="92"/>
                  </a:lnTo>
                  <a:lnTo>
                    <a:pt x="39" y="93"/>
                  </a:lnTo>
                  <a:lnTo>
                    <a:pt x="26" y="87"/>
                  </a:lnTo>
                  <a:lnTo>
                    <a:pt x="15" y="74"/>
                  </a:lnTo>
                  <a:lnTo>
                    <a:pt x="5" y="58"/>
                  </a:lnTo>
                  <a:lnTo>
                    <a:pt x="0" y="38"/>
                  </a:lnTo>
                  <a:lnTo>
                    <a:pt x="2" y="22"/>
                  </a:lnTo>
                  <a:lnTo>
                    <a:pt x="7" y="9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5" name="Freeform 217"/>
            <p:cNvSpPr>
              <a:spLocks/>
            </p:cNvSpPr>
            <p:nvPr/>
          </p:nvSpPr>
          <p:spPr bwMode="auto">
            <a:xfrm>
              <a:off x="2129833" y="3543243"/>
              <a:ext cx="59101" cy="66561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103" y="44"/>
                </a:cxn>
                <a:cxn ang="0">
                  <a:pos x="31" y="109"/>
                </a:cxn>
                <a:cxn ang="0">
                  <a:pos x="3" y="116"/>
                </a:cxn>
                <a:cxn ang="0">
                  <a:pos x="0" y="99"/>
                </a:cxn>
                <a:cxn ang="0">
                  <a:pos x="16" y="47"/>
                </a:cxn>
                <a:cxn ang="0">
                  <a:pos x="47" y="0"/>
                </a:cxn>
              </a:cxnLst>
              <a:rect l="0" t="0" r="r" b="b"/>
              <a:pathLst>
                <a:path w="103" h="116">
                  <a:moveTo>
                    <a:pt x="47" y="0"/>
                  </a:moveTo>
                  <a:lnTo>
                    <a:pt x="103" y="44"/>
                  </a:lnTo>
                  <a:lnTo>
                    <a:pt x="31" y="109"/>
                  </a:lnTo>
                  <a:lnTo>
                    <a:pt x="3" y="116"/>
                  </a:lnTo>
                  <a:lnTo>
                    <a:pt x="0" y="99"/>
                  </a:lnTo>
                  <a:lnTo>
                    <a:pt x="16" y="47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6" name="Freeform 218"/>
            <p:cNvSpPr>
              <a:spLocks/>
            </p:cNvSpPr>
            <p:nvPr/>
          </p:nvSpPr>
          <p:spPr bwMode="auto">
            <a:xfrm>
              <a:off x="1810802" y="3375694"/>
              <a:ext cx="88938" cy="56232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55" y="31"/>
                </a:cxn>
                <a:cxn ang="0">
                  <a:pos x="42" y="81"/>
                </a:cxn>
                <a:cxn ang="0">
                  <a:pos x="6" y="98"/>
                </a:cxn>
                <a:cxn ang="0">
                  <a:pos x="0" y="76"/>
                </a:cxn>
                <a:cxn ang="0">
                  <a:pos x="18" y="26"/>
                </a:cxn>
                <a:cxn ang="0">
                  <a:pos x="103" y="0"/>
                </a:cxn>
              </a:cxnLst>
              <a:rect l="0" t="0" r="r" b="b"/>
              <a:pathLst>
                <a:path w="155" h="98">
                  <a:moveTo>
                    <a:pt x="103" y="0"/>
                  </a:moveTo>
                  <a:lnTo>
                    <a:pt x="155" y="31"/>
                  </a:lnTo>
                  <a:lnTo>
                    <a:pt x="42" y="81"/>
                  </a:lnTo>
                  <a:lnTo>
                    <a:pt x="6" y="98"/>
                  </a:lnTo>
                  <a:lnTo>
                    <a:pt x="0" y="76"/>
                  </a:lnTo>
                  <a:lnTo>
                    <a:pt x="18" y="26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7" name="Freeform 219"/>
            <p:cNvSpPr>
              <a:spLocks/>
            </p:cNvSpPr>
            <p:nvPr/>
          </p:nvSpPr>
          <p:spPr bwMode="auto">
            <a:xfrm>
              <a:off x="1848099" y="3391760"/>
              <a:ext cx="79758" cy="107300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75" y="6"/>
                </a:cxn>
                <a:cxn ang="0">
                  <a:pos x="95" y="21"/>
                </a:cxn>
                <a:cxn ang="0">
                  <a:pos x="113" y="44"/>
                </a:cxn>
                <a:cxn ang="0">
                  <a:pos x="127" y="71"/>
                </a:cxn>
                <a:cxn ang="0">
                  <a:pos x="135" y="96"/>
                </a:cxn>
                <a:cxn ang="0">
                  <a:pos x="139" y="120"/>
                </a:cxn>
                <a:cxn ang="0">
                  <a:pos x="137" y="143"/>
                </a:cxn>
                <a:cxn ang="0">
                  <a:pos x="130" y="163"/>
                </a:cxn>
                <a:cxn ang="0">
                  <a:pos x="119" y="177"/>
                </a:cxn>
                <a:cxn ang="0">
                  <a:pos x="106" y="186"/>
                </a:cxn>
                <a:cxn ang="0">
                  <a:pos x="85" y="187"/>
                </a:cxn>
                <a:cxn ang="0">
                  <a:pos x="64" y="181"/>
                </a:cxn>
                <a:cxn ang="0">
                  <a:pos x="44" y="166"/>
                </a:cxn>
                <a:cxn ang="0">
                  <a:pos x="24" y="143"/>
                </a:cxn>
                <a:cxn ang="0">
                  <a:pos x="10" y="115"/>
                </a:cxn>
                <a:cxn ang="0">
                  <a:pos x="2" y="91"/>
                </a:cxn>
                <a:cxn ang="0">
                  <a:pos x="0" y="66"/>
                </a:cxn>
                <a:cxn ang="0">
                  <a:pos x="2" y="44"/>
                </a:cxn>
                <a:cxn ang="0">
                  <a:pos x="8" y="24"/>
                </a:cxn>
                <a:cxn ang="0">
                  <a:pos x="18" y="9"/>
                </a:cxn>
                <a:cxn ang="0">
                  <a:pos x="33" y="1"/>
                </a:cxn>
                <a:cxn ang="0">
                  <a:pos x="54" y="0"/>
                </a:cxn>
              </a:cxnLst>
              <a:rect l="0" t="0" r="r" b="b"/>
              <a:pathLst>
                <a:path w="139" h="187">
                  <a:moveTo>
                    <a:pt x="54" y="0"/>
                  </a:moveTo>
                  <a:lnTo>
                    <a:pt x="75" y="6"/>
                  </a:lnTo>
                  <a:lnTo>
                    <a:pt x="95" y="21"/>
                  </a:lnTo>
                  <a:lnTo>
                    <a:pt x="113" y="44"/>
                  </a:lnTo>
                  <a:lnTo>
                    <a:pt x="127" y="71"/>
                  </a:lnTo>
                  <a:lnTo>
                    <a:pt x="135" y="96"/>
                  </a:lnTo>
                  <a:lnTo>
                    <a:pt x="139" y="120"/>
                  </a:lnTo>
                  <a:lnTo>
                    <a:pt x="137" y="143"/>
                  </a:lnTo>
                  <a:lnTo>
                    <a:pt x="130" y="163"/>
                  </a:lnTo>
                  <a:lnTo>
                    <a:pt x="119" y="177"/>
                  </a:lnTo>
                  <a:lnTo>
                    <a:pt x="106" y="186"/>
                  </a:lnTo>
                  <a:lnTo>
                    <a:pt x="85" y="187"/>
                  </a:lnTo>
                  <a:lnTo>
                    <a:pt x="64" y="181"/>
                  </a:lnTo>
                  <a:lnTo>
                    <a:pt x="44" y="166"/>
                  </a:lnTo>
                  <a:lnTo>
                    <a:pt x="24" y="143"/>
                  </a:lnTo>
                  <a:lnTo>
                    <a:pt x="10" y="115"/>
                  </a:lnTo>
                  <a:lnTo>
                    <a:pt x="2" y="91"/>
                  </a:lnTo>
                  <a:lnTo>
                    <a:pt x="0" y="66"/>
                  </a:lnTo>
                  <a:lnTo>
                    <a:pt x="2" y="44"/>
                  </a:lnTo>
                  <a:lnTo>
                    <a:pt x="8" y="24"/>
                  </a:lnTo>
                  <a:lnTo>
                    <a:pt x="18" y="9"/>
                  </a:lnTo>
                  <a:lnTo>
                    <a:pt x="33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8" name="Freeform 220"/>
            <p:cNvSpPr>
              <a:spLocks/>
            </p:cNvSpPr>
            <p:nvPr/>
          </p:nvSpPr>
          <p:spPr bwMode="auto">
            <a:xfrm>
              <a:off x="1836049" y="3392334"/>
              <a:ext cx="76889" cy="118776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119" y="47"/>
                </a:cxn>
                <a:cxn ang="0">
                  <a:pos x="134" y="181"/>
                </a:cxn>
                <a:cxn ang="0">
                  <a:pos x="81" y="207"/>
                </a:cxn>
                <a:cxn ang="0">
                  <a:pos x="78" y="199"/>
                </a:cxn>
                <a:cxn ang="0">
                  <a:pos x="10" y="38"/>
                </a:cxn>
                <a:cxn ang="0">
                  <a:pos x="0" y="20"/>
                </a:cxn>
                <a:cxn ang="0">
                  <a:pos x="52" y="0"/>
                </a:cxn>
              </a:cxnLst>
              <a:rect l="0" t="0" r="r" b="b"/>
              <a:pathLst>
                <a:path w="134" h="207">
                  <a:moveTo>
                    <a:pt x="52" y="0"/>
                  </a:moveTo>
                  <a:lnTo>
                    <a:pt x="119" y="47"/>
                  </a:lnTo>
                  <a:lnTo>
                    <a:pt x="134" y="181"/>
                  </a:lnTo>
                  <a:lnTo>
                    <a:pt x="81" y="207"/>
                  </a:lnTo>
                  <a:lnTo>
                    <a:pt x="78" y="199"/>
                  </a:lnTo>
                  <a:lnTo>
                    <a:pt x="10" y="38"/>
                  </a:lnTo>
                  <a:lnTo>
                    <a:pt x="0" y="2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9" name="Freeform 221"/>
            <p:cNvSpPr>
              <a:spLocks/>
            </p:cNvSpPr>
            <p:nvPr/>
          </p:nvSpPr>
          <p:spPr bwMode="auto">
            <a:xfrm>
              <a:off x="1818835" y="3400941"/>
              <a:ext cx="81479" cy="112464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77" y="6"/>
                </a:cxn>
                <a:cxn ang="0">
                  <a:pos x="98" y="23"/>
                </a:cxn>
                <a:cxn ang="0">
                  <a:pos x="118" y="46"/>
                </a:cxn>
                <a:cxn ang="0">
                  <a:pos x="133" y="75"/>
                </a:cxn>
                <a:cxn ang="0">
                  <a:pos x="139" y="101"/>
                </a:cxn>
                <a:cxn ang="0">
                  <a:pos x="142" y="126"/>
                </a:cxn>
                <a:cxn ang="0">
                  <a:pos x="141" y="148"/>
                </a:cxn>
                <a:cxn ang="0">
                  <a:pos x="133" y="168"/>
                </a:cxn>
                <a:cxn ang="0">
                  <a:pos x="123" y="183"/>
                </a:cxn>
                <a:cxn ang="0">
                  <a:pos x="108" y="192"/>
                </a:cxn>
                <a:cxn ang="0">
                  <a:pos x="92" y="196"/>
                </a:cxn>
                <a:cxn ang="0">
                  <a:pos x="72" y="191"/>
                </a:cxn>
                <a:cxn ang="0">
                  <a:pos x="56" y="181"/>
                </a:cxn>
                <a:cxn ang="0">
                  <a:pos x="38" y="165"/>
                </a:cxn>
                <a:cxn ang="0">
                  <a:pos x="23" y="145"/>
                </a:cxn>
                <a:cxn ang="0">
                  <a:pos x="12" y="121"/>
                </a:cxn>
                <a:cxn ang="0">
                  <a:pos x="4" y="95"/>
                </a:cxn>
                <a:cxn ang="0">
                  <a:pos x="0" y="70"/>
                </a:cxn>
                <a:cxn ang="0">
                  <a:pos x="4" y="46"/>
                </a:cxn>
                <a:cxn ang="0">
                  <a:pos x="10" y="26"/>
                </a:cxn>
                <a:cxn ang="0">
                  <a:pos x="20" y="11"/>
                </a:cxn>
                <a:cxn ang="0">
                  <a:pos x="35" y="1"/>
                </a:cxn>
                <a:cxn ang="0">
                  <a:pos x="56" y="0"/>
                </a:cxn>
              </a:cxnLst>
              <a:rect l="0" t="0" r="r" b="b"/>
              <a:pathLst>
                <a:path w="142" h="196">
                  <a:moveTo>
                    <a:pt x="56" y="0"/>
                  </a:moveTo>
                  <a:lnTo>
                    <a:pt x="77" y="6"/>
                  </a:lnTo>
                  <a:lnTo>
                    <a:pt x="98" y="23"/>
                  </a:lnTo>
                  <a:lnTo>
                    <a:pt x="118" y="46"/>
                  </a:lnTo>
                  <a:lnTo>
                    <a:pt x="133" y="75"/>
                  </a:lnTo>
                  <a:lnTo>
                    <a:pt x="139" y="101"/>
                  </a:lnTo>
                  <a:lnTo>
                    <a:pt x="142" y="126"/>
                  </a:lnTo>
                  <a:lnTo>
                    <a:pt x="141" y="148"/>
                  </a:lnTo>
                  <a:lnTo>
                    <a:pt x="133" y="168"/>
                  </a:lnTo>
                  <a:lnTo>
                    <a:pt x="123" y="183"/>
                  </a:lnTo>
                  <a:lnTo>
                    <a:pt x="108" y="192"/>
                  </a:lnTo>
                  <a:lnTo>
                    <a:pt x="92" y="196"/>
                  </a:lnTo>
                  <a:lnTo>
                    <a:pt x="72" y="191"/>
                  </a:lnTo>
                  <a:lnTo>
                    <a:pt x="56" y="181"/>
                  </a:lnTo>
                  <a:lnTo>
                    <a:pt x="38" y="165"/>
                  </a:lnTo>
                  <a:lnTo>
                    <a:pt x="23" y="145"/>
                  </a:lnTo>
                  <a:lnTo>
                    <a:pt x="12" y="121"/>
                  </a:lnTo>
                  <a:lnTo>
                    <a:pt x="4" y="95"/>
                  </a:lnTo>
                  <a:lnTo>
                    <a:pt x="0" y="70"/>
                  </a:lnTo>
                  <a:lnTo>
                    <a:pt x="4" y="46"/>
                  </a:lnTo>
                  <a:lnTo>
                    <a:pt x="10" y="26"/>
                  </a:lnTo>
                  <a:lnTo>
                    <a:pt x="20" y="11"/>
                  </a:lnTo>
                  <a:lnTo>
                    <a:pt x="35" y="1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0" name="Freeform 222"/>
            <p:cNvSpPr>
              <a:spLocks/>
            </p:cNvSpPr>
            <p:nvPr/>
          </p:nvSpPr>
          <p:spPr bwMode="auto">
            <a:xfrm>
              <a:off x="1837770" y="3427910"/>
              <a:ext cx="41313" cy="5910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1" y="0"/>
                </a:cxn>
                <a:cxn ang="0">
                  <a:pos x="44" y="7"/>
                </a:cxn>
                <a:cxn ang="0">
                  <a:pos x="57" y="21"/>
                </a:cxn>
                <a:cxn ang="0">
                  <a:pos x="67" y="39"/>
                </a:cxn>
                <a:cxn ang="0">
                  <a:pos x="72" y="61"/>
                </a:cxn>
                <a:cxn ang="0">
                  <a:pos x="72" y="80"/>
                </a:cxn>
                <a:cxn ang="0">
                  <a:pos x="67" y="95"/>
                </a:cxn>
                <a:cxn ang="0">
                  <a:pos x="56" y="103"/>
                </a:cxn>
                <a:cxn ang="0">
                  <a:pos x="42" y="103"/>
                </a:cxn>
                <a:cxn ang="0">
                  <a:pos x="28" y="96"/>
                </a:cxn>
                <a:cxn ang="0">
                  <a:pos x="15" y="82"/>
                </a:cxn>
                <a:cxn ang="0">
                  <a:pos x="5" y="64"/>
                </a:cxn>
                <a:cxn ang="0">
                  <a:pos x="0" y="43"/>
                </a:cxn>
                <a:cxn ang="0">
                  <a:pos x="0" y="25"/>
                </a:cxn>
                <a:cxn ang="0">
                  <a:pos x="7" y="8"/>
                </a:cxn>
                <a:cxn ang="0">
                  <a:pos x="16" y="0"/>
                </a:cxn>
              </a:cxnLst>
              <a:rect l="0" t="0" r="r" b="b"/>
              <a:pathLst>
                <a:path w="72" h="103">
                  <a:moveTo>
                    <a:pt x="16" y="0"/>
                  </a:moveTo>
                  <a:lnTo>
                    <a:pt x="31" y="0"/>
                  </a:lnTo>
                  <a:lnTo>
                    <a:pt x="44" y="7"/>
                  </a:lnTo>
                  <a:lnTo>
                    <a:pt x="57" y="21"/>
                  </a:lnTo>
                  <a:lnTo>
                    <a:pt x="67" y="39"/>
                  </a:lnTo>
                  <a:lnTo>
                    <a:pt x="72" y="61"/>
                  </a:lnTo>
                  <a:lnTo>
                    <a:pt x="72" y="80"/>
                  </a:lnTo>
                  <a:lnTo>
                    <a:pt x="67" y="95"/>
                  </a:lnTo>
                  <a:lnTo>
                    <a:pt x="56" y="103"/>
                  </a:lnTo>
                  <a:lnTo>
                    <a:pt x="42" y="103"/>
                  </a:lnTo>
                  <a:lnTo>
                    <a:pt x="28" y="96"/>
                  </a:lnTo>
                  <a:lnTo>
                    <a:pt x="15" y="82"/>
                  </a:lnTo>
                  <a:lnTo>
                    <a:pt x="5" y="64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7" y="8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1" name="Freeform 223"/>
            <p:cNvSpPr>
              <a:spLocks/>
            </p:cNvSpPr>
            <p:nvPr/>
          </p:nvSpPr>
          <p:spPr bwMode="auto">
            <a:xfrm>
              <a:off x="1841787" y="3429631"/>
              <a:ext cx="37297" cy="533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40" y="7"/>
                </a:cxn>
                <a:cxn ang="0">
                  <a:pos x="52" y="20"/>
                </a:cxn>
                <a:cxn ang="0">
                  <a:pos x="60" y="36"/>
                </a:cxn>
                <a:cxn ang="0">
                  <a:pos x="65" y="56"/>
                </a:cxn>
                <a:cxn ang="0">
                  <a:pos x="65" y="72"/>
                </a:cxn>
                <a:cxn ang="0">
                  <a:pos x="60" y="85"/>
                </a:cxn>
                <a:cxn ang="0">
                  <a:pos x="50" y="93"/>
                </a:cxn>
                <a:cxn ang="0">
                  <a:pos x="37" y="93"/>
                </a:cxn>
                <a:cxn ang="0">
                  <a:pos x="26" y="87"/>
                </a:cxn>
                <a:cxn ang="0">
                  <a:pos x="14" y="76"/>
                </a:cxn>
                <a:cxn ang="0">
                  <a:pos x="4" y="58"/>
                </a:cxn>
                <a:cxn ang="0">
                  <a:pos x="0" y="40"/>
                </a:cxn>
                <a:cxn ang="0">
                  <a:pos x="0" y="22"/>
                </a:cxn>
                <a:cxn ang="0">
                  <a:pos x="4" y="9"/>
                </a:cxn>
                <a:cxn ang="0">
                  <a:pos x="14" y="2"/>
                </a:cxn>
                <a:cxn ang="0">
                  <a:pos x="27" y="0"/>
                </a:cxn>
              </a:cxnLst>
              <a:rect l="0" t="0" r="r" b="b"/>
              <a:pathLst>
                <a:path w="65" h="93">
                  <a:moveTo>
                    <a:pt x="27" y="0"/>
                  </a:moveTo>
                  <a:lnTo>
                    <a:pt x="40" y="7"/>
                  </a:lnTo>
                  <a:lnTo>
                    <a:pt x="52" y="20"/>
                  </a:lnTo>
                  <a:lnTo>
                    <a:pt x="60" y="36"/>
                  </a:lnTo>
                  <a:lnTo>
                    <a:pt x="65" y="56"/>
                  </a:lnTo>
                  <a:lnTo>
                    <a:pt x="65" y="72"/>
                  </a:lnTo>
                  <a:lnTo>
                    <a:pt x="60" y="85"/>
                  </a:lnTo>
                  <a:lnTo>
                    <a:pt x="50" y="93"/>
                  </a:lnTo>
                  <a:lnTo>
                    <a:pt x="37" y="93"/>
                  </a:lnTo>
                  <a:lnTo>
                    <a:pt x="26" y="87"/>
                  </a:lnTo>
                  <a:lnTo>
                    <a:pt x="14" y="76"/>
                  </a:lnTo>
                  <a:lnTo>
                    <a:pt x="4" y="58"/>
                  </a:lnTo>
                  <a:lnTo>
                    <a:pt x="0" y="40"/>
                  </a:lnTo>
                  <a:lnTo>
                    <a:pt x="0" y="22"/>
                  </a:lnTo>
                  <a:lnTo>
                    <a:pt x="4" y="9"/>
                  </a:lnTo>
                  <a:lnTo>
                    <a:pt x="14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2" name="Freeform 224"/>
            <p:cNvSpPr>
              <a:spLocks/>
            </p:cNvSpPr>
            <p:nvPr/>
          </p:nvSpPr>
          <p:spPr bwMode="auto">
            <a:xfrm>
              <a:off x="1799326" y="3196669"/>
              <a:ext cx="141154" cy="153778"/>
            </a:xfrm>
            <a:custGeom>
              <a:avLst/>
              <a:gdLst/>
              <a:ahLst/>
              <a:cxnLst>
                <a:cxn ang="0">
                  <a:pos x="153" y="0"/>
                </a:cxn>
                <a:cxn ang="0">
                  <a:pos x="246" y="34"/>
                </a:cxn>
                <a:cxn ang="0">
                  <a:pos x="204" y="268"/>
                </a:cxn>
                <a:cxn ang="0">
                  <a:pos x="92" y="246"/>
                </a:cxn>
                <a:cxn ang="0">
                  <a:pos x="0" y="157"/>
                </a:cxn>
                <a:cxn ang="0">
                  <a:pos x="111" y="20"/>
                </a:cxn>
                <a:cxn ang="0">
                  <a:pos x="116" y="16"/>
                </a:cxn>
                <a:cxn ang="0">
                  <a:pos x="123" y="10"/>
                </a:cxn>
                <a:cxn ang="0">
                  <a:pos x="129" y="7"/>
                </a:cxn>
                <a:cxn ang="0">
                  <a:pos x="153" y="0"/>
                </a:cxn>
              </a:cxnLst>
              <a:rect l="0" t="0" r="r" b="b"/>
              <a:pathLst>
                <a:path w="246" h="268">
                  <a:moveTo>
                    <a:pt x="153" y="0"/>
                  </a:moveTo>
                  <a:lnTo>
                    <a:pt x="246" y="34"/>
                  </a:lnTo>
                  <a:lnTo>
                    <a:pt x="204" y="268"/>
                  </a:lnTo>
                  <a:lnTo>
                    <a:pt x="92" y="246"/>
                  </a:lnTo>
                  <a:lnTo>
                    <a:pt x="0" y="157"/>
                  </a:lnTo>
                  <a:lnTo>
                    <a:pt x="111" y="20"/>
                  </a:lnTo>
                  <a:lnTo>
                    <a:pt x="116" y="16"/>
                  </a:lnTo>
                  <a:lnTo>
                    <a:pt x="123" y="10"/>
                  </a:lnTo>
                  <a:lnTo>
                    <a:pt x="129" y="7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rgbClr val="EBF1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3" name="Freeform 225"/>
            <p:cNvSpPr>
              <a:spLocks/>
            </p:cNvSpPr>
            <p:nvPr/>
          </p:nvSpPr>
          <p:spPr bwMode="auto">
            <a:xfrm>
              <a:off x="1786129" y="3137568"/>
              <a:ext cx="343704" cy="356902"/>
            </a:xfrm>
            <a:custGeom>
              <a:avLst/>
              <a:gdLst/>
              <a:ahLst/>
              <a:cxnLst>
                <a:cxn ang="0">
                  <a:pos x="508" y="0"/>
                </a:cxn>
                <a:cxn ang="0">
                  <a:pos x="548" y="0"/>
                </a:cxn>
                <a:cxn ang="0">
                  <a:pos x="599" y="5"/>
                </a:cxn>
                <a:cxn ang="0">
                  <a:pos x="573" y="247"/>
                </a:cxn>
                <a:cxn ang="0">
                  <a:pos x="284" y="532"/>
                </a:cxn>
                <a:cxn ang="0">
                  <a:pos x="248" y="622"/>
                </a:cxn>
                <a:cxn ang="0">
                  <a:pos x="209" y="601"/>
                </a:cxn>
                <a:cxn ang="0">
                  <a:pos x="209" y="565"/>
                </a:cxn>
                <a:cxn ang="0">
                  <a:pos x="199" y="529"/>
                </a:cxn>
                <a:cxn ang="0">
                  <a:pos x="186" y="501"/>
                </a:cxn>
                <a:cxn ang="0">
                  <a:pos x="170" y="480"/>
                </a:cxn>
                <a:cxn ang="0">
                  <a:pos x="150" y="462"/>
                </a:cxn>
                <a:cxn ang="0">
                  <a:pos x="131" y="451"/>
                </a:cxn>
                <a:cxn ang="0">
                  <a:pos x="110" y="447"/>
                </a:cxn>
                <a:cxn ang="0">
                  <a:pos x="88" y="451"/>
                </a:cxn>
                <a:cxn ang="0">
                  <a:pos x="74" y="460"/>
                </a:cxn>
                <a:cxn ang="0">
                  <a:pos x="62" y="474"/>
                </a:cxn>
                <a:cxn ang="0">
                  <a:pos x="54" y="491"/>
                </a:cxn>
                <a:cxn ang="0">
                  <a:pos x="49" y="513"/>
                </a:cxn>
                <a:cxn ang="0">
                  <a:pos x="33" y="503"/>
                </a:cxn>
                <a:cxn ang="0">
                  <a:pos x="31" y="501"/>
                </a:cxn>
                <a:cxn ang="0">
                  <a:pos x="25" y="496"/>
                </a:cxn>
                <a:cxn ang="0">
                  <a:pos x="17" y="487"/>
                </a:cxn>
                <a:cxn ang="0">
                  <a:pos x="8" y="474"/>
                </a:cxn>
                <a:cxn ang="0">
                  <a:pos x="2" y="456"/>
                </a:cxn>
                <a:cxn ang="0">
                  <a:pos x="0" y="431"/>
                </a:cxn>
                <a:cxn ang="0">
                  <a:pos x="2" y="312"/>
                </a:cxn>
                <a:cxn ang="0">
                  <a:pos x="2" y="307"/>
                </a:cxn>
                <a:cxn ang="0">
                  <a:pos x="4" y="297"/>
                </a:cxn>
                <a:cxn ang="0">
                  <a:pos x="7" y="283"/>
                </a:cxn>
                <a:cxn ang="0">
                  <a:pos x="12" y="268"/>
                </a:cxn>
                <a:cxn ang="0">
                  <a:pos x="22" y="253"/>
                </a:cxn>
                <a:cxn ang="0">
                  <a:pos x="35" y="245"/>
                </a:cxn>
                <a:cxn ang="0">
                  <a:pos x="181" y="318"/>
                </a:cxn>
                <a:cxn ang="0">
                  <a:pos x="183" y="320"/>
                </a:cxn>
                <a:cxn ang="0">
                  <a:pos x="188" y="322"/>
                </a:cxn>
                <a:cxn ang="0">
                  <a:pos x="204" y="322"/>
                </a:cxn>
                <a:cxn ang="0">
                  <a:pos x="212" y="317"/>
                </a:cxn>
                <a:cxn ang="0">
                  <a:pos x="221" y="305"/>
                </a:cxn>
                <a:cxn ang="0">
                  <a:pos x="227" y="289"/>
                </a:cxn>
                <a:cxn ang="0">
                  <a:pos x="230" y="217"/>
                </a:cxn>
                <a:cxn ang="0">
                  <a:pos x="230" y="206"/>
                </a:cxn>
                <a:cxn ang="0">
                  <a:pos x="229" y="194"/>
                </a:cxn>
                <a:cxn ang="0">
                  <a:pos x="225" y="183"/>
                </a:cxn>
                <a:cxn ang="0">
                  <a:pos x="217" y="172"/>
                </a:cxn>
                <a:cxn ang="0">
                  <a:pos x="204" y="165"/>
                </a:cxn>
                <a:cxn ang="0">
                  <a:pos x="159" y="144"/>
                </a:cxn>
                <a:cxn ang="0">
                  <a:pos x="157" y="142"/>
                </a:cxn>
                <a:cxn ang="0">
                  <a:pos x="152" y="141"/>
                </a:cxn>
                <a:cxn ang="0">
                  <a:pos x="146" y="137"/>
                </a:cxn>
                <a:cxn ang="0">
                  <a:pos x="139" y="132"/>
                </a:cxn>
                <a:cxn ang="0">
                  <a:pos x="136" y="126"/>
                </a:cxn>
                <a:cxn ang="0">
                  <a:pos x="137" y="121"/>
                </a:cxn>
                <a:cxn ang="0">
                  <a:pos x="144" y="114"/>
                </a:cxn>
                <a:cxn ang="0">
                  <a:pos x="159" y="108"/>
                </a:cxn>
                <a:cxn ang="0">
                  <a:pos x="411" y="12"/>
                </a:cxn>
                <a:cxn ang="0">
                  <a:pos x="415" y="10"/>
                </a:cxn>
                <a:cxn ang="0">
                  <a:pos x="426" y="8"/>
                </a:cxn>
                <a:cxn ang="0">
                  <a:pos x="446" y="5"/>
                </a:cxn>
                <a:cxn ang="0">
                  <a:pos x="472" y="2"/>
                </a:cxn>
                <a:cxn ang="0">
                  <a:pos x="508" y="0"/>
                </a:cxn>
              </a:cxnLst>
              <a:rect l="0" t="0" r="r" b="b"/>
              <a:pathLst>
                <a:path w="599" h="622">
                  <a:moveTo>
                    <a:pt x="508" y="0"/>
                  </a:moveTo>
                  <a:lnTo>
                    <a:pt x="548" y="0"/>
                  </a:lnTo>
                  <a:lnTo>
                    <a:pt x="599" y="5"/>
                  </a:lnTo>
                  <a:lnTo>
                    <a:pt x="573" y="247"/>
                  </a:lnTo>
                  <a:lnTo>
                    <a:pt x="284" y="532"/>
                  </a:lnTo>
                  <a:lnTo>
                    <a:pt x="248" y="622"/>
                  </a:lnTo>
                  <a:lnTo>
                    <a:pt x="209" y="601"/>
                  </a:lnTo>
                  <a:lnTo>
                    <a:pt x="209" y="565"/>
                  </a:lnTo>
                  <a:lnTo>
                    <a:pt x="199" y="529"/>
                  </a:lnTo>
                  <a:lnTo>
                    <a:pt x="186" y="501"/>
                  </a:lnTo>
                  <a:lnTo>
                    <a:pt x="170" y="480"/>
                  </a:lnTo>
                  <a:lnTo>
                    <a:pt x="150" y="462"/>
                  </a:lnTo>
                  <a:lnTo>
                    <a:pt x="131" y="451"/>
                  </a:lnTo>
                  <a:lnTo>
                    <a:pt x="110" y="447"/>
                  </a:lnTo>
                  <a:lnTo>
                    <a:pt x="88" y="451"/>
                  </a:lnTo>
                  <a:lnTo>
                    <a:pt x="74" y="460"/>
                  </a:lnTo>
                  <a:lnTo>
                    <a:pt x="62" y="474"/>
                  </a:lnTo>
                  <a:lnTo>
                    <a:pt x="54" y="491"/>
                  </a:lnTo>
                  <a:lnTo>
                    <a:pt x="49" y="513"/>
                  </a:lnTo>
                  <a:lnTo>
                    <a:pt x="33" y="503"/>
                  </a:lnTo>
                  <a:lnTo>
                    <a:pt x="31" y="501"/>
                  </a:lnTo>
                  <a:lnTo>
                    <a:pt x="25" y="496"/>
                  </a:lnTo>
                  <a:lnTo>
                    <a:pt x="17" y="487"/>
                  </a:lnTo>
                  <a:lnTo>
                    <a:pt x="8" y="474"/>
                  </a:lnTo>
                  <a:lnTo>
                    <a:pt x="2" y="456"/>
                  </a:lnTo>
                  <a:lnTo>
                    <a:pt x="0" y="431"/>
                  </a:lnTo>
                  <a:lnTo>
                    <a:pt x="2" y="312"/>
                  </a:lnTo>
                  <a:lnTo>
                    <a:pt x="2" y="307"/>
                  </a:lnTo>
                  <a:lnTo>
                    <a:pt x="4" y="297"/>
                  </a:lnTo>
                  <a:lnTo>
                    <a:pt x="7" y="283"/>
                  </a:lnTo>
                  <a:lnTo>
                    <a:pt x="12" y="268"/>
                  </a:lnTo>
                  <a:lnTo>
                    <a:pt x="22" y="253"/>
                  </a:lnTo>
                  <a:lnTo>
                    <a:pt x="35" y="245"/>
                  </a:lnTo>
                  <a:lnTo>
                    <a:pt x="181" y="318"/>
                  </a:lnTo>
                  <a:lnTo>
                    <a:pt x="183" y="320"/>
                  </a:lnTo>
                  <a:lnTo>
                    <a:pt x="188" y="322"/>
                  </a:lnTo>
                  <a:lnTo>
                    <a:pt x="204" y="322"/>
                  </a:lnTo>
                  <a:lnTo>
                    <a:pt x="212" y="317"/>
                  </a:lnTo>
                  <a:lnTo>
                    <a:pt x="221" y="305"/>
                  </a:lnTo>
                  <a:lnTo>
                    <a:pt x="227" y="289"/>
                  </a:lnTo>
                  <a:lnTo>
                    <a:pt x="230" y="217"/>
                  </a:lnTo>
                  <a:lnTo>
                    <a:pt x="230" y="206"/>
                  </a:lnTo>
                  <a:lnTo>
                    <a:pt x="229" y="194"/>
                  </a:lnTo>
                  <a:lnTo>
                    <a:pt x="225" y="183"/>
                  </a:lnTo>
                  <a:lnTo>
                    <a:pt x="217" y="172"/>
                  </a:lnTo>
                  <a:lnTo>
                    <a:pt x="204" y="165"/>
                  </a:lnTo>
                  <a:lnTo>
                    <a:pt x="159" y="144"/>
                  </a:lnTo>
                  <a:lnTo>
                    <a:pt x="157" y="142"/>
                  </a:lnTo>
                  <a:lnTo>
                    <a:pt x="152" y="141"/>
                  </a:lnTo>
                  <a:lnTo>
                    <a:pt x="146" y="137"/>
                  </a:lnTo>
                  <a:lnTo>
                    <a:pt x="139" y="132"/>
                  </a:lnTo>
                  <a:lnTo>
                    <a:pt x="136" y="126"/>
                  </a:lnTo>
                  <a:lnTo>
                    <a:pt x="137" y="121"/>
                  </a:lnTo>
                  <a:lnTo>
                    <a:pt x="144" y="114"/>
                  </a:lnTo>
                  <a:lnTo>
                    <a:pt x="159" y="108"/>
                  </a:lnTo>
                  <a:lnTo>
                    <a:pt x="411" y="12"/>
                  </a:lnTo>
                  <a:lnTo>
                    <a:pt x="415" y="10"/>
                  </a:lnTo>
                  <a:lnTo>
                    <a:pt x="426" y="8"/>
                  </a:lnTo>
                  <a:lnTo>
                    <a:pt x="446" y="5"/>
                  </a:lnTo>
                  <a:lnTo>
                    <a:pt x="472" y="2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" name="Freeform 226"/>
            <p:cNvSpPr>
              <a:spLocks/>
            </p:cNvSpPr>
            <p:nvPr/>
          </p:nvSpPr>
          <p:spPr bwMode="auto">
            <a:xfrm>
              <a:off x="2161392" y="3572507"/>
              <a:ext cx="79758" cy="108448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67" y="4"/>
                </a:cxn>
                <a:cxn ang="0">
                  <a:pos x="85" y="14"/>
                </a:cxn>
                <a:cxn ang="0">
                  <a:pos x="102" y="29"/>
                </a:cxn>
                <a:cxn ang="0">
                  <a:pos x="118" y="48"/>
                </a:cxn>
                <a:cxn ang="0">
                  <a:pos x="129" y="73"/>
                </a:cxn>
                <a:cxn ang="0">
                  <a:pos x="137" y="97"/>
                </a:cxn>
                <a:cxn ang="0">
                  <a:pos x="139" y="122"/>
                </a:cxn>
                <a:cxn ang="0">
                  <a:pos x="137" y="145"/>
                </a:cxn>
                <a:cxn ang="0">
                  <a:pos x="131" y="163"/>
                </a:cxn>
                <a:cxn ang="0">
                  <a:pos x="121" y="177"/>
                </a:cxn>
                <a:cxn ang="0">
                  <a:pos x="106" y="187"/>
                </a:cxn>
                <a:cxn ang="0">
                  <a:pos x="85" y="189"/>
                </a:cxn>
                <a:cxn ang="0">
                  <a:pos x="64" y="182"/>
                </a:cxn>
                <a:cxn ang="0">
                  <a:pos x="44" y="168"/>
                </a:cxn>
                <a:cxn ang="0">
                  <a:pos x="27" y="145"/>
                </a:cxn>
                <a:cxn ang="0">
                  <a:pos x="12" y="117"/>
                </a:cxn>
                <a:cxn ang="0">
                  <a:pos x="4" y="91"/>
                </a:cxn>
                <a:cxn ang="0">
                  <a:pos x="0" y="66"/>
                </a:cxn>
                <a:cxn ang="0">
                  <a:pos x="2" y="45"/>
                </a:cxn>
                <a:cxn ang="0">
                  <a:pos x="9" y="26"/>
                </a:cxn>
                <a:cxn ang="0">
                  <a:pos x="18" y="11"/>
                </a:cxn>
                <a:cxn ang="0">
                  <a:pos x="33" y="3"/>
                </a:cxn>
                <a:cxn ang="0">
                  <a:pos x="49" y="0"/>
                </a:cxn>
              </a:cxnLst>
              <a:rect l="0" t="0" r="r" b="b"/>
              <a:pathLst>
                <a:path w="139" h="189">
                  <a:moveTo>
                    <a:pt x="49" y="0"/>
                  </a:moveTo>
                  <a:lnTo>
                    <a:pt x="67" y="4"/>
                  </a:lnTo>
                  <a:lnTo>
                    <a:pt x="85" y="14"/>
                  </a:lnTo>
                  <a:lnTo>
                    <a:pt x="102" y="29"/>
                  </a:lnTo>
                  <a:lnTo>
                    <a:pt x="118" y="48"/>
                  </a:lnTo>
                  <a:lnTo>
                    <a:pt x="129" y="73"/>
                  </a:lnTo>
                  <a:lnTo>
                    <a:pt x="137" y="97"/>
                  </a:lnTo>
                  <a:lnTo>
                    <a:pt x="139" y="122"/>
                  </a:lnTo>
                  <a:lnTo>
                    <a:pt x="137" y="145"/>
                  </a:lnTo>
                  <a:lnTo>
                    <a:pt x="131" y="163"/>
                  </a:lnTo>
                  <a:lnTo>
                    <a:pt x="121" y="177"/>
                  </a:lnTo>
                  <a:lnTo>
                    <a:pt x="106" y="187"/>
                  </a:lnTo>
                  <a:lnTo>
                    <a:pt x="85" y="189"/>
                  </a:lnTo>
                  <a:lnTo>
                    <a:pt x="64" y="182"/>
                  </a:lnTo>
                  <a:lnTo>
                    <a:pt x="44" y="168"/>
                  </a:lnTo>
                  <a:lnTo>
                    <a:pt x="27" y="145"/>
                  </a:lnTo>
                  <a:lnTo>
                    <a:pt x="12" y="117"/>
                  </a:lnTo>
                  <a:lnTo>
                    <a:pt x="4" y="91"/>
                  </a:lnTo>
                  <a:lnTo>
                    <a:pt x="0" y="66"/>
                  </a:lnTo>
                  <a:lnTo>
                    <a:pt x="2" y="45"/>
                  </a:lnTo>
                  <a:lnTo>
                    <a:pt x="9" y="26"/>
                  </a:lnTo>
                  <a:lnTo>
                    <a:pt x="18" y="11"/>
                  </a:lnTo>
                  <a:lnTo>
                    <a:pt x="33" y="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5" name="Freeform 227"/>
            <p:cNvSpPr>
              <a:spLocks/>
            </p:cNvSpPr>
            <p:nvPr/>
          </p:nvSpPr>
          <p:spPr bwMode="auto">
            <a:xfrm>
              <a:off x="2149342" y="3574228"/>
              <a:ext cx="76889" cy="118776"/>
            </a:xfrm>
            <a:custGeom>
              <a:avLst/>
              <a:gdLst/>
              <a:ahLst/>
              <a:cxnLst>
                <a:cxn ang="0">
                  <a:pos x="52" y="0"/>
                </a:cxn>
                <a:cxn ang="0">
                  <a:pos x="119" y="47"/>
                </a:cxn>
                <a:cxn ang="0">
                  <a:pos x="134" y="179"/>
                </a:cxn>
                <a:cxn ang="0">
                  <a:pos x="82" y="207"/>
                </a:cxn>
                <a:cxn ang="0">
                  <a:pos x="79" y="199"/>
                </a:cxn>
                <a:cxn ang="0">
                  <a:pos x="10" y="37"/>
                </a:cxn>
                <a:cxn ang="0">
                  <a:pos x="0" y="18"/>
                </a:cxn>
                <a:cxn ang="0">
                  <a:pos x="52" y="0"/>
                </a:cxn>
              </a:cxnLst>
              <a:rect l="0" t="0" r="r" b="b"/>
              <a:pathLst>
                <a:path w="134" h="207">
                  <a:moveTo>
                    <a:pt x="52" y="0"/>
                  </a:moveTo>
                  <a:lnTo>
                    <a:pt x="119" y="47"/>
                  </a:lnTo>
                  <a:lnTo>
                    <a:pt x="134" y="179"/>
                  </a:lnTo>
                  <a:lnTo>
                    <a:pt x="82" y="207"/>
                  </a:lnTo>
                  <a:lnTo>
                    <a:pt x="79" y="199"/>
                  </a:lnTo>
                  <a:lnTo>
                    <a:pt x="10" y="37"/>
                  </a:lnTo>
                  <a:lnTo>
                    <a:pt x="0" y="18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6" name="Freeform 228"/>
            <p:cNvSpPr>
              <a:spLocks/>
            </p:cNvSpPr>
            <p:nvPr/>
          </p:nvSpPr>
          <p:spPr bwMode="auto">
            <a:xfrm>
              <a:off x="2133850" y="3581687"/>
              <a:ext cx="80332" cy="113038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70" y="5"/>
                </a:cxn>
                <a:cxn ang="0">
                  <a:pos x="88" y="15"/>
                </a:cxn>
                <a:cxn ang="0">
                  <a:pos x="104" y="31"/>
                </a:cxn>
                <a:cxn ang="0">
                  <a:pos x="119" y="50"/>
                </a:cxn>
                <a:cxn ang="0">
                  <a:pos x="130" y="75"/>
                </a:cxn>
                <a:cxn ang="0">
                  <a:pos x="138" y="101"/>
                </a:cxn>
                <a:cxn ang="0">
                  <a:pos x="140" y="127"/>
                </a:cxn>
                <a:cxn ang="0">
                  <a:pos x="138" y="150"/>
                </a:cxn>
                <a:cxn ang="0">
                  <a:pos x="132" y="170"/>
                </a:cxn>
                <a:cxn ang="0">
                  <a:pos x="120" y="184"/>
                </a:cxn>
                <a:cxn ang="0">
                  <a:pos x="106" y="194"/>
                </a:cxn>
                <a:cxn ang="0">
                  <a:pos x="89" y="197"/>
                </a:cxn>
                <a:cxn ang="0">
                  <a:pos x="70" y="192"/>
                </a:cxn>
                <a:cxn ang="0">
                  <a:pos x="53" y="183"/>
                </a:cxn>
                <a:cxn ang="0">
                  <a:pos x="35" y="166"/>
                </a:cxn>
                <a:cxn ang="0">
                  <a:pos x="21" y="147"/>
                </a:cxn>
                <a:cxn ang="0">
                  <a:pos x="9" y="122"/>
                </a:cxn>
                <a:cxn ang="0">
                  <a:pos x="1" y="96"/>
                </a:cxn>
                <a:cxn ang="0">
                  <a:pos x="0" y="70"/>
                </a:cxn>
                <a:cxn ang="0">
                  <a:pos x="1" y="47"/>
                </a:cxn>
                <a:cxn ang="0">
                  <a:pos x="8" y="28"/>
                </a:cxn>
                <a:cxn ang="0">
                  <a:pos x="19" y="13"/>
                </a:cxn>
                <a:cxn ang="0">
                  <a:pos x="34" y="3"/>
                </a:cxn>
                <a:cxn ang="0">
                  <a:pos x="50" y="0"/>
                </a:cxn>
              </a:cxnLst>
              <a:rect l="0" t="0" r="r" b="b"/>
              <a:pathLst>
                <a:path w="140" h="197">
                  <a:moveTo>
                    <a:pt x="50" y="0"/>
                  </a:moveTo>
                  <a:lnTo>
                    <a:pt x="70" y="5"/>
                  </a:lnTo>
                  <a:lnTo>
                    <a:pt x="88" y="15"/>
                  </a:lnTo>
                  <a:lnTo>
                    <a:pt x="104" y="31"/>
                  </a:lnTo>
                  <a:lnTo>
                    <a:pt x="119" y="50"/>
                  </a:lnTo>
                  <a:lnTo>
                    <a:pt x="130" y="75"/>
                  </a:lnTo>
                  <a:lnTo>
                    <a:pt x="138" y="101"/>
                  </a:lnTo>
                  <a:lnTo>
                    <a:pt x="140" y="127"/>
                  </a:lnTo>
                  <a:lnTo>
                    <a:pt x="138" y="150"/>
                  </a:lnTo>
                  <a:lnTo>
                    <a:pt x="132" y="170"/>
                  </a:lnTo>
                  <a:lnTo>
                    <a:pt x="120" y="184"/>
                  </a:lnTo>
                  <a:lnTo>
                    <a:pt x="106" y="194"/>
                  </a:lnTo>
                  <a:lnTo>
                    <a:pt x="89" y="197"/>
                  </a:lnTo>
                  <a:lnTo>
                    <a:pt x="70" y="192"/>
                  </a:lnTo>
                  <a:lnTo>
                    <a:pt x="53" y="183"/>
                  </a:lnTo>
                  <a:lnTo>
                    <a:pt x="35" y="166"/>
                  </a:lnTo>
                  <a:lnTo>
                    <a:pt x="21" y="147"/>
                  </a:lnTo>
                  <a:lnTo>
                    <a:pt x="9" y="122"/>
                  </a:lnTo>
                  <a:lnTo>
                    <a:pt x="1" y="96"/>
                  </a:lnTo>
                  <a:lnTo>
                    <a:pt x="0" y="70"/>
                  </a:lnTo>
                  <a:lnTo>
                    <a:pt x="1" y="47"/>
                  </a:lnTo>
                  <a:lnTo>
                    <a:pt x="8" y="28"/>
                  </a:lnTo>
                  <a:lnTo>
                    <a:pt x="19" y="13"/>
                  </a:lnTo>
                  <a:lnTo>
                    <a:pt x="34" y="3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7" name="Freeform 229"/>
            <p:cNvSpPr>
              <a:spLocks/>
            </p:cNvSpPr>
            <p:nvPr/>
          </p:nvSpPr>
          <p:spPr bwMode="auto">
            <a:xfrm>
              <a:off x="2151638" y="3609803"/>
              <a:ext cx="41887" cy="59101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31" y="0"/>
                </a:cxn>
                <a:cxn ang="0">
                  <a:pos x="45" y="6"/>
                </a:cxn>
                <a:cxn ang="0">
                  <a:pos x="58" y="21"/>
                </a:cxn>
                <a:cxn ang="0">
                  <a:pos x="68" y="39"/>
                </a:cxn>
                <a:cxn ang="0">
                  <a:pos x="73" y="60"/>
                </a:cxn>
                <a:cxn ang="0">
                  <a:pos x="73" y="78"/>
                </a:cxn>
                <a:cxn ang="0">
                  <a:pos x="66" y="94"/>
                </a:cxn>
                <a:cxn ang="0">
                  <a:pos x="57" y="103"/>
                </a:cxn>
                <a:cxn ang="0">
                  <a:pos x="42" y="103"/>
                </a:cxn>
                <a:cxn ang="0">
                  <a:pos x="29" y="96"/>
                </a:cxn>
                <a:cxn ang="0">
                  <a:pos x="14" y="81"/>
                </a:cxn>
                <a:cxn ang="0">
                  <a:pos x="4" y="63"/>
                </a:cxn>
                <a:cxn ang="0">
                  <a:pos x="0" y="42"/>
                </a:cxn>
                <a:cxn ang="0">
                  <a:pos x="1" y="23"/>
                </a:cxn>
                <a:cxn ang="0">
                  <a:pos x="6" y="8"/>
                </a:cxn>
                <a:cxn ang="0">
                  <a:pos x="17" y="0"/>
                </a:cxn>
              </a:cxnLst>
              <a:rect l="0" t="0" r="r" b="b"/>
              <a:pathLst>
                <a:path w="73" h="103">
                  <a:moveTo>
                    <a:pt x="17" y="0"/>
                  </a:moveTo>
                  <a:lnTo>
                    <a:pt x="31" y="0"/>
                  </a:lnTo>
                  <a:lnTo>
                    <a:pt x="45" y="6"/>
                  </a:lnTo>
                  <a:lnTo>
                    <a:pt x="58" y="21"/>
                  </a:lnTo>
                  <a:lnTo>
                    <a:pt x="68" y="39"/>
                  </a:lnTo>
                  <a:lnTo>
                    <a:pt x="73" y="60"/>
                  </a:lnTo>
                  <a:lnTo>
                    <a:pt x="73" y="78"/>
                  </a:lnTo>
                  <a:lnTo>
                    <a:pt x="66" y="94"/>
                  </a:lnTo>
                  <a:lnTo>
                    <a:pt x="57" y="103"/>
                  </a:lnTo>
                  <a:lnTo>
                    <a:pt x="42" y="103"/>
                  </a:lnTo>
                  <a:lnTo>
                    <a:pt x="29" y="96"/>
                  </a:lnTo>
                  <a:lnTo>
                    <a:pt x="14" y="81"/>
                  </a:lnTo>
                  <a:lnTo>
                    <a:pt x="4" y="63"/>
                  </a:lnTo>
                  <a:lnTo>
                    <a:pt x="0" y="42"/>
                  </a:lnTo>
                  <a:lnTo>
                    <a:pt x="1" y="23"/>
                  </a:lnTo>
                  <a:lnTo>
                    <a:pt x="6" y="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161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8" name="Freeform 230"/>
            <p:cNvSpPr>
              <a:spLocks/>
            </p:cNvSpPr>
            <p:nvPr/>
          </p:nvSpPr>
          <p:spPr bwMode="auto">
            <a:xfrm>
              <a:off x="2155080" y="3611525"/>
              <a:ext cx="37297" cy="53363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41" y="7"/>
                </a:cxn>
                <a:cxn ang="0">
                  <a:pos x="52" y="20"/>
                </a:cxn>
                <a:cxn ang="0">
                  <a:pos x="60" y="36"/>
                </a:cxn>
                <a:cxn ang="0">
                  <a:pos x="65" y="54"/>
                </a:cxn>
                <a:cxn ang="0">
                  <a:pos x="65" y="70"/>
                </a:cxn>
                <a:cxn ang="0">
                  <a:pos x="60" y="85"/>
                </a:cxn>
                <a:cxn ang="0">
                  <a:pos x="51" y="91"/>
                </a:cxn>
                <a:cxn ang="0">
                  <a:pos x="39" y="93"/>
                </a:cxn>
                <a:cxn ang="0">
                  <a:pos x="26" y="87"/>
                </a:cxn>
                <a:cxn ang="0">
                  <a:pos x="15" y="74"/>
                </a:cxn>
                <a:cxn ang="0">
                  <a:pos x="5" y="57"/>
                </a:cxn>
                <a:cxn ang="0">
                  <a:pos x="0" y="39"/>
                </a:cxn>
                <a:cxn ang="0">
                  <a:pos x="2" y="21"/>
                </a:cxn>
                <a:cxn ang="0">
                  <a:pos x="7" y="8"/>
                </a:cxn>
                <a:cxn ang="0">
                  <a:pos x="16" y="2"/>
                </a:cxn>
                <a:cxn ang="0">
                  <a:pos x="28" y="0"/>
                </a:cxn>
              </a:cxnLst>
              <a:rect l="0" t="0" r="r" b="b"/>
              <a:pathLst>
                <a:path w="65" h="93">
                  <a:moveTo>
                    <a:pt x="28" y="0"/>
                  </a:moveTo>
                  <a:lnTo>
                    <a:pt x="41" y="7"/>
                  </a:lnTo>
                  <a:lnTo>
                    <a:pt x="52" y="20"/>
                  </a:lnTo>
                  <a:lnTo>
                    <a:pt x="60" y="36"/>
                  </a:lnTo>
                  <a:lnTo>
                    <a:pt x="65" y="54"/>
                  </a:lnTo>
                  <a:lnTo>
                    <a:pt x="65" y="70"/>
                  </a:lnTo>
                  <a:lnTo>
                    <a:pt x="60" y="85"/>
                  </a:lnTo>
                  <a:lnTo>
                    <a:pt x="51" y="91"/>
                  </a:lnTo>
                  <a:lnTo>
                    <a:pt x="39" y="93"/>
                  </a:lnTo>
                  <a:lnTo>
                    <a:pt x="26" y="87"/>
                  </a:lnTo>
                  <a:lnTo>
                    <a:pt x="15" y="74"/>
                  </a:lnTo>
                  <a:lnTo>
                    <a:pt x="5" y="57"/>
                  </a:lnTo>
                  <a:lnTo>
                    <a:pt x="0" y="39"/>
                  </a:lnTo>
                  <a:lnTo>
                    <a:pt x="2" y="21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FD8D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9" name="Freeform 231"/>
            <p:cNvSpPr>
              <a:spLocks/>
            </p:cNvSpPr>
            <p:nvPr/>
          </p:nvSpPr>
          <p:spPr bwMode="auto">
            <a:xfrm>
              <a:off x="1928430" y="3139863"/>
              <a:ext cx="229519" cy="354607"/>
            </a:xfrm>
            <a:custGeom>
              <a:avLst/>
              <a:gdLst/>
              <a:ahLst/>
              <a:cxnLst>
                <a:cxn ang="0">
                  <a:pos x="353" y="0"/>
                </a:cxn>
                <a:cxn ang="0">
                  <a:pos x="349" y="101"/>
                </a:cxn>
                <a:cxn ang="0">
                  <a:pos x="400" y="460"/>
                </a:cxn>
                <a:cxn ang="0">
                  <a:pos x="0" y="618"/>
                </a:cxn>
                <a:cxn ang="0">
                  <a:pos x="7" y="143"/>
                </a:cxn>
                <a:cxn ang="0">
                  <a:pos x="353" y="0"/>
                </a:cxn>
              </a:cxnLst>
              <a:rect l="0" t="0" r="r" b="b"/>
              <a:pathLst>
                <a:path w="400" h="618">
                  <a:moveTo>
                    <a:pt x="353" y="0"/>
                  </a:moveTo>
                  <a:lnTo>
                    <a:pt x="349" y="101"/>
                  </a:lnTo>
                  <a:lnTo>
                    <a:pt x="400" y="460"/>
                  </a:lnTo>
                  <a:lnTo>
                    <a:pt x="0" y="618"/>
                  </a:lnTo>
                  <a:lnTo>
                    <a:pt x="7" y="143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rgbClr val="78879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0" name="Freeform 232"/>
            <p:cNvSpPr>
              <a:spLocks/>
            </p:cNvSpPr>
            <p:nvPr/>
          </p:nvSpPr>
          <p:spPr bwMode="auto">
            <a:xfrm>
              <a:off x="1940480" y="3142158"/>
              <a:ext cx="546829" cy="290342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953" y="279"/>
                </a:cxn>
                <a:cxn ang="0">
                  <a:pos x="924" y="319"/>
                </a:cxn>
                <a:cxn ang="0">
                  <a:pos x="555" y="506"/>
                </a:cxn>
                <a:cxn ang="0">
                  <a:pos x="22" y="200"/>
                </a:cxn>
                <a:cxn ang="0">
                  <a:pos x="0" y="157"/>
                </a:cxn>
                <a:cxn ang="0">
                  <a:pos x="368" y="0"/>
                </a:cxn>
              </a:cxnLst>
              <a:rect l="0" t="0" r="r" b="b"/>
              <a:pathLst>
                <a:path w="953" h="506">
                  <a:moveTo>
                    <a:pt x="368" y="0"/>
                  </a:moveTo>
                  <a:lnTo>
                    <a:pt x="953" y="279"/>
                  </a:lnTo>
                  <a:lnTo>
                    <a:pt x="924" y="319"/>
                  </a:lnTo>
                  <a:lnTo>
                    <a:pt x="555" y="506"/>
                  </a:lnTo>
                  <a:lnTo>
                    <a:pt x="22" y="200"/>
                  </a:lnTo>
                  <a:lnTo>
                    <a:pt x="0" y="157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1" name="Freeform 233"/>
            <p:cNvSpPr>
              <a:spLocks/>
            </p:cNvSpPr>
            <p:nvPr/>
          </p:nvSpPr>
          <p:spPr bwMode="auto">
            <a:xfrm>
              <a:off x="1940480" y="3232244"/>
              <a:ext cx="337393" cy="4475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55" y="289"/>
                </a:cxn>
                <a:cxn ang="0">
                  <a:pos x="588" y="335"/>
                </a:cxn>
                <a:cxn ang="0">
                  <a:pos x="581" y="749"/>
                </a:cxn>
                <a:cxn ang="0">
                  <a:pos x="555" y="780"/>
                </a:cxn>
                <a:cxn ang="0">
                  <a:pos x="491" y="746"/>
                </a:cxn>
                <a:cxn ang="0">
                  <a:pos x="493" y="723"/>
                </a:cxn>
                <a:cxn ang="0">
                  <a:pos x="490" y="700"/>
                </a:cxn>
                <a:cxn ang="0">
                  <a:pos x="482" y="677"/>
                </a:cxn>
                <a:cxn ang="0">
                  <a:pos x="469" y="650"/>
                </a:cxn>
                <a:cxn ang="0">
                  <a:pos x="452" y="628"/>
                </a:cxn>
                <a:cxn ang="0">
                  <a:pos x="434" y="610"/>
                </a:cxn>
                <a:cxn ang="0">
                  <a:pos x="413" y="599"/>
                </a:cxn>
                <a:cxn ang="0">
                  <a:pos x="392" y="596"/>
                </a:cxn>
                <a:cxn ang="0">
                  <a:pos x="372" y="599"/>
                </a:cxn>
                <a:cxn ang="0">
                  <a:pos x="358" y="607"/>
                </a:cxn>
                <a:cxn ang="0">
                  <a:pos x="346" y="620"/>
                </a:cxn>
                <a:cxn ang="0">
                  <a:pos x="338" y="638"/>
                </a:cxn>
                <a:cxn ang="0">
                  <a:pos x="333" y="658"/>
                </a:cxn>
                <a:cxn ang="0">
                  <a:pos x="323" y="653"/>
                </a:cxn>
                <a:cxn ang="0">
                  <a:pos x="322" y="619"/>
                </a:cxn>
                <a:cxn ang="0">
                  <a:pos x="314" y="584"/>
                </a:cxn>
                <a:cxn ang="0">
                  <a:pos x="301" y="557"/>
                </a:cxn>
                <a:cxn ang="0">
                  <a:pos x="283" y="535"/>
                </a:cxn>
                <a:cxn ang="0">
                  <a:pos x="265" y="517"/>
                </a:cxn>
                <a:cxn ang="0">
                  <a:pos x="244" y="506"/>
                </a:cxn>
                <a:cxn ang="0">
                  <a:pos x="222" y="503"/>
                </a:cxn>
                <a:cxn ang="0">
                  <a:pos x="203" y="506"/>
                </a:cxn>
                <a:cxn ang="0">
                  <a:pos x="188" y="514"/>
                </a:cxn>
                <a:cxn ang="0">
                  <a:pos x="177" y="527"/>
                </a:cxn>
                <a:cxn ang="0">
                  <a:pos x="168" y="545"/>
                </a:cxn>
                <a:cxn ang="0">
                  <a:pos x="164" y="565"/>
                </a:cxn>
                <a:cxn ang="0">
                  <a:pos x="0" y="475"/>
                </a:cxn>
                <a:cxn ang="0">
                  <a:pos x="0" y="0"/>
                </a:cxn>
              </a:cxnLst>
              <a:rect l="0" t="0" r="r" b="b"/>
              <a:pathLst>
                <a:path w="588" h="780">
                  <a:moveTo>
                    <a:pt x="0" y="0"/>
                  </a:moveTo>
                  <a:lnTo>
                    <a:pt x="555" y="289"/>
                  </a:lnTo>
                  <a:lnTo>
                    <a:pt x="588" y="335"/>
                  </a:lnTo>
                  <a:lnTo>
                    <a:pt x="581" y="749"/>
                  </a:lnTo>
                  <a:lnTo>
                    <a:pt x="555" y="780"/>
                  </a:lnTo>
                  <a:lnTo>
                    <a:pt x="491" y="746"/>
                  </a:lnTo>
                  <a:lnTo>
                    <a:pt x="493" y="723"/>
                  </a:lnTo>
                  <a:lnTo>
                    <a:pt x="490" y="700"/>
                  </a:lnTo>
                  <a:lnTo>
                    <a:pt x="482" y="677"/>
                  </a:lnTo>
                  <a:lnTo>
                    <a:pt x="469" y="650"/>
                  </a:lnTo>
                  <a:lnTo>
                    <a:pt x="452" y="628"/>
                  </a:lnTo>
                  <a:lnTo>
                    <a:pt x="434" y="610"/>
                  </a:lnTo>
                  <a:lnTo>
                    <a:pt x="413" y="599"/>
                  </a:lnTo>
                  <a:lnTo>
                    <a:pt x="392" y="596"/>
                  </a:lnTo>
                  <a:lnTo>
                    <a:pt x="372" y="599"/>
                  </a:lnTo>
                  <a:lnTo>
                    <a:pt x="358" y="607"/>
                  </a:lnTo>
                  <a:lnTo>
                    <a:pt x="346" y="620"/>
                  </a:lnTo>
                  <a:lnTo>
                    <a:pt x="338" y="638"/>
                  </a:lnTo>
                  <a:lnTo>
                    <a:pt x="333" y="658"/>
                  </a:lnTo>
                  <a:lnTo>
                    <a:pt x="323" y="653"/>
                  </a:lnTo>
                  <a:lnTo>
                    <a:pt x="322" y="619"/>
                  </a:lnTo>
                  <a:lnTo>
                    <a:pt x="314" y="584"/>
                  </a:lnTo>
                  <a:lnTo>
                    <a:pt x="301" y="557"/>
                  </a:lnTo>
                  <a:lnTo>
                    <a:pt x="283" y="535"/>
                  </a:lnTo>
                  <a:lnTo>
                    <a:pt x="265" y="517"/>
                  </a:lnTo>
                  <a:lnTo>
                    <a:pt x="244" y="506"/>
                  </a:lnTo>
                  <a:lnTo>
                    <a:pt x="222" y="503"/>
                  </a:lnTo>
                  <a:lnTo>
                    <a:pt x="203" y="506"/>
                  </a:lnTo>
                  <a:lnTo>
                    <a:pt x="188" y="514"/>
                  </a:lnTo>
                  <a:lnTo>
                    <a:pt x="177" y="527"/>
                  </a:lnTo>
                  <a:lnTo>
                    <a:pt x="168" y="545"/>
                  </a:lnTo>
                  <a:lnTo>
                    <a:pt x="164" y="565"/>
                  </a:lnTo>
                  <a:lnTo>
                    <a:pt x="0" y="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8879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2" name="Freeform 234"/>
            <p:cNvSpPr>
              <a:spLocks/>
            </p:cNvSpPr>
            <p:nvPr/>
          </p:nvSpPr>
          <p:spPr bwMode="auto">
            <a:xfrm>
              <a:off x="2258938" y="3302248"/>
              <a:ext cx="228371" cy="377559"/>
            </a:xfrm>
            <a:custGeom>
              <a:avLst/>
              <a:gdLst/>
              <a:ahLst/>
              <a:cxnLst>
                <a:cxn ang="0">
                  <a:pos x="398" y="0"/>
                </a:cxn>
                <a:cxn ang="0">
                  <a:pos x="395" y="472"/>
                </a:cxn>
                <a:cxn ang="0">
                  <a:pos x="0" y="658"/>
                </a:cxn>
                <a:cxn ang="0">
                  <a:pos x="0" y="167"/>
                </a:cxn>
                <a:cxn ang="0">
                  <a:pos x="398" y="0"/>
                </a:cxn>
              </a:cxnLst>
              <a:rect l="0" t="0" r="r" b="b"/>
              <a:pathLst>
                <a:path w="398" h="658">
                  <a:moveTo>
                    <a:pt x="398" y="0"/>
                  </a:moveTo>
                  <a:lnTo>
                    <a:pt x="395" y="472"/>
                  </a:lnTo>
                  <a:lnTo>
                    <a:pt x="0" y="658"/>
                  </a:lnTo>
                  <a:lnTo>
                    <a:pt x="0" y="167"/>
                  </a:lnTo>
                  <a:lnTo>
                    <a:pt x="398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0241" name="Gruppieren 10240"/>
          <p:cNvGrpSpPr/>
          <p:nvPr/>
        </p:nvGrpSpPr>
        <p:grpSpPr>
          <a:xfrm>
            <a:off x="9443109" y="1665327"/>
            <a:ext cx="2545200" cy="1721164"/>
            <a:chOff x="9443109" y="1665327"/>
            <a:chExt cx="2545200" cy="1721164"/>
          </a:xfrm>
        </p:grpSpPr>
        <p:sp>
          <p:nvSpPr>
            <p:cNvPr id="939" name="Rechteck 938"/>
            <p:cNvSpPr/>
            <p:nvPr/>
          </p:nvSpPr>
          <p:spPr bwMode="auto">
            <a:xfrm>
              <a:off x="9443109" y="1665327"/>
              <a:ext cx="2545200" cy="1721164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t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b="1" dirty="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rategy</a:t>
              </a:r>
              <a:r>
                <a:rPr lang="de-DE" sz="1200" b="1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Management</a:t>
              </a:r>
            </a:p>
          </p:txBody>
        </p:sp>
        <p:sp>
          <p:nvSpPr>
            <p:cNvPr id="940" name="Rectangle 431"/>
            <p:cNvSpPr/>
            <p:nvPr/>
          </p:nvSpPr>
          <p:spPr bwMode="auto">
            <a:xfrm>
              <a:off x="10010873" y="2028246"/>
              <a:ext cx="1423774" cy="34025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b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900" b="1" dirty="0">
                  <a:solidFill>
                    <a:schemeClr val="tx1"/>
                  </a:solidFill>
                </a:rPr>
                <a:t>Option 1</a:t>
              </a:r>
            </a:p>
          </p:txBody>
        </p:sp>
        <p:sp>
          <p:nvSpPr>
            <p:cNvPr id="941" name="Rectangle 432"/>
            <p:cNvSpPr/>
            <p:nvPr/>
          </p:nvSpPr>
          <p:spPr bwMode="auto">
            <a:xfrm>
              <a:off x="10010873" y="2421677"/>
              <a:ext cx="1423774" cy="34025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b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900" b="1" dirty="0">
                  <a:solidFill>
                    <a:schemeClr val="tx1"/>
                  </a:solidFill>
                </a:rPr>
                <a:t>Option 2</a:t>
              </a:r>
            </a:p>
          </p:txBody>
        </p:sp>
        <p:sp>
          <p:nvSpPr>
            <p:cNvPr id="942" name="Rectangle 433"/>
            <p:cNvSpPr/>
            <p:nvPr/>
          </p:nvSpPr>
          <p:spPr bwMode="auto">
            <a:xfrm>
              <a:off x="10010873" y="2833940"/>
              <a:ext cx="1423774" cy="34025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b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900" b="1" dirty="0">
                <a:solidFill>
                  <a:schemeClr val="tx1"/>
                </a:solidFill>
              </a:endParaRPr>
            </a:p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GB" sz="900" b="1" dirty="0">
                  <a:solidFill>
                    <a:schemeClr val="tx1"/>
                  </a:solidFill>
                </a:rPr>
                <a:t>Option 3</a:t>
              </a:r>
            </a:p>
          </p:txBody>
        </p:sp>
        <p:grpSp>
          <p:nvGrpSpPr>
            <p:cNvPr id="943" name="Gruppieren 125"/>
            <p:cNvGrpSpPr/>
            <p:nvPr>
              <p:custDataLst>
                <p:tags r:id="rId4"/>
              </p:custDataLst>
            </p:nvPr>
          </p:nvGrpSpPr>
          <p:grpSpPr>
            <a:xfrm>
              <a:off x="9690495" y="2057568"/>
              <a:ext cx="288000" cy="288000"/>
              <a:chOff x="7605712" y="2562225"/>
              <a:chExt cx="409576" cy="409576"/>
            </a:xfrm>
          </p:grpSpPr>
          <p:sp>
            <p:nvSpPr>
              <p:cNvPr id="944" name="Ellipse 122"/>
              <p:cNvSpPr/>
              <p:nvPr/>
            </p:nvSpPr>
            <p:spPr bwMode="auto">
              <a:xfrm>
                <a:off x="7605712" y="2562225"/>
                <a:ext cx="409576" cy="40957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F828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GB" sz="11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45" name="Group 21"/>
              <p:cNvGrpSpPr>
                <a:grpSpLocks noChangeAspect="1"/>
              </p:cNvGrpSpPr>
              <p:nvPr>
                <p:custDataLst>
                  <p:tags r:id="rId9"/>
                </p:custDataLst>
              </p:nvPr>
            </p:nvGrpSpPr>
            <p:grpSpPr bwMode="auto">
              <a:xfrm flipH="1">
                <a:off x="7691847" y="2652605"/>
                <a:ext cx="237306" cy="228817"/>
                <a:chOff x="2991" y="1645"/>
                <a:chExt cx="1202" cy="1159"/>
              </a:xfrm>
              <a:solidFill>
                <a:srgbClr val="0F8287"/>
              </a:solidFill>
            </p:grpSpPr>
            <p:sp>
              <p:nvSpPr>
                <p:cNvPr id="946" name="Freeform 22"/>
                <p:cNvSpPr>
                  <a:spLocks noEditPoints="1"/>
                </p:cNvSpPr>
                <p:nvPr/>
              </p:nvSpPr>
              <p:spPr bwMode="auto">
                <a:xfrm>
                  <a:off x="3264" y="1645"/>
                  <a:ext cx="929" cy="1159"/>
                </a:xfrm>
                <a:custGeom>
                  <a:avLst/>
                  <a:gdLst>
                    <a:gd name="T0" fmla="*/ 2219 w 2379"/>
                    <a:gd name="T1" fmla="*/ 1047 h 2969"/>
                    <a:gd name="T2" fmla="*/ 1082 w 2379"/>
                    <a:gd name="T3" fmla="*/ 1046 h 2969"/>
                    <a:gd name="T4" fmla="*/ 1160 w 2379"/>
                    <a:gd name="T5" fmla="*/ 650 h 2969"/>
                    <a:gd name="T6" fmla="*/ 1150 w 2379"/>
                    <a:gd name="T7" fmla="*/ 392 h 2969"/>
                    <a:gd name="T8" fmla="*/ 1035 w 2379"/>
                    <a:gd name="T9" fmla="*/ 85 h 2969"/>
                    <a:gd name="T10" fmla="*/ 894 w 2379"/>
                    <a:gd name="T11" fmla="*/ 0 h 2969"/>
                    <a:gd name="T12" fmla="*/ 673 w 2379"/>
                    <a:gd name="T13" fmla="*/ 0 h 2969"/>
                    <a:gd name="T14" fmla="*/ 513 w 2379"/>
                    <a:gd name="T15" fmla="*/ 161 h 2969"/>
                    <a:gd name="T16" fmla="*/ 511 w 2379"/>
                    <a:gd name="T17" fmla="*/ 513 h 2969"/>
                    <a:gd name="T18" fmla="*/ 211 w 2379"/>
                    <a:gd name="T19" fmla="*/ 1036 h 2969"/>
                    <a:gd name="T20" fmla="*/ 43 w 2379"/>
                    <a:gd name="T21" fmla="*/ 1253 h 2969"/>
                    <a:gd name="T22" fmla="*/ 0 w 2379"/>
                    <a:gd name="T23" fmla="*/ 1362 h 2969"/>
                    <a:gd name="T24" fmla="*/ 0 w 2379"/>
                    <a:gd name="T25" fmla="*/ 2761 h 2969"/>
                    <a:gd name="T26" fmla="*/ 45 w 2379"/>
                    <a:gd name="T27" fmla="*/ 2872 h 2969"/>
                    <a:gd name="T28" fmla="*/ 291 w 2379"/>
                    <a:gd name="T29" fmla="*/ 2969 h 2969"/>
                    <a:gd name="T30" fmla="*/ 1791 w 2379"/>
                    <a:gd name="T31" fmla="*/ 2967 h 2969"/>
                    <a:gd name="T32" fmla="*/ 1931 w 2379"/>
                    <a:gd name="T33" fmla="*/ 2887 h 2969"/>
                    <a:gd name="T34" fmla="*/ 2335 w 2379"/>
                    <a:gd name="T35" fmla="*/ 2196 h 2969"/>
                    <a:gd name="T36" fmla="*/ 2377 w 2379"/>
                    <a:gd name="T37" fmla="*/ 2038 h 2969"/>
                    <a:gd name="T38" fmla="*/ 2379 w 2379"/>
                    <a:gd name="T39" fmla="*/ 1208 h 2969"/>
                    <a:gd name="T40" fmla="*/ 2219 w 2379"/>
                    <a:gd name="T41" fmla="*/ 1047 h 2969"/>
                    <a:gd name="T42" fmla="*/ 2219 w 2379"/>
                    <a:gd name="T43" fmla="*/ 1047 h 2969"/>
                    <a:gd name="T44" fmla="*/ 2219 w 2379"/>
                    <a:gd name="T45" fmla="*/ 1047 h 29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79" h="2969">
                      <a:moveTo>
                        <a:pt x="2219" y="1047"/>
                      </a:moveTo>
                      <a:cubicBezTo>
                        <a:pt x="1082" y="1046"/>
                        <a:pt x="1082" y="1046"/>
                        <a:pt x="1082" y="1046"/>
                      </a:cubicBezTo>
                      <a:cubicBezTo>
                        <a:pt x="1082" y="1046"/>
                        <a:pt x="1148" y="776"/>
                        <a:pt x="1160" y="650"/>
                      </a:cubicBezTo>
                      <a:cubicBezTo>
                        <a:pt x="1168" y="564"/>
                        <a:pt x="1170" y="477"/>
                        <a:pt x="1150" y="392"/>
                      </a:cubicBezTo>
                      <a:cubicBezTo>
                        <a:pt x="1121" y="264"/>
                        <a:pt x="1088" y="184"/>
                        <a:pt x="1035" y="85"/>
                      </a:cubicBezTo>
                      <a:cubicBezTo>
                        <a:pt x="1007" y="33"/>
                        <a:pt x="953" y="0"/>
                        <a:pt x="894" y="0"/>
                      </a:cubicBezTo>
                      <a:cubicBezTo>
                        <a:pt x="673" y="0"/>
                        <a:pt x="673" y="0"/>
                        <a:pt x="673" y="0"/>
                      </a:cubicBezTo>
                      <a:cubicBezTo>
                        <a:pt x="585" y="0"/>
                        <a:pt x="513" y="72"/>
                        <a:pt x="513" y="161"/>
                      </a:cubicBezTo>
                      <a:cubicBezTo>
                        <a:pt x="514" y="309"/>
                        <a:pt x="514" y="507"/>
                        <a:pt x="511" y="513"/>
                      </a:cubicBezTo>
                      <a:cubicBezTo>
                        <a:pt x="424" y="695"/>
                        <a:pt x="324" y="869"/>
                        <a:pt x="211" y="1036"/>
                      </a:cubicBezTo>
                      <a:cubicBezTo>
                        <a:pt x="160" y="1112"/>
                        <a:pt x="106" y="1186"/>
                        <a:pt x="43" y="1253"/>
                      </a:cubicBezTo>
                      <a:cubicBezTo>
                        <a:pt x="15" y="1283"/>
                        <a:pt x="0" y="1322"/>
                        <a:pt x="0" y="1362"/>
                      </a:cubicBezTo>
                      <a:cubicBezTo>
                        <a:pt x="0" y="2761"/>
                        <a:pt x="0" y="2761"/>
                        <a:pt x="0" y="2761"/>
                      </a:cubicBezTo>
                      <a:cubicBezTo>
                        <a:pt x="0" y="2802"/>
                        <a:pt x="16" y="2842"/>
                        <a:pt x="45" y="2872"/>
                      </a:cubicBezTo>
                      <a:cubicBezTo>
                        <a:pt x="88" y="2916"/>
                        <a:pt x="165" y="2969"/>
                        <a:pt x="291" y="2969"/>
                      </a:cubicBezTo>
                      <a:cubicBezTo>
                        <a:pt x="689" y="2967"/>
                        <a:pt x="1333" y="2964"/>
                        <a:pt x="1791" y="2967"/>
                      </a:cubicBezTo>
                      <a:cubicBezTo>
                        <a:pt x="1849" y="2967"/>
                        <a:pt x="1902" y="2937"/>
                        <a:pt x="1931" y="2887"/>
                      </a:cubicBezTo>
                      <a:cubicBezTo>
                        <a:pt x="2335" y="2196"/>
                        <a:pt x="2335" y="2196"/>
                        <a:pt x="2335" y="2196"/>
                      </a:cubicBezTo>
                      <a:cubicBezTo>
                        <a:pt x="2362" y="2148"/>
                        <a:pt x="2377" y="2093"/>
                        <a:pt x="2377" y="2038"/>
                      </a:cubicBezTo>
                      <a:cubicBezTo>
                        <a:pt x="2379" y="1208"/>
                        <a:pt x="2379" y="1208"/>
                        <a:pt x="2379" y="1208"/>
                      </a:cubicBezTo>
                      <a:cubicBezTo>
                        <a:pt x="2379" y="1119"/>
                        <a:pt x="2308" y="1048"/>
                        <a:pt x="2219" y="1047"/>
                      </a:cubicBezTo>
                      <a:close/>
                      <a:moveTo>
                        <a:pt x="2219" y="1047"/>
                      </a:moveTo>
                      <a:cubicBezTo>
                        <a:pt x="2219" y="1047"/>
                        <a:pt x="2219" y="1047"/>
                        <a:pt x="2219" y="104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  <p:sp>
              <p:nvSpPr>
                <p:cNvPr id="947" name="Freeform 23"/>
                <p:cNvSpPr>
                  <a:spLocks noEditPoints="1"/>
                </p:cNvSpPr>
                <p:nvPr/>
              </p:nvSpPr>
              <p:spPr bwMode="auto">
                <a:xfrm>
                  <a:off x="2991" y="2143"/>
                  <a:ext cx="217" cy="66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</p:grpSp>
        </p:grpSp>
        <p:grpSp>
          <p:nvGrpSpPr>
            <p:cNvPr id="948" name="Gruppieren 127"/>
            <p:cNvGrpSpPr/>
            <p:nvPr>
              <p:custDataLst>
                <p:tags r:id="rId5"/>
              </p:custDataLst>
            </p:nvPr>
          </p:nvGrpSpPr>
          <p:grpSpPr>
            <a:xfrm>
              <a:off x="9690495" y="2450782"/>
              <a:ext cx="288000" cy="288000"/>
              <a:chOff x="8710374" y="3315455"/>
              <a:chExt cx="295276" cy="295276"/>
            </a:xfrm>
          </p:grpSpPr>
          <p:sp>
            <p:nvSpPr>
              <p:cNvPr id="949" name="Ellipse 287"/>
              <p:cNvSpPr/>
              <p:nvPr/>
            </p:nvSpPr>
            <p:spPr bwMode="auto">
              <a:xfrm>
                <a:off x="8710374" y="3315455"/>
                <a:ext cx="295276" cy="29527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F828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GB" sz="11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0" name="Group 21"/>
              <p:cNvGrpSpPr>
                <a:grpSpLocks noChangeAspect="1"/>
              </p:cNvGrpSpPr>
              <p:nvPr>
                <p:custDataLst>
                  <p:tags r:id="rId8"/>
                </p:custDataLst>
              </p:nvPr>
            </p:nvGrpSpPr>
            <p:grpSpPr bwMode="auto">
              <a:xfrm rot="5400000" flipH="1">
                <a:off x="8772471" y="3380613"/>
                <a:ext cx="171081" cy="164961"/>
                <a:chOff x="2991" y="1645"/>
                <a:chExt cx="1202" cy="1159"/>
              </a:xfrm>
              <a:solidFill>
                <a:srgbClr val="0F8287"/>
              </a:solidFill>
            </p:grpSpPr>
            <p:sp>
              <p:nvSpPr>
                <p:cNvPr id="951" name="Freeform 22"/>
                <p:cNvSpPr>
                  <a:spLocks noEditPoints="1"/>
                </p:cNvSpPr>
                <p:nvPr/>
              </p:nvSpPr>
              <p:spPr bwMode="auto">
                <a:xfrm>
                  <a:off x="3264" y="1645"/>
                  <a:ext cx="929" cy="1159"/>
                </a:xfrm>
                <a:custGeom>
                  <a:avLst/>
                  <a:gdLst>
                    <a:gd name="T0" fmla="*/ 2219 w 2379"/>
                    <a:gd name="T1" fmla="*/ 1047 h 2969"/>
                    <a:gd name="T2" fmla="*/ 1082 w 2379"/>
                    <a:gd name="T3" fmla="*/ 1046 h 2969"/>
                    <a:gd name="T4" fmla="*/ 1160 w 2379"/>
                    <a:gd name="T5" fmla="*/ 650 h 2969"/>
                    <a:gd name="T6" fmla="*/ 1150 w 2379"/>
                    <a:gd name="T7" fmla="*/ 392 h 2969"/>
                    <a:gd name="T8" fmla="*/ 1035 w 2379"/>
                    <a:gd name="T9" fmla="*/ 85 h 2969"/>
                    <a:gd name="T10" fmla="*/ 894 w 2379"/>
                    <a:gd name="T11" fmla="*/ 0 h 2969"/>
                    <a:gd name="T12" fmla="*/ 673 w 2379"/>
                    <a:gd name="T13" fmla="*/ 0 h 2969"/>
                    <a:gd name="T14" fmla="*/ 513 w 2379"/>
                    <a:gd name="T15" fmla="*/ 161 h 2969"/>
                    <a:gd name="T16" fmla="*/ 511 w 2379"/>
                    <a:gd name="T17" fmla="*/ 513 h 2969"/>
                    <a:gd name="T18" fmla="*/ 211 w 2379"/>
                    <a:gd name="T19" fmla="*/ 1036 h 2969"/>
                    <a:gd name="T20" fmla="*/ 43 w 2379"/>
                    <a:gd name="T21" fmla="*/ 1253 h 2969"/>
                    <a:gd name="T22" fmla="*/ 0 w 2379"/>
                    <a:gd name="T23" fmla="*/ 1362 h 2969"/>
                    <a:gd name="T24" fmla="*/ 0 w 2379"/>
                    <a:gd name="T25" fmla="*/ 2761 h 2969"/>
                    <a:gd name="T26" fmla="*/ 45 w 2379"/>
                    <a:gd name="T27" fmla="*/ 2872 h 2969"/>
                    <a:gd name="T28" fmla="*/ 291 w 2379"/>
                    <a:gd name="T29" fmla="*/ 2969 h 2969"/>
                    <a:gd name="T30" fmla="*/ 1791 w 2379"/>
                    <a:gd name="T31" fmla="*/ 2967 h 2969"/>
                    <a:gd name="T32" fmla="*/ 1931 w 2379"/>
                    <a:gd name="T33" fmla="*/ 2887 h 2969"/>
                    <a:gd name="T34" fmla="*/ 2335 w 2379"/>
                    <a:gd name="T35" fmla="*/ 2196 h 2969"/>
                    <a:gd name="T36" fmla="*/ 2377 w 2379"/>
                    <a:gd name="T37" fmla="*/ 2038 h 2969"/>
                    <a:gd name="T38" fmla="*/ 2379 w 2379"/>
                    <a:gd name="T39" fmla="*/ 1208 h 2969"/>
                    <a:gd name="T40" fmla="*/ 2219 w 2379"/>
                    <a:gd name="T41" fmla="*/ 1047 h 2969"/>
                    <a:gd name="T42" fmla="*/ 2219 w 2379"/>
                    <a:gd name="T43" fmla="*/ 1047 h 2969"/>
                    <a:gd name="T44" fmla="*/ 2219 w 2379"/>
                    <a:gd name="T45" fmla="*/ 1047 h 29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79" h="2969">
                      <a:moveTo>
                        <a:pt x="2219" y="1047"/>
                      </a:moveTo>
                      <a:cubicBezTo>
                        <a:pt x="1082" y="1046"/>
                        <a:pt x="1082" y="1046"/>
                        <a:pt x="1082" y="1046"/>
                      </a:cubicBezTo>
                      <a:cubicBezTo>
                        <a:pt x="1082" y="1046"/>
                        <a:pt x="1148" y="776"/>
                        <a:pt x="1160" y="650"/>
                      </a:cubicBezTo>
                      <a:cubicBezTo>
                        <a:pt x="1168" y="564"/>
                        <a:pt x="1170" y="477"/>
                        <a:pt x="1150" y="392"/>
                      </a:cubicBezTo>
                      <a:cubicBezTo>
                        <a:pt x="1121" y="264"/>
                        <a:pt x="1088" y="184"/>
                        <a:pt x="1035" y="85"/>
                      </a:cubicBezTo>
                      <a:cubicBezTo>
                        <a:pt x="1007" y="33"/>
                        <a:pt x="953" y="0"/>
                        <a:pt x="894" y="0"/>
                      </a:cubicBezTo>
                      <a:cubicBezTo>
                        <a:pt x="673" y="0"/>
                        <a:pt x="673" y="0"/>
                        <a:pt x="673" y="0"/>
                      </a:cubicBezTo>
                      <a:cubicBezTo>
                        <a:pt x="585" y="0"/>
                        <a:pt x="513" y="72"/>
                        <a:pt x="513" y="161"/>
                      </a:cubicBezTo>
                      <a:cubicBezTo>
                        <a:pt x="514" y="309"/>
                        <a:pt x="514" y="507"/>
                        <a:pt x="511" y="513"/>
                      </a:cubicBezTo>
                      <a:cubicBezTo>
                        <a:pt x="424" y="695"/>
                        <a:pt x="324" y="869"/>
                        <a:pt x="211" y="1036"/>
                      </a:cubicBezTo>
                      <a:cubicBezTo>
                        <a:pt x="160" y="1112"/>
                        <a:pt x="106" y="1186"/>
                        <a:pt x="43" y="1253"/>
                      </a:cubicBezTo>
                      <a:cubicBezTo>
                        <a:pt x="15" y="1283"/>
                        <a:pt x="0" y="1322"/>
                        <a:pt x="0" y="1362"/>
                      </a:cubicBezTo>
                      <a:cubicBezTo>
                        <a:pt x="0" y="2761"/>
                        <a:pt x="0" y="2761"/>
                        <a:pt x="0" y="2761"/>
                      </a:cubicBezTo>
                      <a:cubicBezTo>
                        <a:pt x="0" y="2802"/>
                        <a:pt x="16" y="2842"/>
                        <a:pt x="45" y="2872"/>
                      </a:cubicBezTo>
                      <a:cubicBezTo>
                        <a:pt x="88" y="2916"/>
                        <a:pt x="165" y="2969"/>
                        <a:pt x="291" y="2969"/>
                      </a:cubicBezTo>
                      <a:cubicBezTo>
                        <a:pt x="689" y="2967"/>
                        <a:pt x="1333" y="2964"/>
                        <a:pt x="1791" y="2967"/>
                      </a:cubicBezTo>
                      <a:cubicBezTo>
                        <a:pt x="1849" y="2967"/>
                        <a:pt x="1902" y="2937"/>
                        <a:pt x="1931" y="2887"/>
                      </a:cubicBezTo>
                      <a:cubicBezTo>
                        <a:pt x="2335" y="2196"/>
                        <a:pt x="2335" y="2196"/>
                        <a:pt x="2335" y="2196"/>
                      </a:cubicBezTo>
                      <a:cubicBezTo>
                        <a:pt x="2362" y="2148"/>
                        <a:pt x="2377" y="2093"/>
                        <a:pt x="2377" y="2038"/>
                      </a:cubicBezTo>
                      <a:cubicBezTo>
                        <a:pt x="2379" y="1208"/>
                        <a:pt x="2379" y="1208"/>
                        <a:pt x="2379" y="1208"/>
                      </a:cubicBezTo>
                      <a:cubicBezTo>
                        <a:pt x="2379" y="1119"/>
                        <a:pt x="2308" y="1048"/>
                        <a:pt x="2219" y="1047"/>
                      </a:cubicBezTo>
                      <a:close/>
                      <a:moveTo>
                        <a:pt x="2219" y="1047"/>
                      </a:moveTo>
                      <a:cubicBezTo>
                        <a:pt x="2219" y="1047"/>
                        <a:pt x="2219" y="1047"/>
                        <a:pt x="2219" y="104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  <p:sp>
              <p:nvSpPr>
                <p:cNvPr id="952" name="Freeform 23"/>
                <p:cNvSpPr>
                  <a:spLocks noEditPoints="1"/>
                </p:cNvSpPr>
                <p:nvPr/>
              </p:nvSpPr>
              <p:spPr bwMode="auto">
                <a:xfrm>
                  <a:off x="2991" y="2143"/>
                  <a:ext cx="217" cy="66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</p:grpSp>
        </p:grpSp>
        <p:grpSp>
          <p:nvGrpSpPr>
            <p:cNvPr id="953" name="Gruppieren 129"/>
            <p:cNvGrpSpPr/>
            <p:nvPr>
              <p:custDataLst>
                <p:tags r:id="rId6"/>
              </p:custDataLst>
            </p:nvPr>
          </p:nvGrpSpPr>
          <p:grpSpPr>
            <a:xfrm>
              <a:off x="9690495" y="2862766"/>
              <a:ext cx="288000" cy="288000"/>
              <a:chOff x="8710374" y="3944259"/>
              <a:chExt cx="295276" cy="295276"/>
            </a:xfrm>
          </p:grpSpPr>
          <p:sp>
            <p:nvSpPr>
              <p:cNvPr id="954" name="Ellipse 292"/>
              <p:cNvSpPr/>
              <p:nvPr/>
            </p:nvSpPr>
            <p:spPr bwMode="auto">
              <a:xfrm>
                <a:off x="8710374" y="3944259"/>
                <a:ext cx="295276" cy="295276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F8287"/>
                </a:solidFill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GB" sz="11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55" name="Group 21"/>
              <p:cNvGrpSpPr>
                <a:grpSpLocks noChangeAspect="1"/>
              </p:cNvGrpSpPr>
              <p:nvPr>
                <p:custDataLst>
                  <p:tags r:id="rId7"/>
                </p:custDataLst>
              </p:nvPr>
            </p:nvGrpSpPr>
            <p:grpSpPr bwMode="auto">
              <a:xfrm flipH="1" flipV="1">
                <a:off x="8772471" y="4009417"/>
                <a:ext cx="171081" cy="164961"/>
                <a:chOff x="2991" y="1645"/>
                <a:chExt cx="1202" cy="1159"/>
              </a:xfrm>
              <a:solidFill>
                <a:srgbClr val="0F8287"/>
              </a:solidFill>
            </p:grpSpPr>
            <p:sp>
              <p:nvSpPr>
                <p:cNvPr id="956" name="Freeform 22"/>
                <p:cNvSpPr>
                  <a:spLocks noEditPoints="1"/>
                </p:cNvSpPr>
                <p:nvPr/>
              </p:nvSpPr>
              <p:spPr bwMode="auto">
                <a:xfrm>
                  <a:off x="3264" y="1645"/>
                  <a:ext cx="929" cy="1159"/>
                </a:xfrm>
                <a:custGeom>
                  <a:avLst/>
                  <a:gdLst>
                    <a:gd name="T0" fmla="*/ 2219 w 2379"/>
                    <a:gd name="T1" fmla="*/ 1047 h 2969"/>
                    <a:gd name="T2" fmla="*/ 1082 w 2379"/>
                    <a:gd name="T3" fmla="*/ 1046 h 2969"/>
                    <a:gd name="T4" fmla="*/ 1160 w 2379"/>
                    <a:gd name="T5" fmla="*/ 650 h 2969"/>
                    <a:gd name="T6" fmla="*/ 1150 w 2379"/>
                    <a:gd name="T7" fmla="*/ 392 h 2969"/>
                    <a:gd name="T8" fmla="*/ 1035 w 2379"/>
                    <a:gd name="T9" fmla="*/ 85 h 2969"/>
                    <a:gd name="T10" fmla="*/ 894 w 2379"/>
                    <a:gd name="T11" fmla="*/ 0 h 2969"/>
                    <a:gd name="T12" fmla="*/ 673 w 2379"/>
                    <a:gd name="T13" fmla="*/ 0 h 2969"/>
                    <a:gd name="T14" fmla="*/ 513 w 2379"/>
                    <a:gd name="T15" fmla="*/ 161 h 2969"/>
                    <a:gd name="T16" fmla="*/ 511 w 2379"/>
                    <a:gd name="T17" fmla="*/ 513 h 2969"/>
                    <a:gd name="T18" fmla="*/ 211 w 2379"/>
                    <a:gd name="T19" fmla="*/ 1036 h 2969"/>
                    <a:gd name="T20" fmla="*/ 43 w 2379"/>
                    <a:gd name="T21" fmla="*/ 1253 h 2969"/>
                    <a:gd name="T22" fmla="*/ 0 w 2379"/>
                    <a:gd name="T23" fmla="*/ 1362 h 2969"/>
                    <a:gd name="T24" fmla="*/ 0 w 2379"/>
                    <a:gd name="T25" fmla="*/ 2761 h 2969"/>
                    <a:gd name="T26" fmla="*/ 45 w 2379"/>
                    <a:gd name="T27" fmla="*/ 2872 h 2969"/>
                    <a:gd name="T28" fmla="*/ 291 w 2379"/>
                    <a:gd name="T29" fmla="*/ 2969 h 2969"/>
                    <a:gd name="T30" fmla="*/ 1791 w 2379"/>
                    <a:gd name="T31" fmla="*/ 2967 h 2969"/>
                    <a:gd name="T32" fmla="*/ 1931 w 2379"/>
                    <a:gd name="T33" fmla="*/ 2887 h 2969"/>
                    <a:gd name="T34" fmla="*/ 2335 w 2379"/>
                    <a:gd name="T35" fmla="*/ 2196 h 2969"/>
                    <a:gd name="T36" fmla="*/ 2377 w 2379"/>
                    <a:gd name="T37" fmla="*/ 2038 h 2969"/>
                    <a:gd name="T38" fmla="*/ 2379 w 2379"/>
                    <a:gd name="T39" fmla="*/ 1208 h 2969"/>
                    <a:gd name="T40" fmla="*/ 2219 w 2379"/>
                    <a:gd name="T41" fmla="*/ 1047 h 2969"/>
                    <a:gd name="T42" fmla="*/ 2219 w 2379"/>
                    <a:gd name="T43" fmla="*/ 1047 h 2969"/>
                    <a:gd name="T44" fmla="*/ 2219 w 2379"/>
                    <a:gd name="T45" fmla="*/ 1047 h 29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79" h="2969">
                      <a:moveTo>
                        <a:pt x="2219" y="1047"/>
                      </a:moveTo>
                      <a:cubicBezTo>
                        <a:pt x="1082" y="1046"/>
                        <a:pt x="1082" y="1046"/>
                        <a:pt x="1082" y="1046"/>
                      </a:cubicBezTo>
                      <a:cubicBezTo>
                        <a:pt x="1082" y="1046"/>
                        <a:pt x="1148" y="776"/>
                        <a:pt x="1160" y="650"/>
                      </a:cubicBezTo>
                      <a:cubicBezTo>
                        <a:pt x="1168" y="564"/>
                        <a:pt x="1170" y="477"/>
                        <a:pt x="1150" y="392"/>
                      </a:cubicBezTo>
                      <a:cubicBezTo>
                        <a:pt x="1121" y="264"/>
                        <a:pt x="1088" y="184"/>
                        <a:pt x="1035" y="85"/>
                      </a:cubicBezTo>
                      <a:cubicBezTo>
                        <a:pt x="1007" y="33"/>
                        <a:pt x="953" y="0"/>
                        <a:pt x="894" y="0"/>
                      </a:cubicBezTo>
                      <a:cubicBezTo>
                        <a:pt x="673" y="0"/>
                        <a:pt x="673" y="0"/>
                        <a:pt x="673" y="0"/>
                      </a:cubicBezTo>
                      <a:cubicBezTo>
                        <a:pt x="585" y="0"/>
                        <a:pt x="513" y="72"/>
                        <a:pt x="513" y="161"/>
                      </a:cubicBezTo>
                      <a:cubicBezTo>
                        <a:pt x="514" y="309"/>
                        <a:pt x="514" y="507"/>
                        <a:pt x="511" y="513"/>
                      </a:cubicBezTo>
                      <a:cubicBezTo>
                        <a:pt x="424" y="695"/>
                        <a:pt x="324" y="869"/>
                        <a:pt x="211" y="1036"/>
                      </a:cubicBezTo>
                      <a:cubicBezTo>
                        <a:pt x="160" y="1112"/>
                        <a:pt x="106" y="1186"/>
                        <a:pt x="43" y="1253"/>
                      </a:cubicBezTo>
                      <a:cubicBezTo>
                        <a:pt x="15" y="1283"/>
                        <a:pt x="0" y="1322"/>
                        <a:pt x="0" y="1362"/>
                      </a:cubicBezTo>
                      <a:cubicBezTo>
                        <a:pt x="0" y="2761"/>
                        <a:pt x="0" y="2761"/>
                        <a:pt x="0" y="2761"/>
                      </a:cubicBezTo>
                      <a:cubicBezTo>
                        <a:pt x="0" y="2802"/>
                        <a:pt x="16" y="2842"/>
                        <a:pt x="45" y="2872"/>
                      </a:cubicBezTo>
                      <a:cubicBezTo>
                        <a:pt x="88" y="2916"/>
                        <a:pt x="165" y="2969"/>
                        <a:pt x="291" y="2969"/>
                      </a:cubicBezTo>
                      <a:cubicBezTo>
                        <a:pt x="689" y="2967"/>
                        <a:pt x="1333" y="2964"/>
                        <a:pt x="1791" y="2967"/>
                      </a:cubicBezTo>
                      <a:cubicBezTo>
                        <a:pt x="1849" y="2967"/>
                        <a:pt x="1902" y="2937"/>
                        <a:pt x="1931" y="2887"/>
                      </a:cubicBezTo>
                      <a:cubicBezTo>
                        <a:pt x="2335" y="2196"/>
                        <a:pt x="2335" y="2196"/>
                        <a:pt x="2335" y="2196"/>
                      </a:cubicBezTo>
                      <a:cubicBezTo>
                        <a:pt x="2362" y="2148"/>
                        <a:pt x="2377" y="2093"/>
                        <a:pt x="2377" y="2038"/>
                      </a:cubicBezTo>
                      <a:cubicBezTo>
                        <a:pt x="2379" y="1208"/>
                        <a:pt x="2379" y="1208"/>
                        <a:pt x="2379" y="1208"/>
                      </a:cubicBezTo>
                      <a:cubicBezTo>
                        <a:pt x="2379" y="1119"/>
                        <a:pt x="2308" y="1048"/>
                        <a:pt x="2219" y="1047"/>
                      </a:cubicBezTo>
                      <a:close/>
                      <a:moveTo>
                        <a:pt x="2219" y="1047"/>
                      </a:moveTo>
                      <a:cubicBezTo>
                        <a:pt x="2219" y="1047"/>
                        <a:pt x="2219" y="1047"/>
                        <a:pt x="2219" y="104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  <p:sp>
              <p:nvSpPr>
                <p:cNvPr id="957" name="Freeform 23"/>
                <p:cNvSpPr>
                  <a:spLocks noEditPoints="1"/>
                </p:cNvSpPr>
                <p:nvPr/>
              </p:nvSpPr>
              <p:spPr bwMode="auto">
                <a:xfrm>
                  <a:off x="2991" y="2143"/>
                  <a:ext cx="217" cy="66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100" dirty="0">
                    <a:solidFill>
                      <a:srgbClr val="788791"/>
                    </a:solidFill>
                  </a:endParaRPr>
                </a:p>
              </p:txBody>
            </p:sp>
          </p:grpSp>
        </p:grpSp>
        <p:pic>
          <p:nvPicPr>
            <p:cNvPr id="958" name="Picture 3"/>
            <p:cNvPicPr>
              <a:picLocks noChangeAspect="1" noChangeArrowheads="1"/>
            </p:cNvPicPr>
            <p:nvPr/>
          </p:nvPicPr>
          <p:blipFill>
            <a:blip r:embed="rId17"/>
            <a:srcRect r="45136" b="13502"/>
            <a:stretch>
              <a:fillRect/>
            </a:stretch>
          </p:blipFill>
          <p:spPr bwMode="auto">
            <a:xfrm>
              <a:off x="10795412" y="2131988"/>
              <a:ext cx="540027" cy="161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9" name="Picture 4"/>
            <p:cNvPicPr>
              <a:picLocks noChangeAspect="1" noChangeArrowheads="1"/>
            </p:cNvPicPr>
            <p:nvPr/>
          </p:nvPicPr>
          <p:blipFill>
            <a:blip r:embed="rId18"/>
            <a:srcRect r="45829" b="-10984"/>
            <a:stretch>
              <a:fillRect/>
            </a:stretch>
          </p:blipFill>
          <p:spPr bwMode="auto">
            <a:xfrm>
              <a:off x="10801447" y="2523900"/>
              <a:ext cx="545588" cy="1686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60" name="Picture 5"/>
            <p:cNvPicPr>
              <a:picLocks noChangeAspect="1" noChangeArrowheads="1"/>
            </p:cNvPicPr>
            <p:nvPr/>
          </p:nvPicPr>
          <p:blipFill>
            <a:blip r:embed="rId19"/>
            <a:srcRect r="40566"/>
            <a:stretch>
              <a:fillRect/>
            </a:stretch>
          </p:blipFill>
          <p:spPr bwMode="auto">
            <a:xfrm>
              <a:off x="10822673" y="2939871"/>
              <a:ext cx="510446" cy="1458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961" name="Pfeil nach rechts 960"/>
          <p:cNvSpPr/>
          <p:nvPr/>
        </p:nvSpPr>
        <p:spPr bwMode="auto">
          <a:xfrm rot="10800000" flipH="1">
            <a:off x="6556142" y="2319111"/>
            <a:ext cx="293371" cy="144000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962" name="Pfeil nach rechts 961"/>
          <p:cNvSpPr/>
          <p:nvPr/>
        </p:nvSpPr>
        <p:spPr bwMode="auto">
          <a:xfrm>
            <a:off x="9150114" y="2319111"/>
            <a:ext cx="293371" cy="144000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10246" name="Pfeil nach oben und unten 10245"/>
          <p:cNvSpPr/>
          <p:nvPr/>
        </p:nvSpPr>
        <p:spPr bwMode="auto">
          <a:xfrm>
            <a:off x="7465132" y="2691036"/>
            <a:ext cx="121598" cy="269421"/>
          </a:xfrm>
          <a:prstGeom prst="upDownArrow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73" name="Pfeil nach oben und unten 972"/>
          <p:cNvSpPr/>
          <p:nvPr/>
        </p:nvSpPr>
        <p:spPr bwMode="auto">
          <a:xfrm>
            <a:off x="8384429" y="2691036"/>
            <a:ext cx="121598" cy="269421"/>
          </a:xfrm>
          <a:prstGeom prst="upDownArrow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48" name="Gruppieren 47"/>
          <p:cNvGrpSpPr/>
          <p:nvPr/>
        </p:nvGrpSpPr>
        <p:grpSpPr>
          <a:xfrm>
            <a:off x="6209117" y="260980"/>
            <a:ext cx="3465172" cy="1566131"/>
            <a:chOff x="6209118" y="260978"/>
            <a:chExt cx="3465172" cy="1566131"/>
          </a:xfrm>
        </p:grpSpPr>
        <p:sp>
          <p:nvSpPr>
            <p:cNvPr id="970" name="Wolkenförmige Legende 4"/>
            <p:cNvSpPr/>
            <p:nvPr/>
          </p:nvSpPr>
          <p:spPr bwMode="auto">
            <a:xfrm flipH="1">
              <a:off x="6209118" y="260978"/>
              <a:ext cx="3465172" cy="1561417"/>
            </a:xfrm>
            <a:custGeom>
              <a:avLst/>
              <a:gdLst/>
              <a:ahLst/>
              <a:cxnLst/>
              <a:rect l="l" t="t" r="r" b="b"/>
              <a:pathLst>
                <a:path w="5429139" h="1905050">
                  <a:moveTo>
                    <a:pt x="5426893" y="1813443"/>
                  </a:moveTo>
                  <a:cubicBezTo>
                    <a:pt x="5429881" y="1843848"/>
                    <a:pt x="5429895" y="1874478"/>
                    <a:pt x="5426893" y="1905050"/>
                  </a:cubicBezTo>
                  <a:close/>
                  <a:moveTo>
                    <a:pt x="3284043" y="12"/>
                  </a:moveTo>
                  <a:cubicBezTo>
                    <a:pt x="3456813" y="-1055"/>
                    <a:pt x="3622070" y="74858"/>
                    <a:pt x="3728572" y="207821"/>
                  </a:cubicBezTo>
                  <a:cubicBezTo>
                    <a:pt x="3904160" y="11191"/>
                    <a:pt x="4194603" y="-53376"/>
                    <a:pt x="4443882" y="48758"/>
                  </a:cubicBezTo>
                  <a:cubicBezTo>
                    <a:pt x="4633826" y="126558"/>
                    <a:pt x="4770027" y="289439"/>
                    <a:pt x="4806618" y="482695"/>
                  </a:cubicBezTo>
                  <a:cubicBezTo>
                    <a:pt x="5026166" y="539712"/>
                    <a:pt x="5200992" y="697798"/>
                    <a:pt x="5272141" y="903842"/>
                  </a:cubicBezTo>
                  <a:cubicBezTo>
                    <a:pt x="5323852" y="1053402"/>
                    <a:pt x="5316482" y="1215839"/>
                    <a:pt x="5251304" y="1360514"/>
                  </a:cubicBezTo>
                  <a:cubicBezTo>
                    <a:pt x="5299033" y="1419621"/>
                    <a:pt x="5337516" y="1483947"/>
                    <a:pt x="5365164" y="1552048"/>
                  </a:cubicBezTo>
                  <a:lnTo>
                    <a:pt x="0" y="1552048"/>
                  </a:lnTo>
                  <a:cubicBezTo>
                    <a:pt x="83665" y="1400653"/>
                    <a:pt x="242482" y="1294225"/>
                    <a:pt x="429001" y="1275876"/>
                  </a:cubicBezTo>
                  <a:cubicBezTo>
                    <a:pt x="430525" y="1271791"/>
                    <a:pt x="432177" y="1267795"/>
                    <a:pt x="433702" y="1263709"/>
                  </a:cubicBezTo>
                  <a:cubicBezTo>
                    <a:pt x="399270" y="1022762"/>
                    <a:pt x="479568" y="779772"/>
                    <a:pt x="652614" y="600904"/>
                  </a:cubicBezTo>
                  <a:cubicBezTo>
                    <a:pt x="926033" y="318392"/>
                    <a:pt x="1369321" y="255424"/>
                    <a:pt x="1717574" y="449479"/>
                  </a:cubicBezTo>
                  <a:cubicBezTo>
                    <a:pt x="1930134" y="68208"/>
                    <a:pt x="2468331" y="-10568"/>
                    <a:pt x="2791301" y="292281"/>
                  </a:cubicBezTo>
                  <a:cubicBezTo>
                    <a:pt x="2872742" y="136949"/>
                    <a:pt x="3029144" y="29575"/>
                    <a:pt x="3209687" y="5240"/>
                  </a:cubicBezTo>
                  <a:cubicBezTo>
                    <a:pt x="3234526" y="1888"/>
                    <a:pt x="3259361" y="164"/>
                    <a:pt x="3284043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63500" sx="102000" sy="102000" algn="ctr" rotWithShape="0">
                <a:prstClr val="black">
                  <a:alpha val="15000"/>
                </a:prstClr>
              </a:outerShdw>
            </a:effectLst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64" name="Picture 9"/>
            <p:cNvPicPr>
              <a:picLocks noChangeAspect="1" noChangeArrowheads="1"/>
            </p:cNvPicPr>
            <p:nvPr/>
          </p:nvPicPr>
          <p:blipFill>
            <a:blip r:embed="rId20"/>
            <a:srcRect/>
            <a:stretch>
              <a:fillRect/>
            </a:stretch>
          </p:blipFill>
          <p:spPr bwMode="auto">
            <a:xfrm>
              <a:off x="8307940" y="1240152"/>
              <a:ext cx="982384" cy="180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66" name="Picture 19"/>
            <p:cNvPicPr>
              <a:picLocks noChangeAspect="1" noChangeArrowheads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7280425" y="880009"/>
              <a:ext cx="882546" cy="141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67" name="Picture 12" descr="Bildergebnis für audi logo"/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67227" y="750891"/>
              <a:ext cx="588804" cy="229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8" name="Picture 21" descr="Bildergebnis für google logo"/>
            <p:cNvPicPr>
              <a:picLocks noChangeAspect="1" noChangeArrowheads="1"/>
            </p:cNvPicPr>
            <p:nvPr/>
          </p:nvPicPr>
          <p:blipFill>
            <a:blip r:embed="rId23"/>
            <a:srcRect/>
            <a:stretch>
              <a:fillRect/>
            </a:stretch>
          </p:blipFill>
          <p:spPr bwMode="auto">
            <a:xfrm>
              <a:off x="6881491" y="507031"/>
              <a:ext cx="587786" cy="198602"/>
            </a:xfrm>
            <a:prstGeom prst="rect">
              <a:avLst/>
            </a:prstGeom>
            <a:noFill/>
          </p:spPr>
        </p:pic>
        <p:pic>
          <p:nvPicPr>
            <p:cNvPr id="969" name="Picture 6" descr="Bildergebnis für bmw logo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3282" y="507031"/>
              <a:ext cx="306910" cy="306910"/>
            </a:xfrm>
            <a:prstGeom prst="rect">
              <a:avLst/>
            </a:prstGeom>
            <a:noFill/>
          </p:spPr>
        </p:pic>
        <p:sp>
          <p:nvSpPr>
            <p:cNvPr id="971" name="Pfeil nach rechts 970"/>
            <p:cNvSpPr/>
            <p:nvPr/>
          </p:nvSpPr>
          <p:spPr bwMode="auto">
            <a:xfrm rot="16200000" flipH="1">
              <a:off x="6678355" y="1567531"/>
              <a:ext cx="375156" cy="144000"/>
            </a:xfrm>
            <a:prstGeom prst="rightArrow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974" name="Rechteck 973"/>
            <p:cNvSpPr/>
            <p:nvPr/>
          </p:nvSpPr>
          <p:spPr bwMode="auto">
            <a:xfrm>
              <a:off x="6547690" y="1126329"/>
              <a:ext cx="1414122" cy="325621"/>
            </a:xfrm>
            <a:prstGeom prst="rect">
              <a:avLst/>
            </a:prstGeom>
            <a:solidFill>
              <a:schemeClr val="bg1">
                <a:alpha val="46000"/>
              </a:schemeClr>
            </a:solidFill>
            <a:ln>
              <a:solidFill>
                <a:schemeClr val="tx1"/>
              </a:solidFill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de-DE" sz="12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VD / Big Data</a:t>
              </a:r>
              <a:endPara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75" name="Picture 4" descr="Image result for waze"/>
            <p:cNvPicPr>
              <a:picLocks noChangeAspect="1" noChangeArrowheads="1"/>
            </p:cNvPicPr>
            <p:nvPr/>
          </p:nvPicPr>
          <p:blipFill>
            <a:blip r:embed="rId25"/>
            <a:srcRect/>
            <a:stretch>
              <a:fillRect/>
            </a:stretch>
          </p:blipFill>
          <p:spPr bwMode="auto">
            <a:xfrm>
              <a:off x="8758610" y="750714"/>
              <a:ext cx="317830" cy="317830"/>
            </a:xfrm>
            <a:prstGeom prst="rect">
              <a:avLst/>
            </a:prstGeom>
            <a:noFill/>
          </p:spPr>
        </p:pic>
      </p:grpSp>
      <p:sp>
        <p:nvSpPr>
          <p:cNvPr id="976" name="Rechteck 975"/>
          <p:cNvSpPr/>
          <p:nvPr/>
        </p:nvSpPr>
        <p:spPr bwMode="auto">
          <a:xfrm rot="16200000">
            <a:off x="6079922" y="940992"/>
            <a:ext cx="72000" cy="37067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77" name="Gruppieren 776"/>
          <p:cNvGrpSpPr/>
          <p:nvPr/>
        </p:nvGrpSpPr>
        <p:grpSpPr>
          <a:xfrm>
            <a:off x="4192683" y="2005006"/>
            <a:ext cx="2174400" cy="1316758"/>
            <a:chOff x="1755647" y="1822704"/>
            <a:chExt cx="6791799" cy="4115583"/>
          </a:xfrm>
        </p:grpSpPr>
        <p:sp>
          <p:nvSpPr>
            <p:cNvPr id="778" name="Freihandform 777"/>
            <p:cNvSpPr/>
            <p:nvPr/>
          </p:nvSpPr>
          <p:spPr bwMode="auto">
            <a:xfrm>
              <a:off x="3630440" y="3019598"/>
              <a:ext cx="4914443" cy="2479647"/>
            </a:xfrm>
            <a:custGeom>
              <a:avLst/>
              <a:gdLst>
                <a:gd name="connsiteX0" fmla="*/ 472440 w 5844540"/>
                <a:gd name="connsiteY0" fmla="*/ 2948940 h 2948940"/>
                <a:gd name="connsiteX1" fmla="*/ 617220 w 5844540"/>
                <a:gd name="connsiteY1" fmla="*/ 1882140 h 2948940"/>
                <a:gd name="connsiteX2" fmla="*/ 716280 w 5844540"/>
                <a:gd name="connsiteY2" fmla="*/ 1287780 h 2948940"/>
                <a:gd name="connsiteX3" fmla="*/ 952500 w 5844540"/>
                <a:gd name="connsiteY3" fmla="*/ 853440 h 2948940"/>
                <a:gd name="connsiteX4" fmla="*/ 1005840 w 5844540"/>
                <a:gd name="connsiteY4" fmla="*/ 807720 h 2948940"/>
                <a:gd name="connsiteX5" fmla="*/ 1371600 w 5844540"/>
                <a:gd name="connsiteY5" fmla="*/ 609600 h 2948940"/>
                <a:gd name="connsiteX6" fmla="*/ 1760220 w 5844540"/>
                <a:gd name="connsiteY6" fmla="*/ 518160 h 2948940"/>
                <a:gd name="connsiteX7" fmla="*/ 2316480 w 5844540"/>
                <a:gd name="connsiteY7" fmla="*/ 457200 h 2948940"/>
                <a:gd name="connsiteX8" fmla="*/ 2956560 w 5844540"/>
                <a:gd name="connsiteY8" fmla="*/ 457200 h 2948940"/>
                <a:gd name="connsiteX9" fmla="*/ 3360420 w 5844540"/>
                <a:gd name="connsiteY9" fmla="*/ 480060 h 2948940"/>
                <a:gd name="connsiteX10" fmla="*/ 3695700 w 5844540"/>
                <a:gd name="connsiteY10" fmla="*/ 502920 h 2948940"/>
                <a:gd name="connsiteX11" fmla="*/ 3848100 w 5844540"/>
                <a:gd name="connsiteY11" fmla="*/ 510540 h 2948940"/>
                <a:gd name="connsiteX12" fmla="*/ 4625340 w 5844540"/>
                <a:gd name="connsiteY12" fmla="*/ 822960 h 2948940"/>
                <a:gd name="connsiteX13" fmla="*/ 4831080 w 5844540"/>
                <a:gd name="connsiteY13" fmla="*/ 861060 h 2948940"/>
                <a:gd name="connsiteX14" fmla="*/ 5074920 w 5844540"/>
                <a:gd name="connsiteY14" fmla="*/ 868680 h 2948940"/>
                <a:gd name="connsiteX15" fmla="*/ 5280660 w 5844540"/>
                <a:gd name="connsiteY15" fmla="*/ 937260 h 2948940"/>
                <a:gd name="connsiteX16" fmla="*/ 5425440 w 5844540"/>
                <a:gd name="connsiteY16" fmla="*/ 937260 h 2948940"/>
                <a:gd name="connsiteX17" fmla="*/ 5836920 w 5844540"/>
                <a:gd name="connsiteY17" fmla="*/ 1066800 h 2948940"/>
                <a:gd name="connsiteX18" fmla="*/ 5844540 w 5844540"/>
                <a:gd name="connsiteY18" fmla="*/ 571500 h 2948940"/>
                <a:gd name="connsiteX19" fmla="*/ 5577840 w 5844540"/>
                <a:gd name="connsiteY19" fmla="*/ 510540 h 2948940"/>
                <a:gd name="connsiteX20" fmla="*/ 5562600 w 5844540"/>
                <a:gd name="connsiteY20" fmla="*/ 571500 h 2948940"/>
                <a:gd name="connsiteX21" fmla="*/ 5097780 w 5844540"/>
                <a:gd name="connsiteY21" fmla="*/ 472440 h 2948940"/>
                <a:gd name="connsiteX22" fmla="*/ 4907280 w 5844540"/>
                <a:gd name="connsiteY22" fmla="*/ 449580 h 2948940"/>
                <a:gd name="connsiteX23" fmla="*/ 4716780 w 5844540"/>
                <a:gd name="connsiteY23" fmla="*/ 426720 h 2948940"/>
                <a:gd name="connsiteX24" fmla="*/ 4373880 w 5844540"/>
                <a:gd name="connsiteY24" fmla="*/ 327660 h 2948940"/>
                <a:gd name="connsiteX25" fmla="*/ 4183380 w 5844540"/>
                <a:gd name="connsiteY25" fmla="*/ 251460 h 2948940"/>
                <a:gd name="connsiteX26" fmla="*/ 4130040 w 5844540"/>
                <a:gd name="connsiteY26" fmla="*/ 251460 h 2948940"/>
                <a:gd name="connsiteX27" fmla="*/ 3977640 w 5844540"/>
                <a:gd name="connsiteY27" fmla="*/ 182880 h 2948940"/>
                <a:gd name="connsiteX28" fmla="*/ 3962400 w 5844540"/>
                <a:gd name="connsiteY28" fmla="*/ 99060 h 2948940"/>
                <a:gd name="connsiteX29" fmla="*/ 3947160 w 5844540"/>
                <a:gd name="connsiteY29" fmla="*/ 83820 h 2948940"/>
                <a:gd name="connsiteX30" fmla="*/ 3893820 w 5844540"/>
                <a:gd name="connsiteY30" fmla="*/ 152400 h 2948940"/>
                <a:gd name="connsiteX31" fmla="*/ 3764280 w 5844540"/>
                <a:gd name="connsiteY31" fmla="*/ 129540 h 2948940"/>
                <a:gd name="connsiteX32" fmla="*/ 3512820 w 5844540"/>
                <a:gd name="connsiteY32" fmla="*/ 45720 h 2948940"/>
                <a:gd name="connsiteX33" fmla="*/ 2735580 w 5844540"/>
                <a:gd name="connsiteY33" fmla="*/ 7620 h 2948940"/>
                <a:gd name="connsiteX34" fmla="*/ 2026920 w 5844540"/>
                <a:gd name="connsiteY34" fmla="*/ 0 h 2948940"/>
                <a:gd name="connsiteX35" fmla="*/ 1485900 w 5844540"/>
                <a:gd name="connsiteY35" fmla="*/ 0 h 2948940"/>
                <a:gd name="connsiteX36" fmla="*/ 1066800 w 5844540"/>
                <a:gd name="connsiteY36" fmla="*/ 137160 h 2948940"/>
                <a:gd name="connsiteX37" fmla="*/ 701040 w 5844540"/>
                <a:gd name="connsiteY37" fmla="*/ 342900 h 2948940"/>
                <a:gd name="connsiteX38" fmla="*/ 464820 w 5844540"/>
                <a:gd name="connsiteY38" fmla="*/ 617220 h 2948940"/>
                <a:gd name="connsiteX39" fmla="*/ 297180 w 5844540"/>
                <a:gd name="connsiteY39" fmla="*/ 1013460 h 2948940"/>
                <a:gd name="connsiteX40" fmla="*/ 144780 w 5844540"/>
                <a:gd name="connsiteY40" fmla="*/ 1630680 h 2948940"/>
                <a:gd name="connsiteX41" fmla="*/ 60960 w 5844540"/>
                <a:gd name="connsiteY41" fmla="*/ 2324100 h 2948940"/>
                <a:gd name="connsiteX42" fmla="*/ 15240 w 5844540"/>
                <a:gd name="connsiteY42" fmla="*/ 2926080 h 2948940"/>
                <a:gd name="connsiteX43" fmla="*/ 0 w 5844540"/>
                <a:gd name="connsiteY43" fmla="*/ 2941320 h 2948940"/>
                <a:gd name="connsiteX44" fmla="*/ 472440 w 5844540"/>
                <a:gd name="connsiteY44" fmla="*/ 2948940 h 2948940"/>
                <a:gd name="connsiteX0" fmla="*/ 472440 w 5844540"/>
                <a:gd name="connsiteY0" fmla="*/ 2948940 h 2948940"/>
                <a:gd name="connsiteX1" fmla="*/ 617220 w 5844540"/>
                <a:gd name="connsiteY1" fmla="*/ 1882140 h 2948940"/>
                <a:gd name="connsiteX2" fmla="*/ 716280 w 5844540"/>
                <a:gd name="connsiteY2" fmla="*/ 1287780 h 2948940"/>
                <a:gd name="connsiteX3" fmla="*/ 952500 w 5844540"/>
                <a:gd name="connsiteY3" fmla="*/ 853440 h 2948940"/>
                <a:gd name="connsiteX4" fmla="*/ 1005840 w 5844540"/>
                <a:gd name="connsiteY4" fmla="*/ 807720 h 2948940"/>
                <a:gd name="connsiteX5" fmla="*/ 1371600 w 5844540"/>
                <a:gd name="connsiteY5" fmla="*/ 609600 h 2948940"/>
                <a:gd name="connsiteX6" fmla="*/ 1760220 w 5844540"/>
                <a:gd name="connsiteY6" fmla="*/ 518160 h 2948940"/>
                <a:gd name="connsiteX7" fmla="*/ 2316480 w 5844540"/>
                <a:gd name="connsiteY7" fmla="*/ 457200 h 2948940"/>
                <a:gd name="connsiteX8" fmla="*/ 2956560 w 5844540"/>
                <a:gd name="connsiteY8" fmla="*/ 457200 h 2948940"/>
                <a:gd name="connsiteX9" fmla="*/ 3360420 w 5844540"/>
                <a:gd name="connsiteY9" fmla="*/ 480060 h 2948940"/>
                <a:gd name="connsiteX10" fmla="*/ 3695700 w 5844540"/>
                <a:gd name="connsiteY10" fmla="*/ 502920 h 2948940"/>
                <a:gd name="connsiteX11" fmla="*/ 3848100 w 5844540"/>
                <a:gd name="connsiteY11" fmla="*/ 510540 h 2948940"/>
                <a:gd name="connsiteX12" fmla="*/ 4625340 w 5844540"/>
                <a:gd name="connsiteY12" fmla="*/ 822960 h 2948940"/>
                <a:gd name="connsiteX13" fmla="*/ 4831080 w 5844540"/>
                <a:gd name="connsiteY13" fmla="*/ 861060 h 2948940"/>
                <a:gd name="connsiteX14" fmla="*/ 5074920 w 5844540"/>
                <a:gd name="connsiteY14" fmla="*/ 868680 h 2948940"/>
                <a:gd name="connsiteX15" fmla="*/ 5280660 w 5844540"/>
                <a:gd name="connsiteY15" fmla="*/ 937260 h 2948940"/>
                <a:gd name="connsiteX16" fmla="*/ 5425440 w 5844540"/>
                <a:gd name="connsiteY16" fmla="*/ 937260 h 2948940"/>
                <a:gd name="connsiteX17" fmla="*/ 5836920 w 5844540"/>
                <a:gd name="connsiteY17" fmla="*/ 1066800 h 2948940"/>
                <a:gd name="connsiteX18" fmla="*/ 5844540 w 5844540"/>
                <a:gd name="connsiteY18" fmla="*/ 571500 h 2948940"/>
                <a:gd name="connsiteX19" fmla="*/ 5577840 w 5844540"/>
                <a:gd name="connsiteY19" fmla="*/ 510540 h 2948940"/>
                <a:gd name="connsiteX20" fmla="*/ 5562600 w 5844540"/>
                <a:gd name="connsiteY20" fmla="*/ 571500 h 2948940"/>
                <a:gd name="connsiteX21" fmla="*/ 5097780 w 5844540"/>
                <a:gd name="connsiteY21" fmla="*/ 472440 h 2948940"/>
                <a:gd name="connsiteX22" fmla="*/ 4907280 w 5844540"/>
                <a:gd name="connsiteY22" fmla="*/ 449580 h 2948940"/>
                <a:gd name="connsiteX23" fmla="*/ 4716780 w 5844540"/>
                <a:gd name="connsiteY23" fmla="*/ 426720 h 2948940"/>
                <a:gd name="connsiteX24" fmla="*/ 4373880 w 5844540"/>
                <a:gd name="connsiteY24" fmla="*/ 327660 h 2948940"/>
                <a:gd name="connsiteX25" fmla="*/ 4183380 w 5844540"/>
                <a:gd name="connsiteY25" fmla="*/ 251460 h 2948940"/>
                <a:gd name="connsiteX26" fmla="*/ 4130040 w 5844540"/>
                <a:gd name="connsiteY26" fmla="*/ 251460 h 2948940"/>
                <a:gd name="connsiteX27" fmla="*/ 3977640 w 5844540"/>
                <a:gd name="connsiteY27" fmla="*/ 182880 h 2948940"/>
                <a:gd name="connsiteX28" fmla="*/ 3962400 w 5844540"/>
                <a:gd name="connsiteY28" fmla="*/ 99060 h 2948940"/>
                <a:gd name="connsiteX29" fmla="*/ 3893820 w 5844540"/>
                <a:gd name="connsiteY29" fmla="*/ 152400 h 2948940"/>
                <a:gd name="connsiteX30" fmla="*/ 3764280 w 5844540"/>
                <a:gd name="connsiteY30" fmla="*/ 129540 h 2948940"/>
                <a:gd name="connsiteX31" fmla="*/ 3512820 w 5844540"/>
                <a:gd name="connsiteY31" fmla="*/ 45720 h 2948940"/>
                <a:gd name="connsiteX32" fmla="*/ 2735580 w 5844540"/>
                <a:gd name="connsiteY32" fmla="*/ 7620 h 2948940"/>
                <a:gd name="connsiteX33" fmla="*/ 2026920 w 5844540"/>
                <a:gd name="connsiteY33" fmla="*/ 0 h 2948940"/>
                <a:gd name="connsiteX34" fmla="*/ 1485900 w 5844540"/>
                <a:gd name="connsiteY34" fmla="*/ 0 h 2948940"/>
                <a:gd name="connsiteX35" fmla="*/ 1066800 w 5844540"/>
                <a:gd name="connsiteY35" fmla="*/ 137160 h 2948940"/>
                <a:gd name="connsiteX36" fmla="*/ 701040 w 5844540"/>
                <a:gd name="connsiteY36" fmla="*/ 342900 h 2948940"/>
                <a:gd name="connsiteX37" fmla="*/ 464820 w 5844540"/>
                <a:gd name="connsiteY37" fmla="*/ 617220 h 2948940"/>
                <a:gd name="connsiteX38" fmla="*/ 297180 w 5844540"/>
                <a:gd name="connsiteY38" fmla="*/ 1013460 h 2948940"/>
                <a:gd name="connsiteX39" fmla="*/ 144780 w 5844540"/>
                <a:gd name="connsiteY39" fmla="*/ 1630680 h 2948940"/>
                <a:gd name="connsiteX40" fmla="*/ 60960 w 5844540"/>
                <a:gd name="connsiteY40" fmla="*/ 2324100 h 2948940"/>
                <a:gd name="connsiteX41" fmla="*/ 15240 w 5844540"/>
                <a:gd name="connsiteY41" fmla="*/ 2926080 h 2948940"/>
                <a:gd name="connsiteX42" fmla="*/ 0 w 5844540"/>
                <a:gd name="connsiteY42" fmla="*/ 2941320 h 2948940"/>
                <a:gd name="connsiteX43" fmla="*/ 472440 w 5844540"/>
                <a:gd name="connsiteY43" fmla="*/ 2948940 h 2948940"/>
                <a:gd name="connsiteX0" fmla="*/ 472440 w 5844540"/>
                <a:gd name="connsiteY0" fmla="*/ 2948940 h 2948940"/>
                <a:gd name="connsiteX1" fmla="*/ 617220 w 5844540"/>
                <a:gd name="connsiteY1" fmla="*/ 1882140 h 2948940"/>
                <a:gd name="connsiteX2" fmla="*/ 716280 w 5844540"/>
                <a:gd name="connsiteY2" fmla="*/ 1287780 h 2948940"/>
                <a:gd name="connsiteX3" fmla="*/ 952500 w 5844540"/>
                <a:gd name="connsiteY3" fmla="*/ 853440 h 2948940"/>
                <a:gd name="connsiteX4" fmla="*/ 1005840 w 5844540"/>
                <a:gd name="connsiteY4" fmla="*/ 807720 h 2948940"/>
                <a:gd name="connsiteX5" fmla="*/ 1371600 w 5844540"/>
                <a:gd name="connsiteY5" fmla="*/ 609600 h 2948940"/>
                <a:gd name="connsiteX6" fmla="*/ 1760220 w 5844540"/>
                <a:gd name="connsiteY6" fmla="*/ 518160 h 2948940"/>
                <a:gd name="connsiteX7" fmla="*/ 2316480 w 5844540"/>
                <a:gd name="connsiteY7" fmla="*/ 457200 h 2948940"/>
                <a:gd name="connsiteX8" fmla="*/ 2956560 w 5844540"/>
                <a:gd name="connsiteY8" fmla="*/ 457200 h 2948940"/>
                <a:gd name="connsiteX9" fmla="*/ 3360420 w 5844540"/>
                <a:gd name="connsiteY9" fmla="*/ 480060 h 2948940"/>
                <a:gd name="connsiteX10" fmla="*/ 3695700 w 5844540"/>
                <a:gd name="connsiteY10" fmla="*/ 502920 h 2948940"/>
                <a:gd name="connsiteX11" fmla="*/ 3848100 w 5844540"/>
                <a:gd name="connsiteY11" fmla="*/ 510540 h 2948940"/>
                <a:gd name="connsiteX12" fmla="*/ 4625340 w 5844540"/>
                <a:gd name="connsiteY12" fmla="*/ 822960 h 2948940"/>
                <a:gd name="connsiteX13" fmla="*/ 4831080 w 5844540"/>
                <a:gd name="connsiteY13" fmla="*/ 861060 h 2948940"/>
                <a:gd name="connsiteX14" fmla="*/ 5074920 w 5844540"/>
                <a:gd name="connsiteY14" fmla="*/ 868680 h 2948940"/>
                <a:gd name="connsiteX15" fmla="*/ 5280660 w 5844540"/>
                <a:gd name="connsiteY15" fmla="*/ 937260 h 2948940"/>
                <a:gd name="connsiteX16" fmla="*/ 5425440 w 5844540"/>
                <a:gd name="connsiteY16" fmla="*/ 937260 h 2948940"/>
                <a:gd name="connsiteX17" fmla="*/ 5836920 w 5844540"/>
                <a:gd name="connsiteY17" fmla="*/ 1066800 h 2948940"/>
                <a:gd name="connsiteX18" fmla="*/ 5844540 w 5844540"/>
                <a:gd name="connsiteY18" fmla="*/ 571500 h 2948940"/>
                <a:gd name="connsiteX19" fmla="*/ 5577840 w 5844540"/>
                <a:gd name="connsiteY19" fmla="*/ 510540 h 2948940"/>
                <a:gd name="connsiteX20" fmla="*/ 5562600 w 5844540"/>
                <a:gd name="connsiteY20" fmla="*/ 571500 h 2948940"/>
                <a:gd name="connsiteX21" fmla="*/ 5097780 w 5844540"/>
                <a:gd name="connsiteY21" fmla="*/ 472440 h 2948940"/>
                <a:gd name="connsiteX22" fmla="*/ 4907280 w 5844540"/>
                <a:gd name="connsiteY22" fmla="*/ 449580 h 2948940"/>
                <a:gd name="connsiteX23" fmla="*/ 4716780 w 5844540"/>
                <a:gd name="connsiteY23" fmla="*/ 426720 h 2948940"/>
                <a:gd name="connsiteX24" fmla="*/ 4373880 w 5844540"/>
                <a:gd name="connsiteY24" fmla="*/ 327660 h 2948940"/>
                <a:gd name="connsiteX25" fmla="*/ 4183380 w 5844540"/>
                <a:gd name="connsiteY25" fmla="*/ 251460 h 2948940"/>
                <a:gd name="connsiteX26" fmla="*/ 4130040 w 5844540"/>
                <a:gd name="connsiteY26" fmla="*/ 251460 h 2948940"/>
                <a:gd name="connsiteX27" fmla="*/ 3977640 w 5844540"/>
                <a:gd name="connsiteY27" fmla="*/ 182880 h 2948940"/>
                <a:gd name="connsiteX28" fmla="*/ 3893820 w 5844540"/>
                <a:gd name="connsiteY28" fmla="*/ 152400 h 2948940"/>
                <a:gd name="connsiteX29" fmla="*/ 3764280 w 5844540"/>
                <a:gd name="connsiteY29" fmla="*/ 129540 h 2948940"/>
                <a:gd name="connsiteX30" fmla="*/ 3512820 w 5844540"/>
                <a:gd name="connsiteY30" fmla="*/ 45720 h 2948940"/>
                <a:gd name="connsiteX31" fmla="*/ 2735580 w 5844540"/>
                <a:gd name="connsiteY31" fmla="*/ 7620 h 2948940"/>
                <a:gd name="connsiteX32" fmla="*/ 2026920 w 5844540"/>
                <a:gd name="connsiteY32" fmla="*/ 0 h 2948940"/>
                <a:gd name="connsiteX33" fmla="*/ 1485900 w 5844540"/>
                <a:gd name="connsiteY33" fmla="*/ 0 h 2948940"/>
                <a:gd name="connsiteX34" fmla="*/ 1066800 w 5844540"/>
                <a:gd name="connsiteY34" fmla="*/ 137160 h 2948940"/>
                <a:gd name="connsiteX35" fmla="*/ 701040 w 5844540"/>
                <a:gd name="connsiteY35" fmla="*/ 342900 h 2948940"/>
                <a:gd name="connsiteX36" fmla="*/ 464820 w 5844540"/>
                <a:gd name="connsiteY36" fmla="*/ 617220 h 2948940"/>
                <a:gd name="connsiteX37" fmla="*/ 297180 w 5844540"/>
                <a:gd name="connsiteY37" fmla="*/ 1013460 h 2948940"/>
                <a:gd name="connsiteX38" fmla="*/ 144780 w 5844540"/>
                <a:gd name="connsiteY38" fmla="*/ 1630680 h 2948940"/>
                <a:gd name="connsiteX39" fmla="*/ 60960 w 5844540"/>
                <a:gd name="connsiteY39" fmla="*/ 2324100 h 2948940"/>
                <a:gd name="connsiteX40" fmla="*/ 15240 w 5844540"/>
                <a:gd name="connsiteY40" fmla="*/ 2926080 h 2948940"/>
                <a:gd name="connsiteX41" fmla="*/ 0 w 5844540"/>
                <a:gd name="connsiteY41" fmla="*/ 2941320 h 2948940"/>
                <a:gd name="connsiteX42" fmla="*/ 472440 w 5844540"/>
                <a:gd name="connsiteY42" fmla="*/ 2948940 h 2948940"/>
                <a:gd name="connsiteX0" fmla="*/ 472440 w 5844540"/>
                <a:gd name="connsiteY0" fmla="*/ 2948940 h 2948940"/>
                <a:gd name="connsiteX1" fmla="*/ 617220 w 5844540"/>
                <a:gd name="connsiteY1" fmla="*/ 1882140 h 2948940"/>
                <a:gd name="connsiteX2" fmla="*/ 716280 w 5844540"/>
                <a:gd name="connsiteY2" fmla="*/ 1287780 h 2948940"/>
                <a:gd name="connsiteX3" fmla="*/ 952500 w 5844540"/>
                <a:gd name="connsiteY3" fmla="*/ 853440 h 2948940"/>
                <a:gd name="connsiteX4" fmla="*/ 1005840 w 5844540"/>
                <a:gd name="connsiteY4" fmla="*/ 807720 h 2948940"/>
                <a:gd name="connsiteX5" fmla="*/ 1371600 w 5844540"/>
                <a:gd name="connsiteY5" fmla="*/ 609600 h 2948940"/>
                <a:gd name="connsiteX6" fmla="*/ 1760220 w 5844540"/>
                <a:gd name="connsiteY6" fmla="*/ 518160 h 2948940"/>
                <a:gd name="connsiteX7" fmla="*/ 2316480 w 5844540"/>
                <a:gd name="connsiteY7" fmla="*/ 457200 h 2948940"/>
                <a:gd name="connsiteX8" fmla="*/ 2956560 w 5844540"/>
                <a:gd name="connsiteY8" fmla="*/ 457200 h 2948940"/>
                <a:gd name="connsiteX9" fmla="*/ 3360420 w 5844540"/>
                <a:gd name="connsiteY9" fmla="*/ 480060 h 2948940"/>
                <a:gd name="connsiteX10" fmla="*/ 3695700 w 5844540"/>
                <a:gd name="connsiteY10" fmla="*/ 502920 h 2948940"/>
                <a:gd name="connsiteX11" fmla="*/ 3848100 w 5844540"/>
                <a:gd name="connsiteY11" fmla="*/ 510540 h 2948940"/>
                <a:gd name="connsiteX12" fmla="*/ 4625340 w 5844540"/>
                <a:gd name="connsiteY12" fmla="*/ 822960 h 2948940"/>
                <a:gd name="connsiteX13" fmla="*/ 4831080 w 5844540"/>
                <a:gd name="connsiteY13" fmla="*/ 861060 h 2948940"/>
                <a:gd name="connsiteX14" fmla="*/ 5074920 w 5844540"/>
                <a:gd name="connsiteY14" fmla="*/ 868680 h 2948940"/>
                <a:gd name="connsiteX15" fmla="*/ 5280660 w 5844540"/>
                <a:gd name="connsiteY15" fmla="*/ 937260 h 2948940"/>
                <a:gd name="connsiteX16" fmla="*/ 5425440 w 5844540"/>
                <a:gd name="connsiteY16" fmla="*/ 937260 h 2948940"/>
                <a:gd name="connsiteX17" fmla="*/ 5836920 w 5844540"/>
                <a:gd name="connsiteY17" fmla="*/ 1066800 h 2948940"/>
                <a:gd name="connsiteX18" fmla="*/ 5844540 w 5844540"/>
                <a:gd name="connsiteY18" fmla="*/ 571500 h 2948940"/>
                <a:gd name="connsiteX19" fmla="*/ 5577840 w 5844540"/>
                <a:gd name="connsiteY19" fmla="*/ 510540 h 2948940"/>
                <a:gd name="connsiteX20" fmla="*/ 5097780 w 5844540"/>
                <a:gd name="connsiteY20" fmla="*/ 472440 h 2948940"/>
                <a:gd name="connsiteX21" fmla="*/ 4907280 w 5844540"/>
                <a:gd name="connsiteY21" fmla="*/ 449580 h 2948940"/>
                <a:gd name="connsiteX22" fmla="*/ 4716780 w 5844540"/>
                <a:gd name="connsiteY22" fmla="*/ 426720 h 2948940"/>
                <a:gd name="connsiteX23" fmla="*/ 4373880 w 5844540"/>
                <a:gd name="connsiteY23" fmla="*/ 327660 h 2948940"/>
                <a:gd name="connsiteX24" fmla="*/ 4183380 w 5844540"/>
                <a:gd name="connsiteY24" fmla="*/ 251460 h 2948940"/>
                <a:gd name="connsiteX25" fmla="*/ 4130040 w 5844540"/>
                <a:gd name="connsiteY25" fmla="*/ 251460 h 2948940"/>
                <a:gd name="connsiteX26" fmla="*/ 3977640 w 5844540"/>
                <a:gd name="connsiteY26" fmla="*/ 182880 h 2948940"/>
                <a:gd name="connsiteX27" fmla="*/ 3893820 w 5844540"/>
                <a:gd name="connsiteY27" fmla="*/ 152400 h 2948940"/>
                <a:gd name="connsiteX28" fmla="*/ 3764280 w 5844540"/>
                <a:gd name="connsiteY28" fmla="*/ 129540 h 2948940"/>
                <a:gd name="connsiteX29" fmla="*/ 3512820 w 5844540"/>
                <a:gd name="connsiteY29" fmla="*/ 45720 h 2948940"/>
                <a:gd name="connsiteX30" fmla="*/ 2735580 w 5844540"/>
                <a:gd name="connsiteY30" fmla="*/ 7620 h 2948940"/>
                <a:gd name="connsiteX31" fmla="*/ 2026920 w 5844540"/>
                <a:gd name="connsiteY31" fmla="*/ 0 h 2948940"/>
                <a:gd name="connsiteX32" fmla="*/ 1485900 w 5844540"/>
                <a:gd name="connsiteY32" fmla="*/ 0 h 2948940"/>
                <a:gd name="connsiteX33" fmla="*/ 1066800 w 5844540"/>
                <a:gd name="connsiteY33" fmla="*/ 137160 h 2948940"/>
                <a:gd name="connsiteX34" fmla="*/ 701040 w 5844540"/>
                <a:gd name="connsiteY34" fmla="*/ 342900 h 2948940"/>
                <a:gd name="connsiteX35" fmla="*/ 464820 w 5844540"/>
                <a:gd name="connsiteY35" fmla="*/ 617220 h 2948940"/>
                <a:gd name="connsiteX36" fmla="*/ 297180 w 5844540"/>
                <a:gd name="connsiteY36" fmla="*/ 1013460 h 2948940"/>
                <a:gd name="connsiteX37" fmla="*/ 144780 w 5844540"/>
                <a:gd name="connsiteY37" fmla="*/ 1630680 h 2948940"/>
                <a:gd name="connsiteX38" fmla="*/ 60960 w 5844540"/>
                <a:gd name="connsiteY38" fmla="*/ 2324100 h 2948940"/>
                <a:gd name="connsiteX39" fmla="*/ 15240 w 5844540"/>
                <a:gd name="connsiteY39" fmla="*/ 2926080 h 2948940"/>
                <a:gd name="connsiteX40" fmla="*/ 0 w 5844540"/>
                <a:gd name="connsiteY40" fmla="*/ 2941320 h 2948940"/>
                <a:gd name="connsiteX41" fmla="*/ 472440 w 5844540"/>
                <a:gd name="connsiteY41" fmla="*/ 2948940 h 2948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844540" h="2948940">
                  <a:moveTo>
                    <a:pt x="472440" y="2948940"/>
                  </a:moveTo>
                  <a:lnTo>
                    <a:pt x="617220" y="1882140"/>
                  </a:lnTo>
                  <a:lnTo>
                    <a:pt x="716280" y="1287780"/>
                  </a:lnTo>
                  <a:lnTo>
                    <a:pt x="952500" y="853440"/>
                  </a:lnTo>
                  <a:lnTo>
                    <a:pt x="1005840" y="807720"/>
                  </a:lnTo>
                  <a:lnTo>
                    <a:pt x="1371600" y="609600"/>
                  </a:lnTo>
                  <a:lnTo>
                    <a:pt x="1760220" y="518160"/>
                  </a:lnTo>
                  <a:lnTo>
                    <a:pt x="2316480" y="457200"/>
                  </a:lnTo>
                  <a:lnTo>
                    <a:pt x="2956560" y="457200"/>
                  </a:lnTo>
                  <a:lnTo>
                    <a:pt x="3360420" y="480060"/>
                  </a:lnTo>
                  <a:lnTo>
                    <a:pt x="3695700" y="502920"/>
                  </a:lnTo>
                  <a:lnTo>
                    <a:pt x="3848100" y="510540"/>
                  </a:lnTo>
                  <a:lnTo>
                    <a:pt x="4625340" y="822960"/>
                  </a:lnTo>
                  <a:lnTo>
                    <a:pt x="4831080" y="861060"/>
                  </a:lnTo>
                  <a:lnTo>
                    <a:pt x="5074920" y="868680"/>
                  </a:lnTo>
                  <a:lnTo>
                    <a:pt x="5280660" y="937260"/>
                  </a:lnTo>
                  <a:lnTo>
                    <a:pt x="5425440" y="937260"/>
                  </a:lnTo>
                  <a:lnTo>
                    <a:pt x="5836920" y="1066800"/>
                  </a:lnTo>
                  <a:lnTo>
                    <a:pt x="5844540" y="571500"/>
                  </a:lnTo>
                  <a:lnTo>
                    <a:pt x="5577840" y="510540"/>
                  </a:lnTo>
                  <a:lnTo>
                    <a:pt x="5097780" y="472440"/>
                  </a:lnTo>
                  <a:lnTo>
                    <a:pt x="4907280" y="449580"/>
                  </a:lnTo>
                  <a:lnTo>
                    <a:pt x="4716780" y="426720"/>
                  </a:lnTo>
                  <a:lnTo>
                    <a:pt x="4373880" y="327660"/>
                  </a:lnTo>
                  <a:lnTo>
                    <a:pt x="4183380" y="251460"/>
                  </a:lnTo>
                  <a:lnTo>
                    <a:pt x="4130040" y="251460"/>
                  </a:lnTo>
                  <a:lnTo>
                    <a:pt x="3977640" y="182880"/>
                  </a:lnTo>
                  <a:lnTo>
                    <a:pt x="3893820" y="152400"/>
                  </a:lnTo>
                  <a:lnTo>
                    <a:pt x="3764280" y="129540"/>
                  </a:lnTo>
                  <a:lnTo>
                    <a:pt x="3512820" y="45720"/>
                  </a:lnTo>
                  <a:lnTo>
                    <a:pt x="2735580" y="7620"/>
                  </a:lnTo>
                  <a:lnTo>
                    <a:pt x="2026920" y="0"/>
                  </a:lnTo>
                  <a:lnTo>
                    <a:pt x="1485900" y="0"/>
                  </a:lnTo>
                  <a:lnTo>
                    <a:pt x="1066800" y="137160"/>
                  </a:lnTo>
                  <a:lnTo>
                    <a:pt x="701040" y="342900"/>
                  </a:lnTo>
                  <a:lnTo>
                    <a:pt x="464820" y="617220"/>
                  </a:lnTo>
                  <a:lnTo>
                    <a:pt x="297180" y="1013460"/>
                  </a:lnTo>
                  <a:lnTo>
                    <a:pt x="144780" y="1630680"/>
                  </a:lnTo>
                  <a:lnTo>
                    <a:pt x="60960" y="2324100"/>
                  </a:lnTo>
                  <a:lnTo>
                    <a:pt x="15240" y="2926080"/>
                  </a:lnTo>
                  <a:lnTo>
                    <a:pt x="0" y="2941320"/>
                  </a:lnTo>
                  <a:lnTo>
                    <a:pt x="472440" y="294894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779" name="Freihandform 778"/>
            <p:cNvSpPr/>
            <p:nvPr/>
          </p:nvSpPr>
          <p:spPr bwMode="auto">
            <a:xfrm>
              <a:off x="3665903" y="2940139"/>
              <a:ext cx="4879847" cy="865772"/>
            </a:xfrm>
            <a:custGeom>
              <a:avLst/>
              <a:gdLst>
                <a:gd name="connsiteX0" fmla="*/ 0 w 5803392"/>
                <a:gd name="connsiteY0" fmla="*/ 2269216 h 2269216"/>
                <a:gd name="connsiteX1" fmla="*/ 103632 w 5803392"/>
                <a:gd name="connsiteY1" fmla="*/ 1427968 h 2269216"/>
                <a:gd name="connsiteX2" fmla="*/ 323088 w 5803392"/>
                <a:gd name="connsiteY2" fmla="*/ 836656 h 2269216"/>
                <a:gd name="connsiteX3" fmla="*/ 579120 w 5803392"/>
                <a:gd name="connsiteY3" fmla="*/ 458704 h 2269216"/>
                <a:gd name="connsiteX4" fmla="*/ 1011936 w 5803392"/>
                <a:gd name="connsiteY4" fmla="*/ 214864 h 2269216"/>
                <a:gd name="connsiteX5" fmla="*/ 1469136 w 5803392"/>
                <a:gd name="connsiteY5" fmla="*/ 62464 h 2269216"/>
                <a:gd name="connsiteX6" fmla="*/ 2517648 w 5803392"/>
                <a:gd name="connsiteY6" fmla="*/ 74656 h 2269216"/>
                <a:gd name="connsiteX7" fmla="*/ 3096768 w 5803392"/>
                <a:gd name="connsiteY7" fmla="*/ 86848 h 2269216"/>
                <a:gd name="connsiteX8" fmla="*/ 3224784 w 5803392"/>
                <a:gd name="connsiteY8" fmla="*/ 25888 h 2269216"/>
                <a:gd name="connsiteX9" fmla="*/ 3761232 w 5803392"/>
                <a:gd name="connsiteY9" fmla="*/ 7600 h 2269216"/>
                <a:gd name="connsiteX10" fmla="*/ 4425696 w 5803392"/>
                <a:gd name="connsiteY10" fmla="*/ 147808 h 2269216"/>
                <a:gd name="connsiteX11" fmla="*/ 4870704 w 5803392"/>
                <a:gd name="connsiteY11" fmla="*/ 306304 h 2269216"/>
                <a:gd name="connsiteX12" fmla="*/ 5455920 w 5803392"/>
                <a:gd name="connsiteY12" fmla="*/ 440416 h 2269216"/>
                <a:gd name="connsiteX13" fmla="*/ 5803392 w 5803392"/>
                <a:gd name="connsiteY13" fmla="*/ 513568 h 2269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803392" h="2269216">
                  <a:moveTo>
                    <a:pt x="0" y="2269216"/>
                  </a:moveTo>
                  <a:cubicBezTo>
                    <a:pt x="24892" y="1967972"/>
                    <a:pt x="49784" y="1666728"/>
                    <a:pt x="103632" y="1427968"/>
                  </a:cubicBezTo>
                  <a:cubicBezTo>
                    <a:pt x="157480" y="1189208"/>
                    <a:pt x="243840" y="998200"/>
                    <a:pt x="323088" y="836656"/>
                  </a:cubicBezTo>
                  <a:cubicBezTo>
                    <a:pt x="402336" y="675112"/>
                    <a:pt x="464312" y="562336"/>
                    <a:pt x="579120" y="458704"/>
                  </a:cubicBezTo>
                  <a:cubicBezTo>
                    <a:pt x="693928" y="355072"/>
                    <a:pt x="863600" y="280904"/>
                    <a:pt x="1011936" y="214864"/>
                  </a:cubicBezTo>
                  <a:cubicBezTo>
                    <a:pt x="1160272" y="148824"/>
                    <a:pt x="1218184" y="85832"/>
                    <a:pt x="1469136" y="62464"/>
                  </a:cubicBezTo>
                  <a:cubicBezTo>
                    <a:pt x="1720088" y="39096"/>
                    <a:pt x="2517648" y="74656"/>
                    <a:pt x="2517648" y="74656"/>
                  </a:cubicBezTo>
                  <a:cubicBezTo>
                    <a:pt x="2788920" y="78720"/>
                    <a:pt x="2978912" y="94976"/>
                    <a:pt x="3096768" y="86848"/>
                  </a:cubicBezTo>
                  <a:cubicBezTo>
                    <a:pt x="3214624" y="78720"/>
                    <a:pt x="3114040" y="39096"/>
                    <a:pt x="3224784" y="25888"/>
                  </a:cubicBezTo>
                  <a:cubicBezTo>
                    <a:pt x="3335528" y="12680"/>
                    <a:pt x="3561080" y="-12720"/>
                    <a:pt x="3761232" y="7600"/>
                  </a:cubicBezTo>
                  <a:cubicBezTo>
                    <a:pt x="3961384" y="27920"/>
                    <a:pt x="4240784" y="98024"/>
                    <a:pt x="4425696" y="147808"/>
                  </a:cubicBezTo>
                  <a:cubicBezTo>
                    <a:pt x="4610608" y="197592"/>
                    <a:pt x="4699000" y="257536"/>
                    <a:pt x="4870704" y="306304"/>
                  </a:cubicBezTo>
                  <a:cubicBezTo>
                    <a:pt x="5042408" y="355072"/>
                    <a:pt x="5300472" y="405872"/>
                    <a:pt x="5455920" y="440416"/>
                  </a:cubicBezTo>
                  <a:cubicBezTo>
                    <a:pt x="5611368" y="474960"/>
                    <a:pt x="5707380" y="494264"/>
                    <a:pt x="5803392" y="513568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0" name="Freihandform 779"/>
            <p:cNvSpPr/>
            <p:nvPr/>
          </p:nvSpPr>
          <p:spPr bwMode="auto">
            <a:xfrm>
              <a:off x="1781276" y="2399967"/>
              <a:ext cx="6750793" cy="865772"/>
            </a:xfrm>
            <a:custGeom>
              <a:avLst/>
              <a:gdLst>
                <a:gd name="connsiteX0" fmla="*/ 0 w 7114032"/>
                <a:gd name="connsiteY0" fmla="*/ 2087167 h 2087167"/>
                <a:gd name="connsiteX1" fmla="*/ 798576 w 7114032"/>
                <a:gd name="connsiteY1" fmla="*/ 1544623 h 2087167"/>
                <a:gd name="connsiteX2" fmla="*/ 1267968 w 7114032"/>
                <a:gd name="connsiteY2" fmla="*/ 1099615 h 2087167"/>
                <a:gd name="connsiteX3" fmla="*/ 1920240 w 7114032"/>
                <a:gd name="connsiteY3" fmla="*/ 672895 h 2087167"/>
                <a:gd name="connsiteX4" fmla="*/ 2596896 w 7114032"/>
                <a:gd name="connsiteY4" fmla="*/ 307135 h 2087167"/>
                <a:gd name="connsiteX5" fmla="*/ 2755392 w 7114032"/>
                <a:gd name="connsiteY5" fmla="*/ 276655 h 2087167"/>
                <a:gd name="connsiteX6" fmla="*/ 2834640 w 7114032"/>
                <a:gd name="connsiteY6" fmla="*/ 173023 h 2087167"/>
                <a:gd name="connsiteX7" fmla="*/ 3291840 w 7114032"/>
                <a:gd name="connsiteY7" fmla="*/ 32815 h 2087167"/>
                <a:gd name="connsiteX8" fmla="*/ 4029456 w 7114032"/>
                <a:gd name="connsiteY8" fmla="*/ 8431 h 2087167"/>
                <a:gd name="connsiteX9" fmla="*/ 4614672 w 7114032"/>
                <a:gd name="connsiteY9" fmla="*/ 148639 h 2087167"/>
                <a:gd name="connsiteX10" fmla="*/ 4669536 w 7114032"/>
                <a:gd name="connsiteY10" fmla="*/ 215695 h 2087167"/>
                <a:gd name="connsiteX11" fmla="*/ 4907280 w 7114032"/>
                <a:gd name="connsiteY11" fmla="*/ 215695 h 2087167"/>
                <a:gd name="connsiteX12" fmla="*/ 5907024 w 7114032"/>
                <a:gd name="connsiteY12" fmla="*/ 563167 h 2087167"/>
                <a:gd name="connsiteX13" fmla="*/ 6455664 w 7114032"/>
                <a:gd name="connsiteY13" fmla="*/ 733855 h 2087167"/>
                <a:gd name="connsiteX14" fmla="*/ 6888480 w 7114032"/>
                <a:gd name="connsiteY14" fmla="*/ 800911 h 2087167"/>
                <a:gd name="connsiteX15" fmla="*/ 7114032 w 7114032"/>
                <a:gd name="connsiteY15" fmla="*/ 916735 h 2087167"/>
                <a:gd name="connsiteX0" fmla="*/ 0 w 7949184"/>
                <a:gd name="connsiteY0" fmla="*/ 2635807 h 2635807"/>
                <a:gd name="connsiteX1" fmla="*/ 1633728 w 7949184"/>
                <a:gd name="connsiteY1" fmla="*/ 1544623 h 2635807"/>
                <a:gd name="connsiteX2" fmla="*/ 2103120 w 7949184"/>
                <a:gd name="connsiteY2" fmla="*/ 1099615 h 2635807"/>
                <a:gd name="connsiteX3" fmla="*/ 2755392 w 7949184"/>
                <a:gd name="connsiteY3" fmla="*/ 672895 h 2635807"/>
                <a:gd name="connsiteX4" fmla="*/ 3432048 w 7949184"/>
                <a:gd name="connsiteY4" fmla="*/ 307135 h 2635807"/>
                <a:gd name="connsiteX5" fmla="*/ 3590544 w 7949184"/>
                <a:gd name="connsiteY5" fmla="*/ 276655 h 2635807"/>
                <a:gd name="connsiteX6" fmla="*/ 3669792 w 7949184"/>
                <a:gd name="connsiteY6" fmla="*/ 173023 h 2635807"/>
                <a:gd name="connsiteX7" fmla="*/ 4126992 w 7949184"/>
                <a:gd name="connsiteY7" fmla="*/ 32815 h 2635807"/>
                <a:gd name="connsiteX8" fmla="*/ 4864608 w 7949184"/>
                <a:gd name="connsiteY8" fmla="*/ 8431 h 2635807"/>
                <a:gd name="connsiteX9" fmla="*/ 5449824 w 7949184"/>
                <a:gd name="connsiteY9" fmla="*/ 148639 h 2635807"/>
                <a:gd name="connsiteX10" fmla="*/ 5504688 w 7949184"/>
                <a:gd name="connsiteY10" fmla="*/ 215695 h 2635807"/>
                <a:gd name="connsiteX11" fmla="*/ 5742432 w 7949184"/>
                <a:gd name="connsiteY11" fmla="*/ 215695 h 2635807"/>
                <a:gd name="connsiteX12" fmla="*/ 6742176 w 7949184"/>
                <a:gd name="connsiteY12" fmla="*/ 563167 h 2635807"/>
                <a:gd name="connsiteX13" fmla="*/ 7290816 w 7949184"/>
                <a:gd name="connsiteY13" fmla="*/ 733855 h 2635807"/>
                <a:gd name="connsiteX14" fmla="*/ 7723632 w 7949184"/>
                <a:gd name="connsiteY14" fmla="*/ 800911 h 2635807"/>
                <a:gd name="connsiteX15" fmla="*/ 7949184 w 7949184"/>
                <a:gd name="connsiteY15" fmla="*/ 916735 h 2635807"/>
                <a:gd name="connsiteX0" fmla="*/ 0 w 8028432"/>
                <a:gd name="connsiteY0" fmla="*/ 2702863 h 2702863"/>
                <a:gd name="connsiteX1" fmla="*/ 1712976 w 8028432"/>
                <a:gd name="connsiteY1" fmla="*/ 1544623 h 2702863"/>
                <a:gd name="connsiteX2" fmla="*/ 2182368 w 8028432"/>
                <a:gd name="connsiteY2" fmla="*/ 1099615 h 2702863"/>
                <a:gd name="connsiteX3" fmla="*/ 2834640 w 8028432"/>
                <a:gd name="connsiteY3" fmla="*/ 672895 h 2702863"/>
                <a:gd name="connsiteX4" fmla="*/ 3511296 w 8028432"/>
                <a:gd name="connsiteY4" fmla="*/ 307135 h 2702863"/>
                <a:gd name="connsiteX5" fmla="*/ 3669792 w 8028432"/>
                <a:gd name="connsiteY5" fmla="*/ 276655 h 2702863"/>
                <a:gd name="connsiteX6" fmla="*/ 3749040 w 8028432"/>
                <a:gd name="connsiteY6" fmla="*/ 173023 h 2702863"/>
                <a:gd name="connsiteX7" fmla="*/ 4206240 w 8028432"/>
                <a:gd name="connsiteY7" fmla="*/ 32815 h 2702863"/>
                <a:gd name="connsiteX8" fmla="*/ 4943856 w 8028432"/>
                <a:gd name="connsiteY8" fmla="*/ 8431 h 2702863"/>
                <a:gd name="connsiteX9" fmla="*/ 5529072 w 8028432"/>
                <a:gd name="connsiteY9" fmla="*/ 148639 h 2702863"/>
                <a:gd name="connsiteX10" fmla="*/ 5583936 w 8028432"/>
                <a:gd name="connsiteY10" fmla="*/ 215695 h 2702863"/>
                <a:gd name="connsiteX11" fmla="*/ 5821680 w 8028432"/>
                <a:gd name="connsiteY11" fmla="*/ 215695 h 2702863"/>
                <a:gd name="connsiteX12" fmla="*/ 6821424 w 8028432"/>
                <a:gd name="connsiteY12" fmla="*/ 563167 h 2702863"/>
                <a:gd name="connsiteX13" fmla="*/ 7370064 w 8028432"/>
                <a:gd name="connsiteY13" fmla="*/ 733855 h 2702863"/>
                <a:gd name="connsiteX14" fmla="*/ 7802880 w 8028432"/>
                <a:gd name="connsiteY14" fmla="*/ 800911 h 2702863"/>
                <a:gd name="connsiteX15" fmla="*/ 8028432 w 8028432"/>
                <a:gd name="connsiteY15" fmla="*/ 916735 h 2702863"/>
                <a:gd name="connsiteX0" fmla="*/ 0 w 8028432"/>
                <a:gd name="connsiteY0" fmla="*/ 2702863 h 2702863"/>
                <a:gd name="connsiteX1" fmla="*/ 1712976 w 8028432"/>
                <a:gd name="connsiteY1" fmla="*/ 1544623 h 2702863"/>
                <a:gd name="connsiteX2" fmla="*/ 2182368 w 8028432"/>
                <a:gd name="connsiteY2" fmla="*/ 1099615 h 2702863"/>
                <a:gd name="connsiteX3" fmla="*/ 2834640 w 8028432"/>
                <a:gd name="connsiteY3" fmla="*/ 672895 h 2702863"/>
                <a:gd name="connsiteX4" fmla="*/ 3511296 w 8028432"/>
                <a:gd name="connsiteY4" fmla="*/ 307135 h 2702863"/>
                <a:gd name="connsiteX5" fmla="*/ 3669792 w 8028432"/>
                <a:gd name="connsiteY5" fmla="*/ 276655 h 2702863"/>
                <a:gd name="connsiteX6" fmla="*/ 3749040 w 8028432"/>
                <a:gd name="connsiteY6" fmla="*/ 173023 h 2702863"/>
                <a:gd name="connsiteX7" fmla="*/ 4206240 w 8028432"/>
                <a:gd name="connsiteY7" fmla="*/ 32815 h 2702863"/>
                <a:gd name="connsiteX8" fmla="*/ 4943856 w 8028432"/>
                <a:gd name="connsiteY8" fmla="*/ 8431 h 2702863"/>
                <a:gd name="connsiteX9" fmla="*/ 5529072 w 8028432"/>
                <a:gd name="connsiteY9" fmla="*/ 148639 h 2702863"/>
                <a:gd name="connsiteX10" fmla="*/ 5821680 w 8028432"/>
                <a:gd name="connsiteY10" fmla="*/ 215695 h 2702863"/>
                <a:gd name="connsiteX11" fmla="*/ 6821424 w 8028432"/>
                <a:gd name="connsiteY11" fmla="*/ 563167 h 2702863"/>
                <a:gd name="connsiteX12" fmla="*/ 7370064 w 8028432"/>
                <a:gd name="connsiteY12" fmla="*/ 733855 h 2702863"/>
                <a:gd name="connsiteX13" fmla="*/ 7802880 w 8028432"/>
                <a:gd name="connsiteY13" fmla="*/ 800911 h 2702863"/>
                <a:gd name="connsiteX14" fmla="*/ 8028432 w 8028432"/>
                <a:gd name="connsiteY14" fmla="*/ 916735 h 2702863"/>
                <a:gd name="connsiteX0" fmla="*/ 0 w 8028432"/>
                <a:gd name="connsiteY0" fmla="*/ 2702863 h 2702863"/>
                <a:gd name="connsiteX1" fmla="*/ 1712976 w 8028432"/>
                <a:gd name="connsiteY1" fmla="*/ 1544623 h 2702863"/>
                <a:gd name="connsiteX2" fmla="*/ 2182368 w 8028432"/>
                <a:gd name="connsiteY2" fmla="*/ 1099615 h 2702863"/>
                <a:gd name="connsiteX3" fmla="*/ 2834640 w 8028432"/>
                <a:gd name="connsiteY3" fmla="*/ 672895 h 2702863"/>
                <a:gd name="connsiteX4" fmla="*/ 3511296 w 8028432"/>
                <a:gd name="connsiteY4" fmla="*/ 307135 h 2702863"/>
                <a:gd name="connsiteX5" fmla="*/ 3749040 w 8028432"/>
                <a:gd name="connsiteY5" fmla="*/ 173023 h 2702863"/>
                <a:gd name="connsiteX6" fmla="*/ 4206240 w 8028432"/>
                <a:gd name="connsiteY6" fmla="*/ 32815 h 2702863"/>
                <a:gd name="connsiteX7" fmla="*/ 4943856 w 8028432"/>
                <a:gd name="connsiteY7" fmla="*/ 8431 h 2702863"/>
                <a:gd name="connsiteX8" fmla="*/ 5529072 w 8028432"/>
                <a:gd name="connsiteY8" fmla="*/ 148639 h 2702863"/>
                <a:gd name="connsiteX9" fmla="*/ 5821680 w 8028432"/>
                <a:gd name="connsiteY9" fmla="*/ 215695 h 2702863"/>
                <a:gd name="connsiteX10" fmla="*/ 6821424 w 8028432"/>
                <a:gd name="connsiteY10" fmla="*/ 563167 h 2702863"/>
                <a:gd name="connsiteX11" fmla="*/ 7370064 w 8028432"/>
                <a:gd name="connsiteY11" fmla="*/ 733855 h 2702863"/>
                <a:gd name="connsiteX12" fmla="*/ 7802880 w 8028432"/>
                <a:gd name="connsiteY12" fmla="*/ 800911 h 2702863"/>
                <a:gd name="connsiteX13" fmla="*/ 8028432 w 8028432"/>
                <a:gd name="connsiteY13" fmla="*/ 916735 h 2702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28432" h="2702863">
                  <a:moveTo>
                    <a:pt x="0" y="2702863"/>
                  </a:moveTo>
                  <a:cubicBezTo>
                    <a:pt x="293624" y="2513887"/>
                    <a:pt x="1349248" y="1811831"/>
                    <a:pt x="1712976" y="1544623"/>
                  </a:cubicBezTo>
                  <a:cubicBezTo>
                    <a:pt x="2076704" y="1277415"/>
                    <a:pt x="1995424" y="1244903"/>
                    <a:pt x="2182368" y="1099615"/>
                  </a:cubicBezTo>
                  <a:cubicBezTo>
                    <a:pt x="2369312" y="954327"/>
                    <a:pt x="2613152" y="804975"/>
                    <a:pt x="2834640" y="672895"/>
                  </a:cubicBezTo>
                  <a:cubicBezTo>
                    <a:pt x="3056128" y="540815"/>
                    <a:pt x="3358896" y="390447"/>
                    <a:pt x="3511296" y="307135"/>
                  </a:cubicBezTo>
                  <a:cubicBezTo>
                    <a:pt x="3663696" y="223823"/>
                    <a:pt x="3633216" y="218743"/>
                    <a:pt x="3749040" y="173023"/>
                  </a:cubicBezTo>
                  <a:cubicBezTo>
                    <a:pt x="3864864" y="127303"/>
                    <a:pt x="4007104" y="60247"/>
                    <a:pt x="4206240" y="32815"/>
                  </a:cubicBezTo>
                  <a:cubicBezTo>
                    <a:pt x="4405376" y="5383"/>
                    <a:pt x="4723384" y="-10873"/>
                    <a:pt x="4943856" y="8431"/>
                  </a:cubicBezTo>
                  <a:cubicBezTo>
                    <a:pt x="5164328" y="27735"/>
                    <a:pt x="5382768" y="114095"/>
                    <a:pt x="5529072" y="148639"/>
                  </a:cubicBezTo>
                  <a:cubicBezTo>
                    <a:pt x="5675376" y="183183"/>
                    <a:pt x="5606288" y="146607"/>
                    <a:pt x="5821680" y="215695"/>
                  </a:cubicBezTo>
                  <a:cubicBezTo>
                    <a:pt x="6037072" y="284783"/>
                    <a:pt x="6563360" y="476807"/>
                    <a:pt x="6821424" y="563167"/>
                  </a:cubicBezTo>
                  <a:cubicBezTo>
                    <a:pt x="7079488" y="649527"/>
                    <a:pt x="7206488" y="694231"/>
                    <a:pt x="7370064" y="733855"/>
                  </a:cubicBezTo>
                  <a:cubicBezTo>
                    <a:pt x="7533640" y="773479"/>
                    <a:pt x="7693152" y="770431"/>
                    <a:pt x="7802880" y="800911"/>
                  </a:cubicBezTo>
                  <a:cubicBezTo>
                    <a:pt x="7912608" y="831391"/>
                    <a:pt x="7970520" y="874063"/>
                    <a:pt x="8028432" y="916735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1" name="Freihandform 780"/>
            <p:cNvSpPr/>
            <p:nvPr/>
          </p:nvSpPr>
          <p:spPr bwMode="auto">
            <a:xfrm>
              <a:off x="1781276" y="4793848"/>
              <a:ext cx="2693178" cy="865772"/>
            </a:xfrm>
            <a:custGeom>
              <a:avLst/>
              <a:gdLst>
                <a:gd name="connsiteX0" fmla="*/ 0 w 2288487"/>
                <a:gd name="connsiteY0" fmla="*/ 67485 h 835581"/>
                <a:gd name="connsiteX1" fmla="*/ 445008 w 2288487"/>
                <a:gd name="connsiteY1" fmla="*/ 429 h 835581"/>
                <a:gd name="connsiteX2" fmla="*/ 932688 w 2288487"/>
                <a:gd name="connsiteY2" fmla="*/ 37005 h 835581"/>
                <a:gd name="connsiteX3" fmla="*/ 2194560 w 2288487"/>
                <a:gd name="connsiteY3" fmla="*/ 116253 h 835581"/>
                <a:gd name="connsiteX4" fmla="*/ 2188464 w 2288487"/>
                <a:gd name="connsiteY4" fmla="*/ 689277 h 835581"/>
                <a:gd name="connsiteX5" fmla="*/ 2127504 w 2288487"/>
                <a:gd name="connsiteY5" fmla="*/ 835581 h 835581"/>
                <a:gd name="connsiteX0" fmla="*/ 0 w 3202887"/>
                <a:gd name="connsiteY0" fmla="*/ 233872 h 843472"/>
                <a:gd name="connsiteX1" fmla="*/ 1359408 w 3202887"/>
                <a:gd name="connsiteY1" fmla="*/ 8320 h 843472"/>
                <a:gd name="connsiteX2" fmla="*/ 1847088 w 3202887"/>
                <a:gd name="connsiteY2" fmla="*/ 44896 h 843472"/>
                <a:gd name="connsiteX3" fmla="*/ 3108960 w 3202887"/>
                <a:gd name="connsiteY3" fmla="*/ 124144 h 843472"/>
                <a:gd name="connsiteX4" fmla="*/ 3102864 w 3202887"/>
                <a:gd name="connsiteY4" fmla="*/ 697168 h 843472"/>
                <a:gd name="connsiteX5" fmla="*/ 3041904 w 3202887"/>
                <a:gd name="connsiteY5" fmla="*/ 843472 h 843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2887" h="843472">
                  <a:moveTo>
                    <a:pt x="0" y="233872"/>
                  </a:moveTo>
                  <a:cubicBezTo>
                    <a:pt x="144780" y="202884"/>
                    <a:pt x="1051560" y="39816"/>
                    <a:pt x="1359408" y="8320"/>
                  </a:cubicBezTo>
                  <a:cubicBezTo>
                    <a:pt x="1667256" y="-23176"/>
                    <a:pt x="1847088" y="44896"/>
                    <a:pt x="1847088" y="44896"/>
                  </a:cubicBezTo>
                  <a:cubicBezTo>
                    <a:pt x="2138680" y="64200"/>
                    <a:pt x="2899664" y="15432"/>
                    <a:pt x="3108960" y="124144"/>
                  </a:cubicBezTo>
                  <a:cubicBezTo>
                    <a:pt x="3318256" y="232856"/>
                    <a:pt x="3114040" y="577280"/>
                    <a:pt x="3102864" y="697168"/>
                  </a:cubicBezTo>
                  <a:cubicBezTo>
                    <a:pt x="3091688" y="817056"/>
                    <a:pt x="3066796" y="830264"/>
                    <a:pt x="3041904" y="843472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2" name="Freihandform 781"/>
            <p:cNvSpPr/>
            <p:nvPr/>
          </p:nvSpPr>
          <p:spPr bwMode="auto">
            <a:xfrm>
              <a:off x="5830730" y="1838082"/>
              <a:ext cx="134993" cy="865772"/>
            </a:xfrm>
            <a:custGeom>
              <a:avLst/>
              <a:gdLst>
                <a:gd name="connsiteX0" fmla="*/ 0 w 160544"/>
                <a:gd name="connsiteY0" fmla="*/ 0 h 4084320"/>
                <a:gd name="connsiteX1" fmla="*/ 134112 w 160544"/>
                <a:gd name="connsiteY1" fmla="*/ 841248 h 4084320"/>
                <a:gd name="connsiteX2" fmla="*/ 158496 w 160544"/>
                <a:gd name="connsiteY2" fmla="*/ 1127760 h 4084320"/>
                <a:gd name="connsiteX3" fmla="*/ 103632 w 160544"/>
                <a:gd name="connsiteY3" fmla="*/ 1316736 h 4084320"/>
                <a:gd name="connsiteX4" fmla="*/ 115824 w 160544"/>
                <a:gd name="connsiteY4" fmla="*/ 1450848 h 4084320"/>
                <a:gd name="connsiteX5" fmla="*/ 109728 w 160544"/>
                <a:gd name="connsiteY5" fmla="*/ 2023872 h 4084320"/>
                <a:gd name="connsiteX6" fmla="*/ 60960 w 160544"/>
                <a:gd name="connsiteY6" fmla="*/ 4084320 h 408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544" h="4084320">
                  <a:moveTo>
                    <a:pt x="0" y="0"/>
                  </a:moveTo>
                  <a:cubicBezTo>
                    <a:pt x="53848" y="326644"/>
                    <a:pt x="107696" y="653288"/>
                    <a:pt x="134112" y="841248"/>
                  </a:cubicBezTo>
                  <a:cubicBezTo>
                    <a:pt x="160528" y="1029208"/>
                    <a:pt x="163576" y="1048512"/>
                    <a:pt x="158496" y="1127760"/>
                  </a:cubicBezTo>
                  <a:cubicBezTo>
                    <a:pt x="153416" y="1207008"/>
                    <a:pt x="110744" y="1262888"/>
                    <a:pt x="103632" y="1316736"/>
                  </a:cubicBezTo>
                  <a:cubicBezTo>
                    <a:pt x="96520" y="1370584"/>
                    <a:pt x="114808" y="1332992"/>
                    <a:pt x="115824" y="1450848"/>
                  </a:cubicBezTo>
                  <a:cubicBezTo>
                    <a:pt x="116840" y="1568704"/>
                    <a:pt x="118872" y="1584960"/>
                    <a:pt x="109728" y="2023872"/>
                  </a:cubicBezTo>
                  <a:cubicBezTo>
                    <a:pt x="100584" y="2462784"/>
                    <a:pt x="33528" y="3765296"/>
                    <a:pt x="60960" y="4084320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3" name="Freihandform 782"/>
            <p:cNvSpPr/>
            <p:nvPr/>
          </p:nvSpPr>
          <p:spPr bwMode="auto">
            <a:xfrm>
              <a:off x="4087926" y="1838082"/>
              <a:ext cx="307552" cy="865772"/>
            </a:xfrm>
            <a:custGeom>
              <a:avLst/>
              <a:gdLst>
                <a:gd name="connsiteX0" fmla="*/ 0 w 365760"/>
                <a:gd name="connsiteY0" fmla="*/ 0 h 877824"/>
                <a:gd name="connsiteX1" fmla="*/ 365760 w 365760"/>
                <a:gd name="connsiteY1" fmla="*/ 877824 h 877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877824">
                  <a:moveTo>
                    <a:pt x="0" y="0"/>
                  </a:moveTo>
                  <a:lnTo>
                    <a:pt x="365760" y="877824"/>
                  </a:ln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4" name="Freihandform 783"/>
            <p:cNvSpPr/>
            <p:nvPr/>
          </p:nvSpPr>
          <p:spPr bwMode="auto">
            <a:xfrm>
              <a:off x="4229328" y="2585133"/>
              <a:ext cx="606723" cy="865772"/>
            </a:xfrm>
            <a:custGeom>
              <a:avLst/>
              <a:gdLst>
                <a:gd name="connsiteX0" fmla="*/ 612125 w 731682"/>
                <a:gd name="connsiteY0" fmla="*/ 99116 h 2860604"/>
                <a:gd name="connsiteX1" fmla="*/ 538973 w 731682"/>
                <a:gd name="connsiteY1" fmla="*/ 32060 h 2860604"/>
                <a:gd name="connsiteX2" fmla="*/ 380477 w 731682"/>
                <a:gd name="connsiteY2" fmla="*/ 1580 h 2860604"/>
                <a:gd name="connsiteX3" fmla="*/ 185405 w 731682"/>
                <a:gd name="connsiteY3" fmla="*/ 19868 h 2860604"/>
                <a:gd name="connsiteX4" fmla="*/ 39101 w 731682"/>
                <a:gd name="connsiteY4" fmla="*/ 147884 h 2860604"/>
                <a:gd name="connsiteX5" fmla="*/ 8621 w 731682"/>
                <a:gd name="connsiteY5" fmla="*/ 275900 h 2860604"/>
                <a:gd name="connsiteX6" fmla="*/ 2525 w 731682"/>
                <a:gd name="connsiteY6" fmla="*/ 373436 h 2860604"/>
                <a:gd name="connsiteX7" fmla="*/ 45197 w 731682"/>
                <a:gd name="connsiteY7" fmla="*/ 574604 h 2860604"/>
                <a:gd name="connsiteX8" fmla="*/ 161021 w 731682"/>
                <a:gd name="connsiteY8" fmla="*/ 757484 h 2860604"/>
                <a:gd name="connsiteX9" fmla="*/ 587741 w 731682"/>
                <a:gd name="connsiteY9" fmla="*/ 1543868 h 2860604"/>
                <a:gd name="connsiteX10" fmla="*/ 685277 w 731682"/>
                <a:gd name="connsiteY10" fmla="*/ 1720652 h 2860604"/>
                <a:gd name="connsiteX11" fmla="*/ 715757 w 731682"/>
                <a:gd name="connsiteY11" fmla="*/ 1781612 h 2860604"/>
                <a:gd name="connsiteX12" fmla="*/ 435341 w 731682"/>
                <a:gd name="connsiteY12" fmla="*/ 2275388 h 2860604"/>
                <a:gd name="connsiteX13" fmla="*/ 289037 w 731682"/>
                <a:gd name="connsiteY13" fmla="*/ 2549708 h 2860604"/>
                <a:gd name="connsiteX14" fmla="*/ 282941 w 731682"/>
                <a:gd name="connsiteY14" fmla="*/ 2580188 h 2860604"/>
                <a:gd name="connsiteX15" fmla="*/ 380477 w 731682"/>
                <a:gd name="connsiteY15" fmla="*/ 2647244 h 2860604"/>
                <a:gd name="connsiteX16" fmla="*/ 447533 w 731682"/>
                <a:gd name="connsiteY16" fmla="*/ 2708204 h 2860604"/>
                <a:gd name="connsiteX17" fmla="*/ 447533 w 731682"/>
                <a:gd name="connsiteY17" fmla="*/ 2763068 h 2860604"/>
                <a:gd name="connsiteX18" fmla="*/ 392669 w 731682"/>
                <a:gd name="connsiteY18" fmla="*/ 2805740 h 2860604"/>
                <a:gd name="connsiteX19" fmla="*/ 289037 w 731682"/>
                <a:gd name="connsiteY19" fmla="*/ 2860604 h 2860604"/>
                <a:gd name="connsiteX0" fmla="*/ 612125 w 731682"/>
                <a:gd name="connsiteY0" fmla="*/ 99116 h 2860604"/>
                <a:gd name="connsiteX1" fmla="*/ 538973 w 731682"/>
                <a:gd name="connsiteY1" fmla="*/ 32060 h 2860604"/>
                <a:gd name="connsiteX2" fmla="*/ 380477 w 731682"/>
                <a:gd name="connsiteY2" fmla="*/ 1580 h 2860604"/>
                <a:gd name="connsiteX3" fmla="*/ 185405 w 731682"/>
                <a:gd name="connsiteY3" fmla="*/ 19868 h 2860604"/>
                <a:gd name="connsiteX4" fmla="*/ 39101 w 731682"/>
                <a:gd name="connsiteY4" fmla="*/ 147884 h 2860604"/>
                <a:gd name="connsiteX5" fmla="*/ 8621 w 731682"/>
                <a:gd name="connsiteY5" fmla="*/ 275900 h 2860604"/>
                <a:gd name="connsiteX6" fmla="*/ 2525 w 731682"/>
                <a:gd name="connsiteY6" fmla="*/ 373436 h 2860604"/>
                <a:gd name="connsiteX7" fmla="*/ 45197 w 731682"/>
                <a:gd name="connsiteY7" fmla="*/ 574604 h 2860604"/>
                <a:gd name="connsiteX8" fmla="*/ 161021 w 731682"/>
                <a:gd name="connsiteY8" fmla="*/ 757484 h 2860604"/>
                <a:gd name="connsiteX9" fmla="*/ 587741 w 731682"/>
                <a:gd name="connsiteY9" fmla="*/ 1543868 h 2860604"/>
                <a:gd name="connsiteX10" fmla="*/ 685277 w 731682"/>
                <a:gd name="connsiteY10" fmla="*/ 1720652 h 2860604"/>
                <a:gd name="connsiteX11" fmla="*/ 715757 w 731682"/>
                <a:gd name="connsiteY11" fmla="*/ 1781612 h 2860604"/>
                <a:gd name="connsiteX12" fmla="*/ 435341 w 731682"/>
                <a:gd name="connsiteY12" fmla="*/ 2275388 h 2860604"/>
                <a:gd name="connsiteX13" fmla="*/ 282941 w 731682"/>
                <a:gd name="connsiteY13" fmla="*/ 2580188 h 2860604"/>
                <a:gd name="connsiteX14" fmla="*/ 380477 w 731682"/>
                <a:gd name="connsiteY14" fmla="*/ 2647244 h 2860604"/>
                <a:gd name="connsiteX15" fmla="*/ 447533 w 731682"/>
                <a:gd name="connsiteY15" fmla="*/ 2708204 h 2860604"/>
                <a:gd name="connsiteX16" fmla="*/ 447533 w 731682"/>
                <a:gd name="connsiteY16" fmla="*/ 2763068 h 2860604"/>
                <a:gd name="connsiteX17" fmla="*/ 392669 w 731682"/>
                <a:gd name="connsiteY17" fmla="*/ 2805740 h 2860604"/>
                <a:gd name="connsiteX18" fmla="*/ 289037 w 731682"/>
                <a:gd name="connsiteY18" fmla="*/ 2860604 h 2860604"/>
                <a:gd name="connsiteX0" fmla="*/ 612125 w 731682"/>
                <a:gd name="connsiteY0" fmla="*/ 99116 h 2860604"/>
                <a:gd name="connsiteX1" fmla="*/ 538973 w 731682"/>
                <a:gd name="connsiteY1" fmla="*/ 32060 h 2860604"/>
                <a:gd name="connsiteX2" fmla="*/ 380477 w 731682"/>
                <a:gd name="connsiteY2" fmla="*/ 1580 h 2860604"/>
                <a:gd name="connsiteX3" fmla="*/ 185405 w 731682"/>
                <a:gd name="connsiteY3" fmla="*/ 19868 h 2860604"/>
                <a:gd name="connsiteX4" fmla="*/ 39101 w 731682"/>
                <a:gd name="connsiteY4" fmla="*/ 147884 h 2860604"/>
                <a:gd name="connsiteX5" fmla="*/ 8621 w 731682"/>
                <a:gd name="connsiteY5" fmla="*/ 275900 h 2860604"/>
                <a:gd name="connsiteX6" fmla="*/ 2525 w 731682"/>
                <a:gd name="connsiteY6" fmla="*/ 373436 h 2860604"/>
                <a:gd name="connsiteX7" fmla="*/ 45197 w 731682"/>
                <a:gd name="connsiteY7" fmla="*/ 574604 h 2860604"/>
                <a:gd name="connsiteX8" fmla="*/ 161021 w 731682"/>
                <a:gd name="connsiteY8" fmla="*/ 757484 h 2860604"/>
                <a:gd name="connsiteX9" fmla="*/ 587741 w 731682"/>
                <a:gd name="connsiteY9" fmla="*/ 1543868 h 2860604"/>
                <a:gd name="connsiteX10" fmla="*/ 685277 w 731682"/>
                <a:gd name="connsiteY10" fmla="*/ 1720652 h 2860604"/>
                <a:gd name="connsiteX11" fmla="*/ 715757 w 731682"/>
                <a:gd name="connsiteY11" fmla="*/ 1781612 h 2860604"/>
                <a:gd name="connsiteX12" fmla="*/ 435341 w 731682"/>
                <a:gd name="connsiteY12" fmla="*/ 2275388 h 2860604"/>
                <a:gd name="connsiteX13" fmla="*/ 280401 w 731682"/>
                <a:gd name="connsiteY13" fmla="*/ 2559868 h 2860604"/>
                <a:gd name="connsiteX14" fmla="*/ 380477 w 731682"/>
                <a:gd name="connsiteY14" fmla="*/ 2647244 h 2860604"/>
                <a:gd name="connsiteX15" fmla="*/ 447533 w 731682"/>
                <a:gd name="connsiteY15" fmla="*/ 2708204 h 2860604"/>
                <a:gd name="connsiteX16" fmla="*/ 447533 w 731682"/>
                <a:gd name="connsiteY16" fmla="*/ 2763068 h 2860604"/>
                <a:gd name="connsiteX17" fmla="*/ 392669 w 731682"/>
                <a:gd name="connsiteY17" fmla="*/ 2805740 h 2860604"/>
                <a:gd name="connsiteX18" fmla="*/ 289037 w 731682"/>
                <a:gd name="connsiteY18" fmla="*/ 2860604 h 2860604"/>
                <a:gd name="connsiteX0" fmla="*/ 612125 w 693299"/>
                <a:gd name="connsiteY0" fmla="*/ 99116 h 2860604"/>
                <a:gd name="connsiteX1" fmla="*/ 538973 w 693299"/>
                <a:gd name="connsiteY1" fmla="*/ 32060 h 2860604"/>
                <a:gd name="connsiteX2" fmla="*/ 380477 w 693299"/>
                <a:gd name="connsiteY2" fmla="*/ 1580 h 2860604"/>
                <a:gd name="connsiteX3" fmla="*/ 185405 w 693299"/>
                <a:gd name="connsiteY3" fmla="*/ 19868 h 2860604"/>
                <a:gd name="connsiteX4" fmla="*/ 39101 w 693299"/>
                <a:gd name="connsiteY4" fmla="*/ 147884 h 2860604"/>
                <a:gd name="connsiteX5" fmla="*/ 8621 w 693299"/>
                <a:gd name="connsiteY5" fmla="*/ 275900 h 2860604"/>
                <a:gd name="connsiteX6" fmla="*/ 2525 w 693299"/>
                <a:gd name="connsiteY6" fmla="*/ 373436 h 2860604"/>
                <a:gd name="connsiteX7" fmla="*/ 45197 w 693299"/>
                <a:gd name="connsiteY7" fmla="*/ 574604 h 2860604"/>
                <a:gd name="connsiteX8" fmla="*/ 161021 w 693299"/>
                <a:gd name="connsiteY8" fmla="*/ 757484 h 2860604"/>
                <a:gd name="connsiteX9" fmla="*/ 587741 w 693299"/>
                <a:gd name="connsiteY9" fmla="*/ 1543868 h 2860604"/>
                <a:gd name="connsiteX10" fmla="*/ 685277 w 693299"/>
                <a:gd name="connsiteY10" fmla="*/ 1720652 h 2860604"/>
                <a:gd name="connsiteX11" fmla="*/ 435341 w 693299"/>
                <a:gd name="connsiteY11" fmla="*/ 2275388 h 2860604"/>
                <a:gd name="connsiteX12" fmla="*/ 280401 w 693299"/>
                <a:gd name="connsiteY12" fmla="*/ 2559868 h 2860604"/>
                <a:gd name="connsiteX13" fmla="*/ 380477 w 693299"/>
                <a:gd name="connsiteY13" fmla="*/ 2647244 h 2860604"/>
                <a:gd name="connsiteX14" fmla="*/ 447533 w 693299"/>
                <a:gd name="connsiteY14" fmla="*/ 2708204 h 2860604"/>
                <a:gd name="connsiteX15" fmla="*/ 447533 w 693299"/>
                <a:gd name="connsiteY15" fmla="*/ 2763068 h 2860604"/>
                <a:gd name="connsiteX16" fmla="*/ 392669 w 693299"/>
                <a:gd name="connsiteY16" fmla="*/ 2805740 h 2860604"/>
                <a:gd name="connsiteX17" fmla="*/ 289037 w 693299"/>
                <a:gd name="connsiteY17" fmla="*/ 2860604 h 2860604"/>
                <a:gd name="connsiteX0" fmla="*/ 612125 w 721547"/>
                <a:gd name="connsiteY0" fmla="*/ 99116 h 2860604"/>
                <a:gd name="connsiteX1" fmla="*/ 538973 w 721547"/>
                <a:gd name="connsiteY1" fmla="*/ 32060 h 2860604"/>
                <a:gd name="connsiteX2" fmla="*/ 380477 w 721547"/>
                <a:gd name="connsiteY2" fmla="*/ 1580 h 2860604"/>
                <a:gd name="connsiteX3" fmla="*/ 185405 w 721547"/>
                <a:gd name="connsiteY3" fmla="*/ 19868 h 2860604"/>
                <a:gd name="connsiteX4" fmla="*/ 39101 w 721547"/>
                <a:gd name="connsiteY4" fmla="*/ 147884 h 2860604"/>
                <a:gd name="connsiteX5" fmla="*/ 8621 w 721547"/>
                <a:gd name="connsiteY5" fmla="*/ 275900 h 2860604"/>
                <a:gd name="connsiteX6" fmla="*/ 2525 w 721547"/>
                <a:gd name="connsiteY6" fmla="*/ 373436 h 2860604"/>
                <a:gd name="connsiteX7" fmla="*/ 45197 w 721547"/>
                <a:gd name="connsiteY7" fmla="*/ 574604 h 2860604"/>
                <a:gd name="connsiteX8" fmla="*/ 161021 w 721547"/>
                <a:gd name="connsiteY8" fmla="*/ 757484 h 2860604"/>
                <a:gd name="connsiteX9" fmla="*/ 587741 w 721547"/>
                <a:gd name="connsiteY9" fmla="*/ 1543868 h 2860604"/>
                <a:gd name="connsiteX10" fmla="*/ 715757 w 721547"/>
                <a:gd name="connsiteY10" fmla="*/ 1812092 h 2860604"/>
                <a:gd name="connsiteX11" fmla="*/ 435341 w 721547"/>
                <a:gd name="connsiteY11" fmla="*/ 2275388 h 2860604"/>
                <a:gd name="connsiteX12" fmla="*/ 280401 w 721547"/>
                <a:gd name="connsiteY12" fmla="*/ 2559868 h 2860604"/>
                <a:gd name="connsiteX13" fmla="*/ 380477 w 721547"/>
                <a:gd name="connsiteY13" fmla="*/ 2647244 h 2860604"/>
                <a:gd name="connsiteX14" fmla="*/ 447533 w 721547"/>
                <a:gd name="connsiteY14" fmla="*/ 2708204 h 2860604"/>
                <a:gd name="connsiteX15" fmla="*/ 447533 w 721547"/>
                <a:gd name="connsiteY15" fmla="*/ 2763068 h 2860604"/>
                <a:gd name="connsiteX16" fmla="*/ 392669 w 721547"/>
                <a:gd name="connsiteY16" fmla="*/ 2805740 h 2860604"/>
                <a:gd name="connsiteX17" fmla="*/ 289037 w 721547"/>
                <a:gd name="connsiteY17" fmla="*/ 2860604 h 2860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21547" h="2860604">
                  <a:moveTo>
                    <a:pt x="612125" y="99116"/>
                  </a:moveTo>
                  <a:cubicBezTo>
                    <a:pt x="594853" y="73716"/>
                    <a:pt x="577581" y="48316"/>
                    <a:pt x="538973" y="32060"/>
                  </a:cubicBezTo>
                  <a:cubicBezTo>
                    <a:pt x="500365" y="15804"/>
                    <a:pt x="439405" y="3612"/>
                    <a:pt x="380477" y="1580"/>
                  </a:cubicBezTo>
                  <a:cubicBezTo>
                    <a:pt x="321549" y="-452"/>
                    <a:pt x="242301" y="-4516"/>
                    <a:pt x="185405" y="19868"/>
                  </a:cubicBezTo>
                  <a:cubicBezTo>
                    <a:pt x="128509" y="44252"/>
                    <a:pt x="68565" y="105212"/>
                    <a:pt x="39101" y="147884"/>
                  </a:cubicBezTo>
                  <a:cubicBezTo>
                    <a:pt x="9637" y="190556"/>
                    <a:pt x="14717" y="238308"/>
                    <a:pt x="8621" y="275900"/>
                  </a:cubicBezTo>
                  <a:cubicBezTo>
                    <a:pt x="2525" y="313492"/>
                    <a:pt x="-3571" y="323652"/>
                    <a:pt x="2525" y="373436"/>
                  </a:cubicBezTo>
                  <a:cubicBezTo>
                    <a:pt x="8621" y="423220"/>
                    <a:pt x="18781" y="510596"/>
                    <a:pt x="45197" y="574604"/>
                  </a:cubicBezTo>
                  <a:cubicBezTo>
                    <a:pt x="71613" y="638612"/>
                    <a:pt x="70597" y="595940"/>
                    <a:pt x="161021" y="757484"/>
                  </a:cubicBezTo>
                  <a:cubicBezTo>
                    <a:pt x="251445" y="919028"/>
                    <a:pt x="495285" y="1368100"/>
                    <a:pt x="587741" y="1543868"/>
                  </a:cubicBezTo>
                  <a:cubicBezTo>
                    <a:pt x="680197" y="1719636"/>
                    <a:pt x="741157" y="1690172"/>
                    <a:pt x="715757" y="1812092"/>
                  </a:cubicBezTo>
                  <a:cubicBezTo>
                    <a:pt x="690357" y="1934012"/>
                    <a:pt x="507900" y="2150759"/>
                    <a:pt x="435341" y="2275388"/>
                  </a:cubicBezTo>
                  <a:cubicBezTo>
                    <a:pt x="362782" y="2400017"/>
                    <a:pt x="289545" y="2497892"/>
                    <a:pt x="280401" y="2559868"/>
                  </a:cubicBezTo>
                  <a:cubicBezTo>
                    <a:pt x="271257" y="2621844"/>
                    <a:pt x="352622" y="2622521"/>
                    <a:pt x="380477" y="2647244"/>
                  </a:cubicBezTo>
                  <a:cubicBezTo>
                    <a:pt x="408332" y="2671967"/>
                    <a:pt x="436357" y="2688900"/>
                    <a:pt x="447533" y="2708204"/>
                  </a:cubicBezTo>
                  <a:cubicBezTo>
                    <a:pt x="458709" y="2727508"/>
                    <a:pt x="456677" y="2746812"/>
                    <a:pt x="447533" y="2763068"/>
                  </a:cubicBezTo>
                  <a:cubicBezTo>
                    <a:pt x="438389" y="2779324"/>
                    <a:pt x="419085" y="2789484"/>
                    <a:pt x="392669" y="2805740"/>
                  </a:cubicBezTo>
                  <a:cubicBezTo>
                    <a:pt x="366253" y="2821996"/>
                    <a:pt x="289037" y="2860604"/>
                    <a:pt x="289037" y="2860604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5" name="Freihandform 784"/>
            <p:cNvSpPr/>
            <p:nvPr/>
          </p:nvSpPr>
          <p:spPr bwMode="auto">
            <a:xfrm>
              <a:off x="4841430" y="4119100"/>
              <a:ext cx="917533" cy="865772"/>
            </a:xfrm>
            <a:custGeom>
              <a:avLst/>
              <a:gdLst>
                <a:gd name="connsiteX0" fmla="*/ 0 w 1091184"/>
                <a:gd name="connsiteY0" fmla="*/ 0 h 1365504"/>
                <a:gd name="connsiteX1" fmla="*/ 438912 w 1091184"/>
                <a:gd name="connsiteY1" fmla="*/ 445008 h 1365504"/>
                <a:gd name="connsiteX2" fmla="*/ 682752 w 1091184"/>
                <a:gd name="connsiteY2" fmla="*/ 841248 h 1365504"/>
                <a:gd name="connsiteX3" fmla="*/ 1091184 w 1091184"/>
                <a:gd name="connsiteY3" fmla="*/ 1365504 h 136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1184" h="1365504">
                  <a:moveTo>
                    <a:pt x="0" y="0"/>
                  </a:moveTo>
                  <a:cubicBezTo>
                    <a:pt x="162560" y="152400"/>
                    <a:pt x="325120" y="304800"/>
                    <a:pt x="438912" y="445008"/>
                  </a:cubicBezTo>
                  <a:cubicBezTo>
                    <a:pt x="552704" y="585216"/>
                    <a:pt x="574040" y="687832"/>
                    <a:pt x="682752" y="841248"/>
                  </a:cubicBezTo>
                  <a:cubicBezTo>
                    <a:pt x="791464" y="994664"/>
                    <a:pt x="941324" y="1180084"/>
                    <a:pt x="1091184" y="1365504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6" name="Freihandform 785"/>
            <p:cNvSpPr/>
            <p:nvPr/>
          </p:nvSpPr>
          <p:spPr bwMode="auto">
            <a:xfrm>
              <a:off x="4606278" y="4922586"/>
              <a:ext cx="2196493" cy="865772"/>
            </a:xfrm>
            <a:custGeom>
              <a:avLst/>
              <a:gdLst>
                <a:gd name="connsiteX0" fmla="*/ 0 w 2600767"/>
                <a:gd name="connsiteY0" fmla="*/ 0 h 502586"/>
                <a:gd name="connsiteX1" fmla="*/ 542544 w 2600767"/>
                <a:gd name="connsiteY1" fmla="*/ 438912 h 502586"/>
                <a:gd name="connsiteX2" fmla="*/ 762000 w 2600767"/>
                <a:gd name="connsiteY2" fmla="*/ 493776 h 502586"/>
                <a:gd name="connsiteX3" fmla="*/ 1627632 w 2600767"/>
                <a:gd name="connsiteY3" fmla="*/ 377952 h 502586"/>
                <a:gd name="connsiteX4" fmla="*/ 2487168 w 2600767"/>
                <a:gd name="connsiteY4" fmla="*/ 304800 h 502586"/>
                <a:gd name="connsiteX5" fmla="*/ 2566416 w 2600767"/>
                <a:gd name="connsiteY5" fmla="*/ 323088 h 502586"/>
                <a:gd name="connsiteX0" fmla="*/ 0 w 2612197"/>
                <a:gd name="connsiteY0" fmla="*/ 0 h 510554"/>
                <a:gd name="connsiteX1" fmla="*/ 553974 w 2612197"/>
                <a:gd name="connsiteY1" fmla="*/ 446532 h 510554"/>
                <a:gd name="connsiteX2" fmla="*/ 773430 w 2612197"/>
                <a:gd name="connsiteY2" fmla="*/ 501396 h 510554"/>
                <a:gd name="connsiteX3" fmla="*/ 1639062 w 2612197"/>
                <a:gd name="connsiteY3" fmla="*/ 385572 h 510554"/>
                <a:gd name="connsiteX4" fmla="*/ 2498598 w 2612197"/>
                <a:gd name="connsiteY4" fmla="*/ 312420 h 510554"/>
                <a:gd name="connsiteX5" fmla="*/ 2577846 w 2612197"/>
                <a:gd name="connsiteY5" fmla="*/ 330708 h 51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2197" h="510554">
                  <a:moveTo>
                    <a:pt x="0" y="0"/>
                  </a:moveTo>
                  <a:cubicBezTo>
                    <a:pt x="207772" y="178308"/>
                    <a:pt x="425069" y="362966"/>
                    <a:pt x="553974" y="446532"/>
                  </a:cubicBezTo>
                  <a:cubicBezTo>
                    <a:pt x="682879" y="530098"/>
                    <a:pt x="592582" y="511556"/>
                    <a:pt x="773430" y="501396"/>
                  </a:cubicBezTo>
                  <a:cubicBezTo>
                    <a:pt x="954278" y="491236"/>
                    <a:pt x="1351534" y="417068"/>
                    <a:pt x="1639062" y="385572"/>
                  </a:cubicBezTo>
                  <a:cubicBezTo>
                    <a:pt x="1926590" y="354076"/>
                    <a:pt x="2342134" y="321564"/>
                    <a:pt x="2498598" y="312420"/>
                  </a:cubicBezTo>
                  <a:cubicBezTo>
                    <a:pt x="2655062" y="303276"/>
                    <a:pt x="2616454" y="316992"/>
                    <a:pt x="2577846" y="330708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7" name="Freihandform 786"/>
            <p:cNvSpPr/>
            <p:nvPr/>
          </p:nvSpPr>
          <p:spPr bwMode="auto">
            <a:xfrm>
              <a:off x="4872184" y="2053369"/>
              <a:ext cx="3670136" cy="865772"/>
            </a:xfrm>
            <a:custGeom>
              <a:avLst/>
              <a:gdLst>
                <a:gd name="connsiteX0" fmla="*/ 0 w 4364736"/>
                <a:gd name="connsiteY0" fmla="*/ 2468880 h 2546529"/>
                <a:gd name="connsiteX1" fmla="*/ 463296 w 4364736"/>
                <a:gd name="connsiteY1" fmla="*/ 2170176 h 2546529"/>
                <a:gd name="connsiteX2" fmla="*/ 835152 w 4364736"/>
                <a:gd name="connsiteY2" fmla="*/ 2005584 h 2546529"/>
                <a:gd name="connsiteX3" fmla="*/ 1176528 w 4364736"/>
                <a:gd name="connsiteY3" fmla="*/ 1969008 h 2546529"/>
                <a:gd name="connsiteX4" fmla="*/ 1493520 w 4364736"/>
                <a:gd name="connsiteY4" fmla="*/ 2133600 h 2546529"/>
                <a:gd name="connsiteX5" fmla="*/ 1999488 w 4364736"/>
                <a:gd name="connsiteY5" fmla="*/ 2340864 h 2546529"/>
                <a:gd name="connsiteX6" fmla="*/ 2651760 w 4364736"/>
                <a:gd name="connsiteY6" fmla="*/ 2499360 h 2546529"/>
                <a:gd name="connsiteX7" fmla="*/ 3243072 w 4364736"/>
                <a:gd name="connsiteY7" fmla="*/ 2499360 h 2546529"/>
                <a:gd name="connsiteX8" fmla="*/ 3505200 w 4364736"/>
                <a:gd name="connsiteY8" fmla="*/ 1950720 h 2546529"/>
                <a:gd name="connsiteX9" fmla="*/ 3596640 w 4364736"/>
                <a:gd name="connsiteY9" fmla="*/ 1481328 h 2546529"/>
                <a:gd name="connsiteX10" fmla="*/ 3700272 w 4364736"/>
                <a:gd name="connsiteY10" fmla="*/ 1139952 h 2546529"/>
                <a:gd name="connsiteX11" fmla="*/ 3919728 w 4364736"/>
                <a:gd name="connsiteY11" fmla="*/ 908304 h 2546529"/>
                <a:gd name="connsiteX12" fmla="*/ 4090416 w 4364736"/>
                <a:gd name="connsiteY12" fmla="*/ 329184 h 2546529"/>
                <a:gd name="connsiteX13" fmla="*/ 4364736 w 4364736"/>
                <a:gd name="connsiteY13" fmla="*/ 0 h 2546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64736" h="2546529">
                  <a:moveTo>
                    <a:pt x="0" y="2468880"/>
                  </a:moveTo>
                  <a:cubicBezTo>
                    <a:pt x="162052" y="2358136"/>
                    <a:pt x="324104" y="2247392"/>
                    <a:pt x="463296" y="2170176"/>
                  </a:cubicBezTo>
                  <a:cubicBezTo>
                    <a:pt x="602488" y="2092960"/>
                    <a:pt x="716280" y="2039112"/>
                    <a:pt x="835152" y="2005584"/>
                  </a:cubicBezTo>
                  <a:cubicBezTo>
                    <a:pt x="954024" y="1972056"/>
                    <a:pt x="1066800" y="1947672"/>
                    <a:pt x="1176528" y="1969008"/>
                  </a:cubicBezTo>
                  <a:cubicBezTo>
                    <a:pt x="1286256" y="1990344"/>
                    <a:pt x="1356360" y="2071624"/>
                    <a:pt x="1493520" y="2133600"/>
                  </a:cubicBezTo>
                  <a:cubicBezTo>
                    <a:pt x="1630680" y="2195576"/>
                    <a:pt x="1806448" y="2279904"/>
                    <a:pt x="1999488" y="2340864"/>
                  </a:cubicBezTo>
                  <a:cubicBezTo>
                    <a:pt x="2192528" y="2401824"/>
                    <a:pt x="2444496" y="2472944"/>
                    <a:pt x="2651760" y="2499360"/>
                  </a:cubicBezTo>
                  <a:cubicBezTo>
                    <a:pt x="2859024" y="2525776"/>
                    <a:pt x="3100832" y="2590800"/>
                    <a:pt x="3243072" y="2499360"/>
                  </a:cubicBezTo>
                  <a:cubicBezTo>
                    <a:pt x="3385312" y="2407920"/>
                    <a:pt x="3446272" y="2120392"/>
                    <a:pt x="3505200" y="1950720"/>
                  </a:cubicBezTo>
                  <a:cubicBezTo>
                    <a:pt x="3564128" y="1781048"/>
                    <a:pt x="3564128" y="1616456"/>
                    <a:pt x="3596640" y="1481328"/>
                  </a:cubicBezTo>
                  <a:cubicBezTo>
                    <a:pt x="3629152" y="1346200"/>
                    <a:pt x="3646424" y="1235456"/>
                    <a:pt x="3700272" y="1139952"/>
                  </a:cubicBezTo>
                  <a:cubicBezTo>
                    <a:pt x="3754120" y="1044448"/>
                    <a:pt x="3854704" y="1043432"/>
                    <a:pt x="3919728" y="908304"/>
                  </a:cubicBezTo>
                  <a:cubicBezTo>
                    <a:pt x="3984752" y="773176"/>
                    <a:pt x="4016248" y="480568"/>
                    <a:pt x="4090416" y="329184"/>
                  </a:cubicBezTo>
                  <a:cubicBezTo>
                    <a:pt x="4164584" y="177800"/>
                    <a:pt x="4264660" y="88900"/>
                    <a:pt x="4364736" y="0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8" name="Freihandform 787"/>
            <p:cNvSpPr/>
            <p:nvPr/>
          </p:nvSpPr>
          <p:spPr bwMode="auto">
            <a:xfrm>
              <a:off x="6900803" y="3022162"/>
              <a:ext cx="1641520" cy="865772"/>
            </a:xfrm>
            <a:custGeom>
              <a:avLst/>
              <a:gdLst>
                <a:gd name="connsiteX0" fmla="*/ 397711 w 1952191"/>
                <a:gd name="connsiteY0" fmla="*/ 0 h 2827260"/>
                <a:gd name="connsiteX1" fmla="*/ 239215 w 1952191"/>
                <a:gd name="connsiteY1" fmla="*/ 475488 h 2827260"/>
                <a:gd name="connsiteX2" fmla="*/ 111199 w 1952191"/>
                <a:gd name="connsiteY2" fmla="*/ 792480 h 2827260"/>
                <a:gd name="connsiteX3" fmla="*/ 74623 w 1952191"/>
                <a:gd name="connsiteY3" fmla="*/ 1182624 h 2827260"/>
                <a:gd name="connsiteX4" fmla="*/ 1471 w 1952191"/>
                <a:gd name="connsiteY4" fmla="*/ 1706880 h 2827260"/>
                <a:gd name="connsiteX5" fmla="*/ 147775 w 1952191"/>
                <a:gd name="connsiteY5" fmla="*/ 2011680 h 2827260"/>
                <a:gd name="connsiteX6" fmla="*/ 568399 w 1952191"/>
                <a:gd name="connsiteY6" fmla="*/ 2157984 h 2827260"/>
                <a:gd name="connsiteX7" fmla="*/ 915871 w 1952191"/>
                <a:gd name="connsiteY7" fmla="*/ 2206752 h 2827260"/>
                <a:gd name="connsiteX8" fmla="*/ 1641295 w 1952191"/>
                <a:gd name="connsiteY8" fmla="*/ 2737104 h 2827260"/>
                <a:gd name="connsiteX9" fmla="*/ 1952191 w 1952191"/>
                <a:gd name="connsiteY9" fmla="*/ 2822448 h 282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191" h="2827260">
                  <a:moveTo>
                    <a:pt x="397711" y="0"/>
                  </a:moveTo>
                  <a:cubicBezTo>
                    <a:pt x="342339" y="171704"/>
                    <a:pt x="286967" y="343408"/>
                    <a:pt x="239215" y="475488"/>
                  </a:cubicBezTo>
                  <a:cubicBezTo>
                    <a:pt x="191463" y="607568"/>
                    <a:pt x="138631" y="674624"/>
                    <a:pt x="111199" y="792480"/>
                  </a:cubicBezTo>
                  <a:cubicBezTo>
                    <a:pt x="83767" y="910336"/>
                    <a:pt x="92911" y="1030224"/>
                    <a:pt x="74623" y="1182624"/>
                  </a:cubicBezTo>
                  <a:cubicBezTo>
                    <a:pt x="56335" y="1335024"/>
                    <a:pt x="-10721" y="1568704"/>
                    <a:pt x="1471" y="1706880"/>
                  </a:cubicBezTo>
                  <a:cubicBezTo>
                    <a:pt x="13663" y="1845056"/>
                    <a:pt x="53287" y="1936496"/>
                    <a:pt x="147775" y="2011680"/>
                  </a:cubicBezTo>
                  <a:cubicBezTo>
                    <a:pt x="242263" y="2086864"/>
                    <a:pt x="440383" y="2125472"/>
                    <a:pt x="568399" y="2157984"/>
                  </a:cubicBezTo>
                  <a:cubicBezTo>
                    <a:pt x="696415" y="2190496"/>
                    <a:pt x="737055" y="2110232"/>
                    <a:pt x="915871" y="2206752"/>
                  </a:cubicBezTo>
                  <a:cubicBezTo>
                    <a:pt x="1094687" y="2303272"/>
                    <a:pt x="1468575" y="2634488"/>
                    <a:pt x="1641295" y="2737104"/>
                  </a:cubicBezTo>
                  <a:cubicBezTo>
                    <a:pt x="1814015" y="2839720"/>
                    <a:pt x="1883103" y="2831084"/>
                    <a:pt x="1952191" y="2822448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89" name="Freihandform 788"/>
            <p:cNvSpPr/>
            <p:nvPr/>
          </p:nvSpPr>
          <p:spPr bwMode="auto">
            <a:xfrm>
              <a:off x="6563728" y="4190865"/>
              <a:ext cx="943162" cy="865772"/>
            </a:xfrm>
            <a:custGeom>
              <a:avLst/>
              <a:gdLst>
                <a:gd name="connsiteX0" fmla="*/ 0 w 1121664"/>
                <a:gd name="connsiteY0" fmla="*/ 1554480 h 1554480"/>
                <a:gd name="connsiteX1" fmla="*/ 323088 w 1121664"/>
                <a:gd name="connsiteY1" fmla="*/ 1139952 h 1554480"/>
                <a:gd name="connsiteX2" fmla="*/ 774192 w 1121664"/>
                <a:gd name="connsiteY2" fmla="*/ 749808 h 1554480"/>
                <a:gd name="connsiteX3" fmla="*/ 890016 w 1121664"/>
                <a:gd name="connsiteY3" fmla="*/ 530352 h 1554480"/>
                <a:gd name="connsiteX4" fmla="*/ 1121664 w 1121664"/>
                <a:gd name="connsiteY4" fmla="*/ 0 h 155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1664" h="1554480">
                  <a:moveTo>
                    <a:pt x="0" y="1554480"/>
                  </a:moveTo>
                  <a:cubicBezTo>
                    <a:pt x="97028" y="1414272"/>
                    <a:pt x="194056" y="1274064"/>
                    <a:pt x="323088" y="1139952"/>
                  </a:cubicBezTo>
                  <a:cubicBezTo>
                    <a:pt x="452120" y="1005840"/>
                    <a:pt x="679704" y="851408"/>
                    <a:pt x="774192" y="749808"/>
                  </a:cubicBezTo>
                  <a:cubicBezTo>
                    <a:pt x="868680" y="648208"/>
                    <a:pt x="832104" y="655320"/>
                    <a:pt x="890016" y="530352"/>
                  </a:cubicBezTo>
                  <a:cubicBezTo>
                    <a:pt x="947928" y="405384"/>
                    <a:pt x="1034796" y="202692"/>
                    <a:pt x="1121664" y="0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0" name="Freihandform 789"/>
            <p:cNvSpPr/>
            <p:nvPr/>
          </p:nvSpPr>
          <p:spPr bwMode="auto">
            <a:xfrm>
              <a:off x="7230092" y="4826472"/>
              <a:ext cx="384441" cy="865772"/>
            </a:xfrm>
            <a:custGeom>
              <a:avLst/>
              <a:gdLst>
                <a:gd name="connsiteX0" fmla="*/ 457200 w 457200"/>
                <a:gd name="connsiteY0" fmla="*/ 798576 h 798576"/>
                <a:gd name="connsiteX1" fmla="*/ 188976 w 457200"/>
                <a:gd name="connsiteY1" fmla="*/ 414528 h 798576"/>
                <a:gd name="connsiteX2" fmla="*/ 0 w 457200"/>
                <a:gd name="connsiteY2" fmla="*/ 0 h 798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7200" h="798576">
                  <a:moveTo>
                    <a:pt x="457200" y="798576"/>
                  </a:moveTo>
                  <a:cubicBezTo>
                    <a:pt x="361188" y="673100"/>
                    <a:pt x="265176" y="547624"/>
                    <a:pt x="188976" y="414528"/>
                  </a:cubicBezTo>
                  <a:cubicBezTo>
                    <a:pt x="112776" y="281432"/>
                    <a:pt x="56388" y="140716"/>
                    <a:pt x="0" y="0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1" name="Freihandform 790"/>
            <p:cNvSpPr/>
            <p:nvPr/>
          </p:nvSpPr>
          <p:spPr bwMode="auto">
            <a:xfrm>
              <a:off x="5856355" y="1848333"/>
              <a:ext cx="2096487" cy="865772"/>
            </a:xfrm>
            <a:custGeom>
              <a:avLst/>
              <a:gdLst>
                <a:gd name="connsiteX0" fmla="*/ 0 w 2493264"/>
                <a:gd name="connsiteY0" fmla="*/ 0 h 1395984"/>
                <a:gd name="connsiteX1" fmla="*/ 859536 w 2493264"/>
                <a:gd name="connsiteY1" fmla="*/ 402336 h 1395984"/>
                <a:gd name="connsiteX2" fmla="*/ 1146048 w 2493264"/>
                <a:gd name="connsiteY2" fmla="*/ 542544 h 1395984"/>
                <a:gd name="connsiteX3" fmla="*/ 2133600 w 2493264"/>
                <a:gd name="connsiteY3" fmla="*/ 841248 h 1395984"/>
                <a:gd name="connsiteX4" fmla="*/ 2493264 w 2493264"/>
                <a:gd name="connsiteY4" fmla="*/ 1395984 h 1395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3264" h="1395984">
                  <a:moveTo>
                    <a:pt x="0" y="0"/>
                  </a:moveTo>
                  <a:lnTo>
                    <a:pt x="859536" y="402336"/>
                  </a:lnTo>
                  <a:cubicBezTo>
                    <a:pt x="1050544" y="492760"/>
                    <a:pt x="933704" y="469392"/>
                    <a:pt x="1146048" y="542544"/>
                  </a:cubicBezTo>
                  <a:cubicBezTo>
                    <a:pt x="1358392" y="615696"/>
                    <a:pt x="1909064" y="699008"/>
                    <a:pt x="2133600" y="841248"/>
                  </a:cubicBezTo>
                  <a:cubicBezTo>
                    <a:pt x="2358136" y="983488"/>
                    <a:pt x="2425700" y="1189736"/>
                    <a:pt x="2493264" y="1395984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2" name="Freihandform 791"/>
            <p:cNvSpPr/>
            <p:nvPr/>
          </p:nvSpPr>
          <p:spPr bwMode="auto">
            <a:xfrm>
              <a:off x="4995208" y="4334387"/>
              <a:ext cx="907282" cy="865772"/>
            </a:xfrm>
            <a:custGeom>
              <a:avLst/>
              <a:gdLst>
                <a:gd name="connsiteX0" fmla="*/ 0 w 1078992"/>
                <a:gd name="connsiteY0" fmla="*/ 1066800 h 1066800"/>
                <a:gd name="connsiteX1" fmla="*/ 268224 w 1078992"/>
                <a:gd name="connsiteY1" fmla="*/ 640080 h 1066800"/>
                <a:gd name="connsiteX2" fmla="*/ 286512 w 1078992"/>
                <a:gd name="connsiteY2" fmla="*/ 402336 h 1066800"/>
                <a:gd name="connsiteX3" fmla="*/ 1078992 w 1078992"/>
                <a:gd name="connsiteY3" fmla="*/ 0 h 106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8992" h="1066800">
                  <a:moveTo>
                    <a:pt x="0" y="1066800"/>
                  </a:moveTo>
                  <a:cubicBezTo>
                    <a:pt x="110236" y="908812"/>
                    <a:pt x="220472" y="750824"/>
                    <a:pt x="268224" y="640080"/>
                  </a:cubicBezTo>
                  <a:cubicBezTo>
                    <a:pt x="315976" y="529336"/>
                    <a:pt x="151384" y="509016"/>
                    <a:pt x="286512" y="402336"/>
                  </a:cubicBezTo>
                  <a:cubicBezTo>
                    <a:pt x="421640" y="295656"/>
                    <a:pt x="750316" y="147828"/>
                    <a:pt x="1078992" y="0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3" name="Freihandform 792"/>
            <p:cNvSpPr/>
            <p:nvPr/>
          </p:nvSpPr>
          <p:spPr bwMode="auto">
            <a:xfrm>
              <a:off x="1801778" y="1843208"/>
              <a:ext cx="1835066" cy="865772"/>
            </a:xfrm>
            <a:custGeom>
              <a:avLst/>
              <a:gdLst>
                <a:gd name="connsiteX0" fmla="*/ 0 w 2182368"/>
                <a:gd name="connsiteY0" fmla="*/ 365760 h 365760"/>
                <a:gd name="connsiteX1" fmla="*/ 1341120 w 2182368"/>
                <a:gd name="connsiteY1" fmla="*/ 176784 h 365760"/>
                <a:gd name="connsiteX2" fmla="*/ 2182368 w 2182368"/>
                <a:gd name="connsiteY2" fmla="*/ 0 h 36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82368" h="365760">
                  <a:moveTo>
                    <a:pt x="0" y="365760"/>
                  </a:moveTo>
                  <a:lnTo>
                    <a:pt x="1341120" y="176784"/>
                  </a:lnTo>
                  <a:cubicBezTo>
                    <a:pt x="1704848" y="115824"/>
                    <a:pt x="1943608" y="57912"/>
                    <a:pt x="2182368" y="0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4" name="Freihandform 793"/>
            <p:cNvSpPr/>
            <p:nvPr/>
          </p:nvSpPr>
          <p:spPr bwMode="auto">
            <a:xfrm>
              <a:off x="2867970" y="1848333"/>
              <a:ext cx="599730" cy="865772"/>
            </a:xfrm>
            <a:custGeom>
              <a:avLst/>
              <a:gdLst>
                <a:gd name="connsiteX0" fmla="*/ 0 w 713232"/>
                <a:gd name="connsiteY0" fmla="*/ 0 h 4334256"/>
                <a:gd name="connsiteX1" fmla="*/ 91440 w 713232"/>
                <a:gd name="connsiteY1" fmla="*/ 249936 h 4334256"/>
                <a:gd name="connsiteX2" fmla="*/ 140208 w 713232"/>
                <a:gd name="connsiteY2" fmla="*/ 646176 h 4334256"/>
                <a:gd name="connsiteX3" fmla="*/ 341376 w 713232"/>
                <a:gd name="connsiteY3" fmla="*/ 1091184 h 4334256"/>
                <a:gd name="connsiteX4" fmla="*/ 353568 w 713232"/>
                <a:gd name="connsiteY4" fmla="*/ 1566672 h 4334256"/>
                <a:gd name="connsiteX5" fmla="*/ 518160 w 713232"/>
                <a:gd name="connsiteY5" fmla="*/ 1731264 h 4334256"/>
                <a:gd name="connsiteX6" fmla="*/ 481584 w 713232"/>
                <a:gd name="connsiteY6" fmla="*/ 2261616 h 4334256"/>
                <a:gd name="connsiteX7" fmla="*/ 640080 w 713232"/>
                <a:gd name="connsiteY7" fmla="*/ 2791968 h 4334256"/>
                <a:gd name="connsiteX8" fmla="*/ 658368 w 713232"/>
                <a:gd name="connsiteY8" fmla="*/ 3742944 h 4334256"/>
                <a:gd name="connsiteX9" fmla="*/ 713232 w 713232"/>
                <a:gd name="connsiteY9" fmla="*/ 4334256 h 433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3232" h="4334256">
                  <a:moveTo>
                    <a:pt x="0" y="0"/>
                  </a:moveTo>
                  <a:cubicBezTo>
                    <a:pt x="34036" y="71120"/>
                    <a:pt x="68072" y="142240"/>
                    <a:pt x="91440" y="249936"/>
                  </a:cubicBezTo>
                  <a:cubicBezTo>
                    <a:pt x="114808" y="357632"/>
                    <a:pt x="98552" y="505968"/>
                    <a:pt x="140208" y="646176"/>
                  </a:cubicBezTo>
                  <a:cubicBezTo>
                    <a:pt x="181864" y="786384"/>
                    <a:pt x="305816" y="937768"/>
                    <a:pt x="341376" y="1091184"/>
                  </a:cubicBezTo>
                  <a:cubicBezTo>
                    <a:pt x="376936" y="1244600"/>
                    <a:pt x="324104" y="1459992"/>
                    <a:pt x="353568" y="1566672"/>
                  </a:cubicBezTo>
                  <a:cubicBezTo>
                    <a:pt x="383032" y="1673352"/>
                    <a:pt x="496824" y="1615440"/>
                    <a:pt x="518160" y="1731264"/>
                  </a:cubicBezTo>
                  <a:cubicBezTo>
                    <a:pt x="539496" y="1847088"/>
                    <a:pt x="461264" y="2084832"/>
                    <a:pt x="481584" y="2261616"/>
                  </a:cubicBezTo>
                  <a:cubicBezTo>
                    <a:pt x="501904" y="2438400"/>
                    <a:pt x="610616" y="2545080"/>
                    <a:pt x="640080" y="2791968"/>
                  </a:cubicBezTo>
                  <a:cubicBezTo>
                    <a:pt x="669544" y="3038856"/>
                    <a:pt x="646176" y="3485896"/>
                    <a:pt x="658368" y="3742944"/>
                  </a:cubicBezTo>
                  <a:cubicBezTo>
                    <a:pt x="670560" y="3999992"/>
                    <a:pt x="691896" y="4167124"/>
                    <a:pt x="713232" y="4334256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5" name="Freihandform 794"/>
            <p:cNvSpPr/>
            <p:nvPr/>
          </p:nvSpPr>
          <p:spPr bwMode="auto">
            <a:xfrm>
              <a:off x="1755647" y="1843208"/>
              <a:ext cx="2045230" cy="865772"/>
            </a:xfrm>
            <a:custGeom>
              <a:avLst/>
              <a:gdLst>
                <a:gd name="connsiteX0" fmla="*/ 0 w 2432304"/>
                <a:gd name="connsiteY0" fmla="*/ 2048256 h 2048256"/>
                <a:gd name="connsiteX1" fmla="*/ 713232 w 2432304"/>
                <a:gd name="connsiteY1" fmla="*/ 1688592 h 2048256"/>
                <a:gd name="connsiteX2" fmla="*/ 847344 w 2432304"/>
                <a:gd name="connsiteY2" fmla="*/ 1542288 h 2048256"/>
                <a:gd name="connsiteX3" fmla="*/ 963168 w 2432304"/>
                <a:gd name="connsiteY3" fmla="*/ 1298448 h 2048256"/>
                <a:gd name="connsiteX4" fmla="*/ 1481328 w 2432304"/>
                <a:gd name="connsiteY4" fmla="*/ 981456 h 2048256"/>
                <a:gd name="connsiteX5" fmla="*/ 1810512 w 2432304"/>
                <a:gd name="connsiteY5" fmla="*/ 536448 h 2048256"/>
                <a:gd name="connsiteX6" fmla="*/ 1901952 w 2432304"/>
                <a:gd name="connsiteY6" fmla="*/ 329184 h 2048256"/>
                <a:gd name="connsiteX7" fmla="*/ 2164080 w 2432304"/>
                <a:gd name="connsiteY7" fmla="*/ 243840 h 2048256"/>
                <a:gd name="connsiteX8" fmla="*/ 2249424 w 2432304"/>
                <a:gd name="connsiteY8" fmla="*/ 188976 h 2048256"/>
                <a:gd name="connsiteX9" fmla="*/ 2432304 w 2432304"/>
                <a:gd name="connsiteY9" fmla="*/ 0 h 2048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2304" h="2048256">
                  <a:moveTo>
                    <a:pt x="0" y="2048256"/>
                  </a:moveTo>
                  <a:cubicBezTo>
                    <a:pt x="286004" y="1910588"/>
                    <a:pt x="572008" y="1772920"/>
                    <a:pt x="713232" y="1688592"/>
                  </a:cubicBezTo>
                  <a:cubicBezTo>
                    <a:pt x="854456" y="1604264"/>
                    <a:pt x="805688" y="1607312"/>
                    <a:pt x="847344" y="1542288"/>
                  </a:cubicBezTo>
                  <a:cubicBezTo>
                    <a:pt x="889000" y="1477264"/>
                    <a:pt x="857504" y="1391920"/>
                    <a:pt x="963168" y="1298448"/>
                  </a:cubicBezTo>
                  <a:cubicBezTo>
                    <a:pt x="1068832" y="1204976"/>
                    <a:pt x="1340104" y="1108456"/>
                    <a:pt x="1481328" y="981456"/>
                  </a:cubicBezTo>
                  <a:cubicBezTo>
                    <a:pt x="1622552" y="854456"/>
                    <a:pt x="1740408" y="645160"/>
                    <a:pt x="1810512" y="536448"/>
                  </a:cubicBezTo>
                  <a:cubicBezTo>
                    <a:pt x="1880616" y="427736"/>
                    <a:pt x="1843024" y="377952"/>
                    <a:pt x="1901952" y="329184"/>
                  </a:cubicBezTo>
                  <a:cubicBezTo>
                    <a:pt x="1960880" y="280416"/>
                    <a:pt x="2106168" y="267208"/>
                    <a:pt x="2164080" y="243840"/>
                  </a:cubicBezTo>
                  <a:cubicBezTo>
                    <a:pt x="2221992" y="220472"/>
                    <a:pt x="2204720" y="229616"/>
                    <a:pt x="2249424" y="188976"/>
                  </a:cubicBezTo>
                  <a:cubicBezTo>
                    <a:pt x="2294128" y="148336"/>
                    <a:pt x="2363216" y="74168"/>
                    <a:pt x="2432304" y="0"/>
                  </a:cubicBezTo>
                </a:path>
              </a:pathLst>
            </a:custGeom>
            <a:noFill/>
            <a:ln w="19050">
              <a:solidFill>
                <a:srgbClr val="FFC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6" name="Freihandform 795"/>
            <p:cNvSpPr/>
            <p:nvPr/>
          </p:nvSpPr>
          <p:spPr bwMode="auto">
            <a:xfrm>
              <a:off x="1771027" y="2688979"/>
              <a:ext cx="1486506" cy="865772"/>
            </a:xfrm>
            <a:custGeom>
              <a:avLst/>
              <a:gdLst>
                <a:gd name="connsiteX0" fmla="*/ 0 w 1767840"/>
                <a:gd name="connsiteY0" fmla="*/ 0 h 1155453"/>
                <a:gd name="connsiteX1" fmla="*/ 329184 w 1767840"/>
                <a:gd name="connsiteY1" fmla="*/ 566928 h 1155453"/>
                <a:gd name="connsiteX2" fmla="*/ 896112 w 1767840"/>
                <a:gd name="connsiteY2" fmla="*/ 566928 h 1155453"/>
                <a:gd name="connsiteX3" fmla="*/ 963168 w 1767840"/>
                <a:gd name="connsiteY3" fmla="*/ 560832 h 1155453"/>
                <a:gd name="connsiteX4" fmla="*/ 1267968 w 1767840"/>
                <a:gd name="connsiteY4" fmla="*/ 1066800 h 1155453"/>
                <a:gd name="connsiteX5" fmla="*/ 1767840 w 1767840"/>
                <a:gd name="connsiteY5" fmla="*/ 1152144 h 1155453"/>
                <a:gd name="connsiteX0" fmla="*/ 0 w 1767840"/>
                <a:gd name="connsiteY0" fmla="*/ 0 h 1155453"/>
                <a:gd name="connsiteX1" fmla="*/ 329184 w 1767840"/>
                <a:gd name="connsiteY1" fmla="*/ 566928 h 1155453"/>
                <a:gd name="connsiteX2" fmla="*/ 896112 w 1767840"/>
                <a:gd name="connsiteY2" fmla="*/ 566928 h 1155453"/>
                <a:gd name="connsiteX3" fmla="*/ 1267968 w 1767840"/>
                <a:gd name="connsiteY3" fmla="*/ 1066800 h 1155453"/>
                <a:gd name="connsiteX4" fmla="*/ 1767840 w 1767840"/>
                <a:gd name="connsiteY4" fmla="*/ 1152144 h 115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7840" h="1155453">
                  <a:moveTo>
                    <a:pt x="0" y="0"/>
                  </a:moveTo>
                  <a:cubicBezTo>
                    <a:pt x="89916" y="236220"/>
                    <a:pt x="179832" y="472440"/>
                    <a:pt x="329184" y="566928"/>
                  </a:cubicBezTo>
                  <a:cubicBezTo>
                    <a:pt x="478536" y="661416"/>
                    <a:pt x="739648" y="483616"/>
                    <a:pt x="896112" y="566928"/>
                  </a:cubicBezTo>
                  <a:cubicBezTo>
                    <a:pt x="1052576" y="650240"/>
                    <a:pt x="1122680" y="969264"/>
                    <a:pt x="1267968" y="1066800"/>
                  </a:cubicBezTo>
                  <a:cubicBezTo>
                    <a:pt x="1402080" y="1165352"/>
                    <a:pt x="1584960" y="1158748"/>
                    <a:pt x="1767840" y="1152144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7" name="Freihandform 796"/>
            <p:cNvSpPr/>
            <p:nvPr/>
          </p:nvSpPr>
          <p:spPr bwMode="auto">
            <a:xfrm>
              <a:off x="1781276" y="3601388"/>
              <a:ext cx="1055930" cy="865772"/>
            </a:xfrm>
            <a:custGeom>
              <a:avLst/>
              <a:gdLst>
                <a:gd name="connsiteX0" fmla="*/ 0 w 1255776"/>
                <a:gd name="connsiteY0" fmla="*/ 48768 h 603173"/>
                <a:gd name="connsiteX1" fmla="*/ 280416 w 1255776"/>
                <a:gd name="connsiteY1" fmla="*/ 505968 h 603173"/>
                <a:gd name="connsiteX2" fmla="*/ 310896 w 1255776"/>
                <a:gd name="connsiteY2" fmla="*/ 560832 h 603173"/>
                <a:gd name="connsiteX3" fmla="*/ 1255776 w 1255776"/>
                <a:gd name="connsiteY3" fmla="*/ 0 h 603173"/>
                <a:gd name="connsiteX0" fmla="*/ 0 w 1255776"/>
                <a:gd name="connsiteY0" fmla="*/ 48768 h 545109"/>
                <a:gd name="connsiteX1" fmla="*/ 280416 w 1255776"/>
                <a:gd name="connsiteY1" fmla="*/ 505968 h 545109"/>
                <a:gd name="connsiteX2" fmla="*/ 505968 w 1255776"/>
                <a:gd name="connsiteY2" fmla="*/ 463296 h 545109"/>
                <a:gd name="connsiteX3" fmla="*/ 1255776 w 1255776"/>
                <a:gd name="connsiteY3" fmla="*/ 0 h 54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5776" h="545109">
                  <a:moveTo>
                    <a:pt x="0" y="48768"/>
                  </a:moveTo>
                  <a:cubicBezTo>
                    <a:pt x="93472" y="201168"/>
                    <a:pt x="196088" y="436880"/>
                    <a:pt x="280416" y="505968"/>
                  </a:cubicBezTo>
                  <a:cubicBezTo>
                    <a:pt x="364744" y="575056"/>
                    <a:pt x="343408" y="547624"/>
                    <a:pt x="505968" y="463296"/>
                  </a:cubicBezTo>
                  <a:cubicBezTo>
                    <a:pt x="668528" y="378968"/>
                    <a:pt x="864616" y="238252"/>
                    <a:pt x="1255776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8" name="Freihandform 797"/>
            <p:cNvSpPr/>
            <p:nvPr/>
          </p:nvSpPr>
          <p:spPr bwMode="auto">
            <a:xfrm>
              <a:off x="1776153" y="4677822"/>
              <a:ext cx="148649" cy="865772"/>
            </a:xfrm>
            <a:custGeom>
              <a:avLst/>
              <a:gdLst>
                <a:gd name="connsiteX0" fmla="*/ 0 w 176784"/>
                <a:gd name="connsiteY0" fmla="*/ 0 h 347472"/>
                <a:gd name="connsiteX1" fmla="*/ 176784 w 176784"/>
                <a:gd name="connsiteY1" fmla="*/ 347472 h 34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784" h="347472">
                  <a:moveTo>
                    <a:pt x="0" y="0"/>
                  </a:moveTo>
                  <a:lnTo>
                    <a:pt x="176784" y="347472"/>
                  </a:ln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99" name="Freihandform 798"/>
            <p:cNvSpPr/>
            <p:nvPr/>
          </p:nvSpPr>
          <p:spPr bwMode="auto">
            <a:xfrm>
              <a:off x="2427140" y="3242576"/>
              <a:ext cx="646773" cy="865772"/>
            </a:xfrm>
            <a:custGeom>
              <a:avLst/>
              <a:gdLst>
                <a:gd name="connsiteX0" fmla="*/ 0 w 769182"/>
                <a:gd name="connsiteY0" fmla="*/ 0 h 1847088"/>
                <a:gd name="connsiteX1" fmla="*/ 402336 w 769182"/>
                <a:gd name="connsiteY1" fmla="*/ 682752 h 1847088"/>
                <a:gd name="connsiteX2" fmla="*/ 701040 w 769182"/>
                <a:gd name="connsiteY2" fmla="*/ 987552 h 1847088"/>
                <a:gd name="connsiteX3" fmla="*/ 768096 w 769182"/>
                <a:gd name="connsiteY3" fmla="*/ 1359408 h 1847088"/>
                <a:gd name="connsiteX4" fmla="*/ 670560 w 769182"/>
                <a:gd name="connsiteY4" fmla="*/ 1554480 h 1847088"/>
                <a:gd name="connsiteX5" fmla="*/ 664464 w 769182"/>
                <a:gd name="connsiteY5" fmla="*/ 1847088 h 184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9182" h="1847088">
                  <a:moveTo>
                    <a:pt x="0" y="0"/>
                  </a:moveTo>
                  <a:cubicBezTo>
                    <a:pt x="142748" y="259080"/>
                    <a:pt x="285496" y="518160"/>
                    <a:pt x="402336" y="682752"/>
                  </a:cubicBezTo>
                  <a:cubicBezTo>
                    <a:pt x="519176" y="847344"/>
                    <a:pt x="640080" y="874776"/>
                    <a:pt x="701040" y="987552"/>
                  </a:cubicBezTo>
                  <a:cubicBezTo>
                    <a:pt x="762000" y="1100328"/>
                    <a:pt x="773176" y="1264920"/>
                    <a:pt x="768096" y="1359408"/>
                  </a:cubicBezTo>
                  <a:cubicBezTo>
                    <a:pt x="763016" y="1453896"/>
                    <a:pt x="687832" y="1473200"/>
                    <a:pt x="670560" y="1554480"/>
                  </a:cubicBezTo>
                  <a:cubicBezTo>
                    <a:pt x="653288" y="1635760"/>
                    <a:pt x="658876" y="1741424"/>
                    <a:pt x="664464" y="1847088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0" name="Freihandform 799"/>
            <p:cNvSpPr/>
            <p:nvPr/>
          </p:nvSpPr>
          <p:spPr bwMode="auto">
            <a:xfrm>
              <a:off x="1781276" y="5072515"/>
              <a:ext cx="527967" cy="865772"/>
            </a:xfrm>
            <a:custGeom>
              <a:avLst/>
              <a:gdLst>
                <a:gd name="connsiteX0" fmla="*/ 0 w 627888"/>
                <a:gd name="connsiteY0" fmla="*/ 0 h 524256"/>
                <a:gd name="connsiteX1" fmla="*/ 512064 w 627888"/>
                <a:gd name="connsiteY1" fmla="*/ 304800 h 524256"/>
                <a:gd name="connsiteX2" fmla="*/ 627888 w 627888"/>
                <a:gd name="connsiteY2" fmla="*/ 524256 h 52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7888" h="524256">
                  <a:moveTo>
                    <a:pt x="0" y="0"/>
                  </a:moveTo>
                  <a:cubicBezTo>
                    <a:pt x="203708" y="108712"/>
                    <a:pt x="407416" y="217424"/>
                    <a:pt x="512064" y="304800"/>
                  </a:cubicBezTo>
                  <a:cubicBezTo>
                    <a:pt x="616712" y="392176"/>
                    <a:pt x="622300" y="458216"/>
                    <a:pt x="627888" y="524256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1" name="Freihandform 800"/>
            <p:cNvSpPr/>
            <p:nvPr/>
          </p:nvSpPr>
          <p:spPr bwMode="auto">
            <a:xfrm>
              <a:off x="2319497" y="4978711"/>
              <a:ext cx="1091814" cy="865772"/>
            </a:xfrm>
            <a:custGeom>
              <a:avLst/>
              <a:gdLst>
                <a:gd name="connsiteX0" fmla="*/ 0 w 1298448"/>
                <a:gd name="connsiteY0" fmla="*/ 593145 h 593145"/>
                <a:gd name="connsiteX1" fmla="*/ 1024128 w 1298448"/>
                <a:gd name="connsiteY1" fmla="*/ 74985 h 593145"/>
                <a:gd name="connsiteX2" fmla="*/ 1298448 w 1298448"/>
                <a:gd name="connsiteY2" fmla="*/ 14025 h 593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98448" h="593145">
                  <a:moveTo>
                    <a:pt x="0" y="593145"/>
                  </a:moveTo>
                  <a:cubicBezTo>
                    <a:pt x="403860" y="382325"/>
                    <a:pt x="807720" y="171505"/>
                    <a:pt x="1024128" y="74985"/>
                  </a:cubicBezTo>
                  <a:cubicBezTo>
                    <a:pt x="1240536" y="-21535"/>
                    <a:pt x="1269492" y="-3755"/>
                    <a:pt x="1298448" y="14025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2" name="Freihandform 801"/>
            <p:cNvSpPr/>
            <p:nvPr/>
          </p:nvSpPr>
          <p:spPr bwMode="auto">
            <a:xfrm>
              <a:off x="3229340" y="4795717"/>
              <a:ext cx="38444" cy="865772"/>
            </a:xfrm>
            <a:custGeom>
              <a:avLst/>
              <a:gdLst>
                <a:gd name="connsiteX0" fmla="*/ 0 w 30480"/>
                <a:gd name="connsiteY0" fmla="*/ 0 h 213360"/>
                <a:gd name="connsiteX1" fmla="*/ 30480 w 30480"/>
                <a:gd name="connsiteY1" fmla="*/ 213360 h 21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80" h="213360">
                  <a:moveTo>
                    <a:pt x="0" y="0"/>
                  </a:moveTo>
                  <a:lnTo>
                    <a:pt x="30480" y="213360"/>
                  </a:ln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3" name="Freihandform 802"/>
            <p:cNvSpPr/>
            <p:nvPr/>
          </p:nvSpPr>
          <p:spPr bwMode="auto">
            <a:xfrm>
              <a:off x="5965663" y="2371174"/>
              <a:ext cx="2294731" cy="865772"/>
            </a:xfrm>
            <a:custGeom>
              <a:avLst/>
              <a:gdLst>
                <a:gd name="connsiteX0" fmla="*/ 10211 w 2729027"/>
                <a:gd name="connsiteY0" fmla="*/ 536448 h 562339"/>
                <a:gd name="connsiteX1" fmla="*/ 58979 w 2729027"/>
                <a:gd name="connsiteY1" fmla="*/ 518160 h 562339"/>
                <a:gd name="connsiteX2" fmla="*/ 461315 w 2729027"/>
                <a:gd name="connsiteY2" fmla="*/ 475488 h 562339"/>
                <a:gd name="connsiteX3" fmla="*/ 961187 w 2729027"/>
                <a:gd name="connsiteY3" fmla="*/ 548640 h 562339"/>
                <a:gd name="connsiteX4" fmla="*/ 2198675 w 2729027"/>
                <a:gd name="connsiteY4" fmla="*/ 152400 h 562339"/>
                <a:gd name="connsiteX5" fmla="*/ 2729027 w 2729027"/>
                <a:gd name="connsiteY5" fmla="*/ 0 h 56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9027" h="562339">
                  <a:moveTo>
                    <a:pt x="10211" y="536448"/>
                  </a:moveTo>
                  <a:cubicBezTo>
                    <a:pt x="-2997" y="532384"/>
                    <a:pt x="-16205" y="528320"/>
                    <a:pt x="58979" y="518160"/>
                  </a:cubicBezTo>
                  <a:cubicBezTo>
                    <a:pt x="134163" y="508000"/>
                    <a:pt x="310947" y="470408"/>
                    <a:pt x="461315" y="475488"/>
                  </a:cubicBezTo>
                  <a:cubicBezTo>
                    <a:pt x="611683" y="480568"/>
                    <a:pt x="671627" y="602488"/>
                    <a:pt x="961187" y="548640"/>
                  </a:cubicBezTo>
                  <a:cubicBezTo>
                    <a:pt x="1250747" y="494792"/>
                    <a:pt x="1904035" y="243840"/>
                    <a:pt x="2198675" y="152400"/>
                  </a:cubicBezTo>
                  <a:cubicBezTo>
                    <a:pt x="2493315" y="60960"/>
                    <a:pt x="2611171" y="30480"/>
                    <a:pt x="2729027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4" name="Freihandform 803"/>
            <p:cNvSpPr/>
            <p:nvPr/>
          </p:nvSpPr>
          <p:spPr bwMode="auto">
            <a:xfrm>
              <a:off x="5318227" y="1843208"/>
              <a:ext cx="202976" cy="865772"/>
            </a:xfrm>
            <a:custGeom>
              <a:avLst/>
              <a:gdLst>
                <a:gd name="connsiteX0" fmla="*/ 225447 w 241393"/>
                <a:gd name="connsiteY0" fmla="*/ 0 h 682752"/>
                <a:gd name="connsiteX1" fmla="*/ 219351 w 241393"/>
                <a:gd name="connsiteY1" fmla="*/ 182880 h 682752"/>
                <a:gd name="connsiteX2" fmla="*/ 12087 w 241393"/>
                <a:gd name="connsiteY2" fmla="*/ 402336 h 682752"/>
                <a:gd name="connsiteX3" fmla="*/ 42567 w 241393"/>
                <a:gd name="connsiteY3" fmla="*/ 682752 h 682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393" h="682752">
                  <a:moveTo>
                    <a:pt x="225447" y="0"/>
                  </a:moveTo>
                  <a:cubicBezTo>
                    <a:pt x="240179" y="57912"/>
                    <a:pt x="254911" y="115824"/>
                    <a:pt x="219351" y="182880"/>
                  </a:cubicBezTo>
                  <a:cubicBezTo>
                    <a:pt x="183791" y="249936"/>
                    <a:pt x="41551" y="319024"/>
                    <a:pt x="12087" y="402336"/>
                  </a:cubicBezTo>
                  <a:cubicBezTo>
                    <a:pt x="-17377" y="485648"/>
                    <a:pt x="12595" y="584200"/>
                    <a:pt x="42567" y="682752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5" name="Freihandform 804"/>
            <p:cNvSpPr/>
            <p:nvPr/>
          </p:nvSpPr>
          <p:spPr bwMode="auto">
            <a:xfrm>
              <a:off x="6748260" y="1822704"/>
              <a:ext cx="56386" cy="865772"/>
            </a:xfrm>
            <a:custGeom>
              <a:avLst/>
              <a:gdLst>
                <a:gd name="connsiteX0" fmla="*/ 0 w 67056"/>
                <a:gd name="connsiteY0" fmla="*/ 518160 h 519574"/>
                <a:gd name="connsiteX1" fmla="*/ 24384 w 67056"/>
                <a:gd name="connsiteY1" fmla="*/ 438912 h 519574"/>
                <a:gd name="connsiteX2" fmla="*/ 67056 w 67056"/>
                <a:gd name="connsiteY2" fmla="*/ 0 h 519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056" h="519574">
                  <a:moveTo>
                    <a:pt x="0" y="518160"/>
                  </a:moveTo>
                  <a:cubicBezTo>
                    <a:pt x="6604" y="521716"/>
                    <a:pt x="13208" y="525272"/>
                    <a:pt x="24384" y="438912"/>
                  </a:cubicBezTo>
                  <a:cubicBezTo>
                    <a:pt x="35560" y="352552"/>
                    <a:pt x="51308" y="176276"/>
                    <a:pt x="67056" y="0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6" name="Freihandform 805"/>
            <p:cNvSpPr/>
            <p:nvPr/>
          </p:nvSpPr>
          <p:spPr bwMode="auto">
            <a:xfrm>
              <a:off x="7768313" y="1848333"/>
              <a:ext cx="779133" cy="865772"/>
            </a:xfrm>
            <a:custGeom>
              <a:avLst/>
              <a:gdLst>
                <a:gd name="connsiteX0" fmla="*/ 0 w 926592"/>
                <a:gd name="connsiteY0" fmla="*/ 0 h 225552"/>
                <a:gd name="connsiteX1" fmla="*/ 719328 w 926592"/>
                <a:gd name="connsiteY1" fmla="*/ 182880 h 225552"/>
                <a:gd name="connsiteX2" fmla="*/ 926592 w 926592"/>
                <a:gd name="connsiteY2" fmla="*/ 225552 h 22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6592" h="225552">
                  <a:moveTo>
                    <a:pt x="0" y="0"/>
                  </a:moveTo>
                  <a:lnTo>
                    <a:pt x="719328" y="182880"/>
                  </a:lnTo>
                  <a:cubicBezTo>
                    <a:pt x="873760" y="220472"/>
                    <a:pt x="900176" y="223012"/>
                    <a:pt x="926592" y="225552"/>
                  </a:cubicBezTo>
                </a:path>
              </a:pathLst>
            </a:custGeom>
            <a:noFill/>
            <a:ln w="19050">
              <a:solidFill>
                <a:srgbClr val="92D05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171"/>
              <a:endParaRPr lang="en-US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</p:grpSp>
      <p:sp>
        <p:nvSpPr>
          <p:cNvPr id="901" name="Rechteck 900"/>
          <p:cNvSpPr/>
          <p:nvPr/>
        </p:nvSpPr>
        <p:spPr bwMode="auto">
          <a:xfrm>
            <a:off x="4010942" y="1665330"/>
            <a:ext cx="2545200" cy="1721165"/>
          </a:xfrm>
          <a:prstGeom prst="rect">
            <a:avLst/>
          </a:prstGeom>
          <a:noFill/>
          <a:ln w="12700">
            <a:solidFill>
              <a:schemeClr val="accent2"/>
            </a:solidFill>
          </a:ln>
          <a:effectLst/>
          <a:ex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de-DE" sz="12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mulation</a:t>
            </a:r>
          </a:p>
        </p:txBody>
      </p:sp>
      <p:sp>
        <p:nvSpPr>
          <p:cNvPr id="977" name="Pfeil nach rechts 976"/>
          <p:cNvSpPr/>
          <p:nvPr/>
        </p:nvSpPr>
        <p:spPr bwMode="auto">
          <a:xfrm rot="16200000" flipH="1">
            <a:off x="5570976" y="1391217"/>
            <a:ext cx="736531" cy="135261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696" name="Ellipse 695"/>
          <p:cNvSpPr/>
          <p:nvPr/>
        </p:nvSpPr>
        <p:spPr bwMode="auto">
          <a:xfrm>
            <a:off x="986763" y="2974535"/>
            <a:ext cx="3024000" cy="3024336"/>
          </a:xfrm>
          <a:prstGeom prst="ellipse">
            <a:avLst/>
          </a:prstGeom>
          <a:noFill/>
          <a:ln w="12700">
            <a:solidFill>
              <a:srgbClr val="3C464B"/>
            </a:solidFill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97" name="Rechteck 696"/>
          <p:cNvSpPr/>
          <p:nvPr/>
        </p:nvSpPr>
        <p:spPr bwMode="auto">
          <a:xfrm>
            <a:off x="1774477" y="2758511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a acquisition from V2X and IoT</a:t>
            </a:r>
            <a:endParaRPr lang="de-DE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98" name="Rechteck 697"/>
          <p:cNvSpPr/>
          <p:nvPr/>
        </p:nvSpPr>
        <p:spPr bwMode="auto">
          <a:xfrm>
            <a:off x="3147004" y="3652423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ulti Modal Priority</a:t>
            </a:r>
            <a:endParaRPr lang="de-DE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99" name="Rechteck 698"/>
          <p:cNvSpPr/>
          <p:nvPr/>
        </p:nvSpPr>
        <p:spPr bwMode="auto">
          <a:xfrm>
            <a:off x="411480" y="3658611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lf-</a:t>
            </a:r>
            <a:r>
              <a:rPr lang="en-AU" sz="105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misation</a:t>
            </a:r>
            <a:endParaRPr lang="en-AU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00" name="Rechteck 699"/>
          <p:cNvSpPr/>
          <p:nvPr/>
        </p:nvSpPr>
        <p:spPr bwMode="auto">
          <a:xfrm>
            <a:off x="411480" y="4798356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uto Configuration</a:t>
            </a:r>
          </a:p>
        </p:txBody>
      </p:sp>
      <p:sp>
        <p:nvSpPr>
          <p:cNvPr id="701" name="Rechteck 700"/>
          <p:cNvSpPr/>
          <p:nvPr/>
        </p:nvSpPr>
        <p:spPr bwMode="auto">
          <a:xfrm>
            <a:off x="3147004" y="4798356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chine Learning Approaches (FVD)</a:t>
            </a:r>
            <a:endParaRPr lang="de-DE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02" name="Rechteck 701"/>
          <p:cNvSpPr/>
          <p:nvPr/>
        </p:nvSpPr>
        <p:spPr bwMode="auto">
          <a:xfrm>
            <a:off x="893721" y="5674835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-active Traffic Light Control</a:t>
            </a:r>
            <a:endParaRPr lang="en-US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03" name="Rechteck 702"/>
          <p:cNvSpPr/>
          <p:nvPr/>
        </p:nvSpPr>
        <p:spPr bwMode="auto">
          <a:xfrm>
            <a:off x="2657918" y="5690519"/>
            <a:ext cx="1404000" cy="576000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  <a:extLst/>
        </p:spPr>
        <p:txBody>
          <a:bodyPr wrap="square" lIns="107974" tIns="53987" rIns="107974" bIns="53987" numCol="1" spcCol="71981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050" b="1" dirty="0" smtClean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ediction </a:t>
            </a:r>
            <a:r>
              <a:rPr lang="en-US" sz="1050" b="1" dirty="0">
                <a:solidFill>
                  <a:schemeClr val="bg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ngine (e.g. Simulation)</a:t>
            </a:r>
            <a:endParaRPr lang="de-DE" sz="1050" b="1" dirty="0">
              <a:solidFill>
                <a:schemeClr val="bg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04" name="Group 4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gray">
          <a:xfrm>
            <a:off x="1938439" y="3978884"/>
            <a:ext cx="1100710" cy="1041481"/>
            <a:chOff x="1973" y="174"/>
            <a:chExt cx="3736" cy="3976"/>
          </a:xfrm>
          <a:solidFill>
            <a:srgbClr val="2387AA"/>
          </a:solidFill>
        </p:grpSpPr>
        <p:sp>
          <p:nvSpPr>
            <p:cNvPr id="705" name="Freeform 5"/>
            <p:cNvSpPr>
              <a:spLocks/>
            </p:cNvSpPr>
            <p:nvPr/>
          </p:nvSpPr>
          <p:spPr bwMode="gray">
            <a:xfrm>
              <a:off x="2919" y="174"/>
              <a:ext cx="675" cy="1844"/>
            </a:xfrm>
            <a:custGeom>
              <a:avLst/>
              <a:gdLst>
                <a:gd name="T0" fmla="*/ 34 w 285"/>
                <a:gd name="T1" fmla="*/ 326 h 779"/>
                <a:gd name="T2" fmla="*/ 26 w 285"/>
                <a:gd name="T3" fmla="*/ 347 h 779"/>
                <a:gd name="T4" fmla="*/ 26 w 285"/>
                <a:gd name="T5" fmla="*/ 674 h 779"/>
                <a:gd name="T6" fmla="*/ 26 w 285"/>
                <a:gd name="T7" fmla="*/ 690 h 779"/>
                <a:gd name="T8" fmla="*/ 0 w 285"/>
                <a:gd name="T9" fmla="*/ 732 h 779"/>
                <a:gd name="T10" fmla="*/ 47 w 285"/>
                <a:gd name="T11" fmla="*/ 779 h 779"/>
                <a:gd name="T12" fmla="*/ 94 w 285"/>
                <a:gd name="T13" fmla="*/ 732 h 779"/>
                <a:gd name="T14" fmla="*/ 69 w 285"/>
                <a:gd name="T15" fmla="*/ 690 h 779"/>
                <a:gd name="T16" fmla="*/ 70 w 285"/>
                <a:gd name="T17" fmla="*/ 367 h 779"/>
                <a:gd name="T18" fmla="*/ 79 w 285"/>
                <a:gd name="T19" fmla="*/ 339 h 779"/>
                <a:gd name="T20" fmla="*/ 250 w 285"/>
                <a:gd name="T21" fmla="*/ 167 h 779"/>
                <a:gd name="T22" fmla="*/ 253 w 285"/>
                <a:gd name="T23" fmla="*/ 163 h 779"/>
                <a:gd name="T24" fmla="*/ 252 w 285"/>
                <a:gd name="T25" fmla="*/ 164 h 779"/>
                <a:gd name="T26" fmla="*/ 260 w 285"/>
                <a:gd name="T27" fmla="*/ 109 h 779"/>
                <a:gd name="T28" fmla="*/ 260 w 285"/>
                <a:gd name="T29" fmla="*/ 92 h 779"/>
                <a:gd name="T30" fmla="*/ 260 w 285"/>
                <a:gd name="T31" fmla="*/ 89 h 779"/>
                <a:gd name="T32" fmla="*/ 285 w 285"/>
                <a:gd name="T33" fmla="*/ 47 h 779"/>
                <a:gd name="T34" fmla="*/ 239 w 285"/>
                <a:gd name="T35" fmla="*/ 0 h 779"/>
                <a:gd name="T36" fmla="*/ 193 w 285"/>
                <a:gd name="T37" fmla="*/ 47 h 779"/>
                <a:gd name="T38" fmla="*/ 217 w 285"/>
                <a:gd name="T39" fmla="*/ 88 h 779"/>
                <a:gd name="T40" fmla="*/ 217 w 285"/>
                <a:gd name="T41" fmla="*/ 88 h 779"/>
                <a:gd name="T42" fmla="*/ 187 w 285"/>
                <a:gd name="T43" fmla="*/ 171 h 779"/>
                <a:gd name="T44" fmla="*/ 34 w 285"/>
                <a:gd name="T45" fmla="*/ 326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5" h="779">
                  <a:moveTo>
                    <a:pt x="34" y="326"/>
                  </a:moveTo>
                  <a:cubicBezTo>
                    <a:pt x="31" y="333"/>
                    <a:pt x="28" y="339"/>
                    <a:pt x="26" y="347"/>
                  </a:cubicBezTo>
                  <a:cubicBezTo>
                    <a:pt x="26" y="364"/>
                    <a:pt x="26" y="657"/>
                    <a:pt x="26" y="674"/>
                  </a:cubicBezTo>
                  <a:cubicBezTo>
                    <a:pt x="26" y="679"/>
                    <a:pt x="26" y="684"/>
                    <a:pt x="26" y="690"/>
                  </a:cubicBezTo>
                  <a:cubicBezTo>
                    <a:pt x="11" y="697"/>
                    <a:pt x="0" y="713"/>
                    <a:pt x="0" y="732"/>
                  </a:cubicBezTo>
                  <a:cubicBezTo>
                    <a:pt x="0" y="758"/>
                    <a:pt x="21" y="779"/>
                    <a:pt x="47" y="779"/>
                  </a:cubicBezTo>
                  <a:cubicBezTo>
                    <a:pt x="73" y="779"/>
                    <a:pt x="94" y="758"/>
                    <a:pt x="94" y="732"/>
                  </a:cubicBezTo>
                  <a:cubicBezTo>
                    <a:pt x="94" y="714"/>
                    <a:pt x="84" y="698"/>
                    <a:pt x="69" y="690"/>
                  </a:cubicBezTo>
                  <a:cubicBezTo>
                    <a:pt x="68" y="675"/>
                    <a:pt x="67" y="384"/>
                    <a:pt x="70" y="367"/>
                  </a:cubicBezTo>
                  <a:cubicBezTo>
                    <a:pt x="65" y="355"/>
                    <a:pt x="71" y="347"/>
                    <a:pt x="79" y="339"/>
                  </a:cubicBezTo>
                  <a:cubicBezTo>
                    <a:pt x="136" y="282"/>
                    <a:pt x="193" y="224"/>
                    <a:pt x="250" y="167"/>
                  </a:cubicBezTo>
                  <a:cubicBezTo>
                    <a:pt x="251" y="166"/>
                    <a:pt x="252" y="165"/>
                    <a:pt x="253" y="163"/>
                  </a:cubicBezTo>
                  <a:cubicBezTo>
                    <a:pt x="253" y="163"/>
                    <a:pt x="253" y="163"/>
                    <a:pt x="252" y="164"/>
                  </a:cubicBezTo>
                  <a:cubicBezTo>
                    <a:pt x="261" y="146"/>
                    <a:pt x="259" y="127"/>
                    <a:pt x="260" y="109"/>
                  </a:cubicBezTo>
                  <a:cubicBezTo>
                    <a:pt x="260" y="103"/>
                    <a:pt x="260" y="97"/>
                    <a:pt x="260" y="92"/>
                  </a:cubicBezTo>
                  <a:cubicBezTo>
                    <a:pt x="260" y="91"/>
                    <a:pt x="260" y="90"/>
                    <a:pt x="260" y="89"/>
                  </a:cubicBezTo>
                  <a:cubicBezTo>
                    <a:pt x="275" y="81"/>
                    <a:pt x="285" y="65"/>
                    <a:pt x="285" y="47"/>
                  </a:cubicBezTo>
                  <a:cubicBezTo>
                    <a:pt x="285" y="21"/>
                    <a:pt x="265" y="0"/>
                    <a:pt x="239" y="0"/>
                  </a:cubicBezTo>
                  <a:cubicBezTo>
                    <a:pt x="214" y="0"/>
                    <a:pt x="193" y="21"/>
                    <a:pt x="193" y="47"/>
                  </a:cubicBezTo>
                  <a:cubicBezTo>
                    <a:pt x="193" y="64"/>
                    <a:pt x="203" y="80"/>
                    <a:pt x="217" y="88"/>
                  </a:cubicBezTo>
                  <a:cubicBezTo>
                    <a:pt x="217" y="88"/>
                    <a:pt x="217" y="88"/>
                    <a:pt x="217" y="88"/>
                  </a:cubicBezTo>
                  <a:cubicBezTo>
                    <a:pt x="224" y="122"/>
                    <a:pt x="213" y="147"/>
                    <a:pt x="187" y="171"/>
                  </a:cubicBezTo>
                  <a:cubicBezTo>
                    <a:pt x="134" y="221"/>
                    <a:pt x="84" y="274"/>
                    <a:pt x="34" y="3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06" name="Freeform 6"/>
            <p:cNvSpPr>
              <a:spLocks noEditPoints="1"/>
            </p:cNvSpPr>
            <p:nvPr/>
          </p:nvSpPr>
          <p:spPr bwMode="gray">
            <a:xfrm>
              <a:off x="4363" y="356"/>
              <a:ext cx="1346" cy="1932"/>
            </a:xfrm>
            <a:custGeom>
              <a:avLst/>
              <a:gdLst>
                <a:gd name="T0" fmla="*/ 561 w 569"/>
                <a:gd name="T1" fmla="*/ 679 h 816"/>
                <a:gd name="T2" fmla="*/ 469 w 569"/>
                <a:gd name="T3" fmla="*/ 654 h 816"/>
                <a:gd name="T4" fmla="*/ 407 w 569"/>
                <a:gd name="T5" fmla="*/ 654 h 816"/>
                <a:gd name="T6" fmla="*/ 339 w 569"/>
                <a:gd name="T7" fmla="*/ 654 h 816"/>
                <a:gd name="T8" fmla="*/ 270 w 569"/>
                <a:gd name="T9" fmla="*/ 654 h 816"/>
                <a:gd name="T10" fmla="*/ 184 w 569"/>
                <a:gd name="T11" fmla="*/ 654 h 816"/>
                <a:gd name="T12" fmla="*/ 142 w 569"/>
                <a:gd name="T13" fmla="*/ 620 h 816"/>
                <a:gd name="T14" fmla="*/ 111 w 569"/>
                <a:gd name="T15" fmla="*/ 589 h 816"/>
                <a:gd name="T16" fmla="*/ 78 w 569"/>
                <a:gd name="T17" fmla="*/ 551 h 816"/>
                <a:gd name="T18" fmla="*/ 78 w 569"/>
                <a:gd name="T19" fmla="*/ 482 h 816"/>
                <a:gd name="T20" fmla="*/ 78 w 569"/>
                <a:gd name="T21" fmla="*/ 414 h 816"/>
                <a:gd name="T22" fmla="*/ 131 w 569"/>
                <a:gd name="T23" fmla="*/ 345 h 816"/>
                <a:gd name="T24" fmla="*/ 160 w 569"/>
                <a:gd name="T25" fmla="*/ 262 h 816"/>
                <a:gd name="T26" fmla="*/ 184 w 569"/>
                <a:gd name="T27" fmla="*/ 46 h 816"/>
                <a:gd name="T28" fmla="*/ 94 w 569"/>
                <a:gd name="T29" fmla="*/ 46 h 816"/>
                <a:gd name="T30" fmla="*/ 117 w 569"/>
                <a:gd name="T31" fmla="*/ 259 h 816"/>
                <a:gd name="T32" fmla="*/ 45 w 569"/>
                <a:gd name="T33" fmla="*/ 370 h 816"/>
                <a:gd name="T34" fmla="*/ 35 w 569"/>
                <a:gd name="T35" fmla="*/ 410 h 816"/>
                <a:gd name="T36" fmla="*/ 34 w 569"/>
                <a:gd name="T37" fmla="*/ 479 h 816"/>
                <a:gd name="T38" fmla="*/ 34 w 569"/>
                <a:gd name="T39" fmla="*/ 548 h 816"/>
                <a:gd name="T40" fmla="*/ 56 w 569"/>
                <a:gd name="T41" fmla="*/ 596 h 816"/>
                <a:gd name="T42" fmla="*/ 91 w 569"/>
                <a:gd name="T43" fmla="*/ 630 h 816"/>
                <a:gd name="T44" fmla="*/ 125 w 569"/>
                <a:gd name="T45" fmla="*/ 665 h 816"/>
                <a:gd name="T46" fmla="*/ 159 w 569"/>
                <a:gd name="T47" fmla="*/ 693 h 816"/>
                <a:gd name="T48" fmla="*/ 225 w 569"/>
                <a:gd name="T49" fmla="*/ 696 h 816"/>
                <a:gd name="T50" fmla="*/ 294 w 569"/>
                <a:gd name="T51" fmla="*/ 696 h 816"/>
                <a:gd name="T52" fmla="*/ 362 w 569"/>
                <a:gd name="T53" fmla="*/ 696 h 816"/>
                <a:gd name="T54" fmla="*/ 432 w 569"/>
                <a:gd name="T55" fmla="*/ 696 h 816"/>
                <a:gd name="T56" fmla="*/ 510 w 569"/>
                <a:gd name="T57" fmla="*/ 729 h 816"/>
                <a:gd name="T58" fmla="*/ 433 w 569"/>
                <a:gd name="T59" fmla="*/ 753 h 816"/>
                <a:gd name="T60" fmla="*/ 312 w 569"/>
                <a:gd name="T61" fmla="*/ 753 h 816"/>
                <a:gd name="T62" fmla="*/ 174 w 569"/>
                <a:gd name="T63" fmla="*/ 753 h 816"/>
                <a:gd name="T64" fmla="*/ 126 w 569"/>
                <a:gd name="T65" fmla="*/ 734 h 816"/>
                <a:gd name="T66" fmla="*/ 92 w 569"/>
                <a:gd name="T67" fmla="*/ 701 h 816"/>
                <a:gd name="T68" fmla="*/ 89 w 569"/>
                <a:gd name="T69" fmla="*/ 683 h 816"/>
                <a:gd name="T70" fmla="*/ 0 w 569"/>
                <a:gd name="T71" fmla="*/ 683 h 816"/>
                <a:gd name="T72" fmla="*/ 55 w 569"/>
                <a:gd name="T73" fmla="*/ 725 h 816"/>
                <a:gd name="T74" fmla="*/ 86 w 569"/>
                <a:gd name="T75" fmla="*/ 756 h 816"/>
                <a:gd name="T76" fmla="*/ 122 w 569"/>
                <a:gd name="T77" fmla="*/ 789 h 816"/>
                <a:gd name="T78" fmla="*/ 471 w 569"/>
                <a:gd name="T79" fmla="*/ 796 h 816"/>
                <a:gd name="T80" fmla="*/ 524 w 569"/>
                <a:gd name="T81" fmla="*/ 816 h 816"/>
                <a:gd name="T82" fmla="*/ 526 w 569"/>
                <a:gd name="T83" fmla="*/ 726 h 816"/>
                <a:gd name="T84" fmla="*/ 139 w 569"/>
                <a:gd name="T85" fmla="*/ 19 h 816"/>
                <a:gd name="T86" fmla="*/ 139 w 569"/>
                <a:gd name="T87" fmla="*/ 73 h 816"/>
                <a:gd name="T88" fmla="*/ 44 w 569"/>
                <a:gd name="T89" fmla="*/ 707 h 816"/>
                <a:gd name="T90" fmla="*/ 44 w 569"/>
                <a:gd name="T91" fmla="*/ 658 h 816"/>
                <a:gd name="T92" fmla="*/ 44 w 569"/>
                <a:gd name="T93" fmla="*/ 707 h 816"/>
                <a:gd name="T94" fmla="*/ 498 w 569"/>
                <a:gd name="T95" fmla="*/ 771 h 816"/>
                <a:gd name="T96" fmla="*/ 549 w 569"/>
                <a:gd name="T97" fmla="*/ 771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9" h="816">
                  <a:moveTo>
                    <a:pt x="526" y="726"/>
                  </a:moveTo>
                  <a:cubicBezTo>
                    <a:pt x="546" y="720"/>
                    <a:pt x="561" y="702"/>
                    <a:pt x="561" y="679"/>
                  </a:cubicBezTo>
                  <a:cubicBezTo>
                    <a:pt x="561" y="652"/>
                    <a:pt x="539" y="629"/>
                    <a:pt x="512" y="629"/>
                  </a:cubicBezTo>
                  <a:cubicBezTo>
                    <a:pt x="493" y="629"/>
                    <a:pt x="477" y="640"/>
                    <a:pt x="469" y="654"/>
                  </a:cubicBezTo>
                  <a:cubicBezTo>
                    <a:pt x="466" y="654"/>
                    <a:pt x="464" y="654"/>
                    <a:pt x="462" y="654"/>
                  </a:cubicBezTo>
                  <a:cubicBezTo>
                    <a:pt x="444" y="654"/>
                    <a:pt x="426" y="654"/>
                    <a:pt x="407" y="654"/>
                  </a:cubicBezTo>
                  <a:cubicBezTo>
                    <a:pt x="404" y="654"/>
                    <a:pt x="401" y="654"/>
                    <a:pt x="397" y="654"/>
                  </a:cubicBezTo>
                  <a:cubicBezTo>
                    <a:pt x="377" y="654"/>
                    <a:pt x="358" y="654"/>
                    <a:pt x="339" y="654"/>
                  </a:cubicBezTo>
                  <a:cubicBezTo>
                    <a:pt x="335" y="654"/>
                    <a:pt x="332" y="654"/>
                    <a:pt x="328" y="654"/>
                  </a:cubicBezTo>
                  <a:cubicBezTo>
                    <a:pt x="309" y="654"/>
                    <a:pt x="290" y="654"/>
                    <a:pt x="270" y="654"/>
                  </a:cubicBezTo>
                  <a:cubicBezTo>
                    <a:pt x="267" y="654"/>
                    <a:pt x="263" y="654"/>
                    <a:pt x="259" y="654"/>
                  </a:cubicBezTo>
                  <a:cubicBezTo>
                    <a:pt x="234" y="654"/>
                    <a:pt x="209" y="654"/>
                    <a:pt x="184" y="654"/>
                  </a:cubicBezTo>
                  <a:cubicBezTo>
                    <a:pt x="183" y="654"/>
                    <a:pt x="181" y="654"/>
                    <a:pt x="181" y="654"/>
                  </a:cubicBezTo>
                  <a:cubicBezTo>
                    <a:pt x="162" y="649"/>
                    <a:pt x="155" y="632"/>
                    <a:pt x="142" y="620"/>
                  </a:cubicBezTo>
                  <a:cubicBezTo>
                    <a:pt x="134" y="614"/>
                    <a:pt x="128" y="607"/>
                    <a:pt x="122" y="599"/>
                  </a:cubicBezTo>
                  <a:cubicBezTo>
                    <a:pt x="118" y="596"/>
                    <a:pt x="115" y="593"/>
                    <a:pt x="111" y="589"/>
                  </a:cubicBezTo>
                  <a:cubicBezTo>
                    <a:pt x="102" y="582"/>
                    <a:pt x="94" y="574"/>
                    <a:pt x="87" y="565"/>
                  </a:cubicBezTo>
                  <a:cubicBezTo>
                    <a:pt x="83" y="562"/>
                    <a:pt x="77" y="559"/>
                    <a:pt x="78" y="551"/>
                  </a:cubicBezTo>
                  <a:cubicBezTo>
                    <a:pt x="78" y="534"/>
                    <a:pt x="78" y="517"/>
                    <a:pt x="78" y="500"/>
                  </a:cubicBezTo>
                  <a:cubicBezTo>
                    <a:pt x="78" y="494"/>
                    <a:pt x="78" y="488"/>
                    <a:pt x="78" y="482"/>
                  </a:cubicBezTo>
                  <a:cubicBezTo>
                    <a:pt x="78" y="465"/>
                    <a:pt x="78" y="448"/>
                    <a:pt x="78" y="431"/>
                  </a:cubicBezTo>
                  <a:cubicBezTo>
                    <a:pt x="78" y="425"/>
                    <a:pt x="78" y="419"/>
                    <a:pt x="78" y="414"/>
                  </a:cubicBezTo>
                  <a:cubicBezTo>
                    <a:pt x="75" y="403"/>
                    <a:pt x="78" y="396"/>
                    <a:pt x="86" y="389"/>
                  </a:cubicBezTo>
                  <a:cubicBezTo>
                    <a:pt x="101" y="375"/>
                    <a:pt x="115" y="358"/>
                    <a:pt x="131" y="345"/>
                  </a:cubicBezTo>
                  <a:cubicBezTo>
                    <a:pt x="151" y="327"/>
                    <a:pt x="161" y="306"/>
                    <a:pt x="160" y="280"/>
                  </a:cubicBezTo>
                  <a:cubicBezTo>
                    <a:pt x="160" y="274"/>
                    <a:pt x="160" y="268"/>
                    <a:pt x="160" y="262"/>
                  </a:cubicBezTo>
                  <a:cubicBezTo>
                    <a:pt x="160" y="245"/>
                    <a:pt x="159" y="99"/>
                    <a:pt x="159" y="87"/>
                  </a:cubicBezTo>
                  <a:cubicBezTo>
                    <a:pt x="174" y="79"/>
                    <a:pt x="184" y="64"/>
                    <a:pt x="184" y="46"/>
                  </a:cubicBezTo>
                  <a:cubicBezTo>
                    <a:pt x="184" y="21"/>
                    <a:pt x="164" y="0"/>
                    <a:pt x="139" y="0"/>
                  </a:cubicBezTo>
                  <a:cubicBezTo>
                    <a:pt x="114" y="0"/>
                    <a:pt x="94" y="21"/>
                    <a:pt x="94" y="46"/>
                  </a:cubicBezTo>
                  <a:cubicBezTo>
                    <a:pt x="94" y="64"/>
                    <a:pt x="104" y="79"/>
                    <a:pt x="118" y="86"/>
                  </a:cubicBezTo>
                  <a:cubicBezTo>
                    <a:pt x="117" y="92"/>
                    <a:pt x="118" y="253"/>
                    <a:pt x="117" y="259"/>
                  </a:cubicBezTo>
                  <a:cubicBezTo>
                    <a:pt x="122" y="285"/>
                    <a:pt x="116" y="305"/>
                    <a:pt x="94" y="322"/>
                  </a:cubicBezTo>
                  <a:cubicBezTo>
                    <a:pt x="77" y="336"/>
                    <a:pt x="62" y="355"/>
                    <a:pt x="45" y="370"/>
                  </a:cubicBezTo>
                  <a:cubicBezTo>
                    <a:pt x="39" y="377"/>
                    <a:pt x="34" y="383"/>
                    <a:pt x="34" y="392"/>
                  </a:cubicBezTo>
                  <a:cubicBezTo>
                    <a:pt x="36" y="398"/>
                    <a:pt x="36" y="404"/>
                    <a:pt x="35" y="410"/>
                  </a:cubicBezTo>
                  <a:cubicBezTo>
                    <a:pt x="36" y="428"/>
                    <a:pt x="36" y="445"/>
                    <a:pt x="34" y="462"/>
                  </a:cubicBezTo>
                  <a:cubicBezTo>
                    <a:pt x="36" y="467"/>
                    <a:pt x="36" y="473"/>
                    <a:pt x="34" y="479"/>
                  </a:cubicBezTo>
                  <a:cubicBezTo>
                    <a:pt x="36" y="496"/>
                    <a:pt x="36" y="513"/>
                    <a:pt x="34" y="530"/>
                  </a:cubicBezTo>
                  <a:cubicBezTo>
                    <a:pt x="36" y="536"/>
                    <a:pt x="36" y="542"/>
                    <a:pt x="34" y="548"/>
                  </a:cubicBezTo>
                  <a:cubicBezTo>
                    <a:pt x="37" y="560"/>
                    <a:pt x="31" y="573"/>
                    <a:pt x="43" y="582"/>
                  </a:cubicBezTo>
                  <a:cubicBezTo>
                    <a:pt x="47" y="587"/>
                    <a:pt x="52" y="591"/>
                    <a:pt x="56" y="596"/>
                  </a:cubicBezTo>
                  <a:cubicBezTo>
                    <a:pt x="64" y="603"/>
                    <a:pt x="70" y="610"/>
                    <a:pt x="78" y="616"/>
                  </a:cubicBezTo>
                  <a:cubicBezTo>
                    <a:pt x="82" y="621"/>
                    <a:pt x="86" y="626"/>
                    <a:pt x="91" y="630"/>
                  </a:cubicBezTo>
                  <a:cubicBezTo>
                    <a:pt x="98" y="637"/>
                    <a:pt x="105" y="644"/>
                    <a:pt x="111" y="651"/>
                  </a:cubicBezTo>
                  <a:cubicBezTo>
                    <a:pt x="117" y="655"/>
                    <a:pt x="121" y="660"/>
                    <a:pt x="125" y="665"/>
                  </a:cubicBezTo>
                  <a:cubicBezTo>
                    <a:pt x="133" y="672"/>
                    <a:pt x="142" y="680"/>
                    <a:pt x="150" y="688"/>
                  </a:cubicBezTo>
                  <a:cubicBezTo>
                    <a:pt x="153" y="690"/>
                    <a:pt x="156" y="691"/>
                    <a:pt x="159" y="693"/>
                  </a:cubicBezTo>
                  <a:cubicBezTo>
                    <a:pt x="175" y="697"/>
                    <a:pt x="192" y="694"/>
                    <a:pt x="208" y="696"/>
                  </a:cubicBezTo>
                  <a:cubicBezTo>
                    <a:pt x="214" y="696"/>
                    <a:pt x="219" y="696"/>
                    <a:pt x="225" y="696"/>
                  </a:cubicBezTo>
                  <a:cubicBezTo>
                    <a:pt x="242" y="696"/>
                    <a:pt x="259" y="696"/>
                    <a:pt x="276" y="696"/>
                  </a:cubicBezTo>
                  <a:cubicBezTo>
                    <a:pt x="282" y="696"/>
                    <a:pt x="288" y="696"/>
                    <a:pt x="294" y="696"/>
                  </a:cubicBezTo>
                  <a:cubicBezTo>
                    <a:pt x="311" y="696"/>
                    <a:pt x="328" y="696"/>
                    <a:pt x="346" y="696"/>
                  </a:cubicBezTo>
                  <a:cubicBezTo>
                    <a:pt x="351" y="696"/>
                    <a:pt x="357" y="696"/>
                    <a:pt x="362" y="696"/>
                  </a:cubicBezTo>
                  <a:cubicBezTo>
                    <a:pt x="379" y="696"/>
                    <a:pt x="397" y="696"/>
                    <a:pt x="414" y="696"/>
                  </a:cubicBezTo>
                  <a:cubicBezTo>
                    <a:pt x="420" y="696"/>
                    <a:pt x="426" y="696"/>
                    <a:pt x="432" y="696"/>
                  </a:cubicBezTo>
                  <a:cubicBezTo>
                    <a:pt x="443" y="696"/>
                    <a:pt x="454" y="696"/>
                    <a:pt x="465" y="695"/>
                  </a:cubicBezTo>
                  <a:cubicBezTo>
                    <a:pt x="472" y="714"/>
                    <a:pt x="489" y="728"/>
                    <a:pt x="510" y="729"/>
                  </a:cubicBezTo>
                  <a:cubicBezTo>
                    <a:pt x="498" y="732"/>
                    <a:pt x="488" y="741"/>
                    <a:pt x="483" y="753"/>
                  </a:cubicBezTo>
                  <a:cubicBezTo>
                    <a:pt x="472" y="752"/>
                    <a:pt x="438" y="753"/>
                    <a:pt x="433" y="753"/>
                  </a:cubicBezTo>
                  <a:cubicBezTo>
                    <a:pt x="416" y="753"/>
                    <a:pt x="399" y="753"/>
                    <a:pt x="381" y="753"/>
                  </a:cubicBezTo>
                  <a:cubicBezTo>
                    <a:pt x="376" y="753"/>
                    <a:pt x="329" y="753"/>
                    <a:pt x="312" y="753"/>
                  </a:cubicBezTo>
                  <a:cubicBezTo>
                    <a:pt x="306" y="753"/>
                    <a:pt x="261" y="753"/>
                    <a:pt x="244" y="753"/>
                  </a:cubicBezTo>
                  <a:cubicBezTo>
                    <a:pt x="238" y="753"/>
                    <a:pt x="192" y="753"/>
                    <a:pt x="174" y="753"/>
                  </a:cubicBezTo>
                  <a:cubicBezTo>
                    <a:pt x="169" y="753"/>
                    <a:pt x="163" y="753"/>
                    <a:pt x="157" y="753"/>
                  </a:cubicBezTo>
                  <a:cubicBezTo>
                    <a:pt x="141" y="756"/>
                    <a:pt x="135" y="742"/>
                    <a:pt x="126" y="734"/>
                  </a:cubicBezTo>
                  <a:cubicBezTo>
                    <a:pt x="121" y="731"/>
                    <a:pt x="117" y="727"/>
                    <a:pt x="113" y="721"/>
                  </a:cubicBezTo>
                  <a:cubicBezTo>
                    <a:pt x="106" y="715"/>
                    <a:pt x="99" y="707"/>
                    <a:pt x="92" y="701"/>
                  </a:cubicBezTo>
                  <a:cubicBezTo>
                    <a:pt x="90" y="700"/>
                    <a:pt x="88" y="698"/>
                    <a:pt x="87" y="697"/>
                  </a:cubicBezTo>
                  <a:cubicBezTo>
                    <a:pt x="88" y="692"/>
                    <a:pt x="89" y="688"/>
                    <a:pt x="89" y="683"/>
                  </a:cubicBezTo>
                  <a:cubicBezTo>
                    <a:pt x="89" y="659"/>
                    <a:pt x="69" y="639"/>
                    <a:pt x="44" y="639"/>
                  </a:cubicBezTo>
                  <a:cubicBezTo>
                    <a:pt x="20" y="639"/>
                    <a:pt x="0" y="659"/>
                    <a:pt x="0" y="683"/>
                  </a:cubicBezTo>
                  <a:cubicBezTo>
                    <a:pt x="0" y="707"/>
                    <a:pt x="20" y="726"/>
                    <a:pt x="44" y="726"/>
                  </a:cubicBezTo>
                  <a:cubicBezTo>
                    <a:pt x="48" y="726"/>
                    <a:pt x="52" y="726"/>
                    <a:pt x="55" y="725"/>
                  </a:cubicBezTo>
                  <a:cubicBezTo>
                    <a:pt x="56" y="726"/>
                    <a:pt x="57" y="727"/>
                    <a:pt x="58" y="728"/>
                  </a:cubicBezTo>
                  <a:cubicBezTo>
                    <a:pt x="68" y="736"/>
                    <a:pt x="78" y="745"/>
                    <a:pt x="86" y="756"/>
                  </a:cubicBezTo>
                  <a:cubicBezTo>
                    <a:pt x="88" y="758"/>
                    <a:pt x="90" y="760"/>
                    <a:pt x="93" y="762"/>
                  </a:cubicBezTo>
                  <a:cubicBezTo>
                    <a:pt x="102" y="771"/>
                    <a:pt x="112" y="780"/>
                    <a:pt x="122" y="789"/>
                  </a:cubicBezTo>
                  <a:cubicBezTo>
                    <a:pt x="124" y="790"/>
                    <a:pt x="127" y="791"/>
                    <a:pt x="130" y="793"/>
                  </a:cubicBezTo>
                  <a:cubicBezTo>
                    <a:pt x="146" y="794"/>
                    <a:pt x="465" y="793"/>
                    <a:pt x="471" y="796"/>
                  </a:cubicBezTo>
                  <a:cubicBezTo>
                    <a:pt x="476" y="796"/>
                    <a:pt x="481" y="795"/>
                    <a:pt x="486" y="795"/>
                  </a:cubicBezTo>
                  <a:cubicBezTo>
                    <a:pt x="494" y="807"/>
                    <a:pt x="508" y="816"/>
                    <a:pt x="524" y="816"/>
                  </a:cubicBezTo>
                  <a:cubicBezTo>
                    <a:pt x="548" y="816"/>
                    <a:pt x="569" y="796"/>
                    <a:pt x="569" y="771"/>
                  </a:cubicBezTo>
                  <a:cubicBezTo>
                    <a:pt x="569" y="747"/>
                    <a:pt x="549" y="727"/>
                    <a:pt x="526" y="726"/>
                  </a:cubicBezTo>
                  <a:close/>
                  <a:moveTo>
                    <a:pt x="113" y="46"/>
                  </a:moveTo>
                  <a:cubicBezTo>
                    <a:pt x="113" y="31"/>
                    <a:pt x="125" y="19"/>
                    <a:pt x="139" y="19"/>
                  </a:cubicBezTo>
                  <a:cubicBezTo>
                    <a:pt x="153" y="19"/>
                    <a:pt x="164" y="31"/>
                    <a:pt x="164" y="46"/>
                  </a:cubicBezTo>
                  <a:cubicBezTo>
                    <a:pt x="164" y="61"/>
                    <a:pt x="153" y="73"/>
                    <a:pt x="139" y="73"/>
                  </a:cubicBezTo>
                  <a:cubicBezTo>
                    <a:pt x="125" y="73"/>
                    <a:pt x="113" y="61"/>
                    <a:pt x="113" y="46"/>
                  </a:cubicBezTo>
                  <a:close/>
                  <a:moveTo>
                    <a:pt x="44" y="707"/>
                  </a:moveTo>
                  <a:cubicBezTo>
                    <a:pt x="30" y="707"/>
                    <a:pt x="19" y="696"/>
                    <a:pt x="19" y="683"/>
                  </a:cubicBezTo>
                  <a:cubicBezTo>
                    <a:pt x="19" y="669"/>
                    <a:pt x="30" y="658"/>
                    <a:pt x="44" y="658"/>
                  </a:cubicBezTo>
                  <a:cubicBezTo>
                    <a:pt x="58" y="658"/>
                    <a:pt x="70" y="669"/>
                    <a:pt x="70" y="683"/>
                  </a:cubicBezTo>
                  <a:cubicBezTo>
                    <a:pt x="70" y="696"/>
                    <a:pt x="58" y="707"/>
                    <a:pt x="44" y="707"/>
                  </a:cubicBezTo>
                  <a:close/>
                  <a:moveTo>
                    <a:pt x="524" y="796"/>
                  </a:moveTo>
                  <a:cubicBezTo>
                    <a:pt x="510" y="796"/>
                    <a:pt x="498" y="785"/>
                    <a:pt x="498" y="771"/>
                  </a:cubicBezTo>
                  <a:cubicBezTo>
                    <a:pt x="498" y="757"/>
                    <a:pt x="510" y="746"/>
                    <a:pt x="524" y="746"/>
                  </a:cubicBezTo>
                  <a:cubicBezTo>
                    <a:pt x="538" y="746"/>
                    <a:pt x="549" y="757"/>
                    <a:pt x="549" y="771"/>
                  </a:cubicBezTo>
                  <a:cubicBezTo>
                    <a:pt x="549" y="785"/>
                    <a:pt x="538" y="796"/>
                    <a:pt x="524" y="7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07" name="Freeform 7"/>
            <p:cNvSpPr>
              <a:spLocks noEditPoints="1"/>
            </p:cNvSpPr>
            <p:nvPr/>
          </p:nvSpPr>
          <p:spPr bwMode="gray">
            <a:xfrm>
              <a:off x="4580" y="529"/>
              <a:ext cx="469" cy="1110"/>
            </a:xfrm>
            <a:custGeom>
              <a:avLst/>
              <a:gdLst>
                <a:gd name="T0" fmla="*/ 129 w 198"/>
                <a:gd name="T1" fmla="*/ 89 h 469"/>
                <a:gd name="T2" fmla="*/ 128 w 198"/>
                <a:gd name="T3" fmla="*/ 133 h 469"/>
                <a:gd name="T4" fmla="*/ 128 w 198"/>
                <a:gd name="T5" fmla="*/ 151 h 469"/>
                <a:gd name="T6" fmla="*/ 128 w 198"/>
                <a:gd name="T7" fmla="*/ 203 h 469"/>
                <a:gd name="T8" fmla="*/ 128 w 198"/>
                <a:gd name="T9" fmla="*/ 221 h 469"/>
                <a:gd name="T10" fmla="*/ 128 w 198"/>
                <a:gd name="T11" fmla="*/ 272 h 469"/>
                <a:gd name="T12" fmla="*/ 128 w 198"/>
                <a:gd name="T13" fmla="*/ 290 h 469"/>
                <a:gd name="T14" fmla="*/ 117 w 198"/>
                <a:gd name="T15" fmla="*/ 325 h 469"/>
                <a:gd name="T16" fmla="*/ 65 w 198"/>
                <a:gd name="T17" fmla="*/ 378 h 469"/>
                <a:gd name="T18" fmla="*/ 47 w 198"/>
                <a:gd name="T19" fmla="*/ 375 h 469"/>
                <a:gd name="T20" fmla="*/ 0 w 198"/>
                <a:gd name="T21" fmla="*/ 422 h 469"/>
                <a:gd name="T22" fmla="*/ 47 w 198"/>
                <a:gd name="T23" fmla="*/ 469 h 469"/>
                <a:gd name="T24" fmla="*/ 94 w 198"/>
                <a:gd name="T25" fmla="*/ 422 h 469"/>
                <a:gd name="T26" fmla="*/ 92 w 198"/>
                <a:gd name="T27" fmla="*/ 408 h 469"/>
                <a:gd name="T28" fmla="*/ 155 w 198"/>
                <a:gd name="T29" fmla="*/ 345 h 469"/>
                <a:gd name="T30" fmla="*/ 172 w 198"/>
                <a:gd name="T31" fmla="*/ 310 h 469"/>
                <a:gd name="T32" fmla="*/ 172 w 198"/>
                <a:gd name="T33" fmla="*/ 292 h 469"/>
                <a:gd name="T34" fmla="*/ 172 w 198"/>
                <a:gd name="T35" fmla="*/ 241 h 469"/>
                <a:gd name="T36" fmla="*/ 172 w 198"/>
                <a:gd name="T37" fmla="*/ 224 h 469"/>
                <a:gd name="T38" fmla="*/ 172 w 198"/>
                <a:gd name="T39" fmla="*/ 172 h 469"/>
                <a:gd name="T40" fmla="*/ 172 w 198"/>
                <a:gd name="T41" fmla="*/ 154 h 469"/>
                <a:gd name="T42" fmla="*/ 172 w 198"/>
                <a:gd name="T43" fmla="*/ 102 h 469"/>
                <a:gd name="T44" fmla="*/ 172 w 198"/>
                <a:gd name="T45" fmla="*/ 89 h 469"/>
                <a:gd name="T46" fmla="*/ 198 w 198"/>
                <a:gd name="T47" fmla="*/ 47 h 469"/>
                <a:gd name="T48" fmla="*/ 150 w 198"/>
                <a:gd name="T49" fmla="*/ 0 h 469"/>
                <a:gd name="T50" fmla="*/ 101 w 198"/>
                <a:gd name="T51" fmla="*/ 47 h 469"/>
                <a:gd name="T52" fmla="*/ 129 w 198"/>
                <a:gd name="T53" fmla="*/ 89 h 469"/>
                <a:gd name="T54" fmla="*/ 47 w 198"/>
                <a:gd name="T55" fmla="*/ 450 h 469"/>
                <a:gd name="T56" fmla="*/ 19 w 198"/>
                <a:gd name="T57" fmla="*/ 422 h 469"/>
                <a:gd name="T58" fmla="*/ 47 w 198"/>
                <a:gd name="T59" fmla="*/ 394 h 469"/>
                <a:gd name="T60" fmla="*/ 75 w 198"/>
                <a:gd name="T61" fmla="*/ 422 h 469"/>
                <a:gd name="T62" fmla="*/ 47 w 198"/>
                <a:gd name="T63" fmla="*/ 45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469">
                  <a:moveTo>
                    <a:pt x="129" y="89"/>
                  </a:moveTo>
                  <a:cubicBezTo>
                    <a:pt x="130" y="104"/>
                    <a:pt x="130" y="119"/>
                    <a:pt x="128" y="133"/>
                  </a:cubicBezTo>
                  <a:cubicBezTo>
                    <a:pt x="130" y="139"/>
                    <a:pt x="130" y="145"/>
                    <a:pt x="128" y="151"/>
                  </a:cubicBezTo>
                  <a:cubicBezTo>
                    <a:pt x="130" y="168"/>
                    <a:pt x="130" y="186"/>
                    <a:pt x="128" y="203"/>
                  </a:cubicBezTo>
                  <a:cubicBezTo>
                    <a:pt x="130" y="209"/>
                    <a:pt x="130" y="215"/>
                    <a:pt x="128" y="221"/>
                  </a:cubicBezTo>
                  <a:cubicBezTo>
                    <a:pt x="130" y="238"/>
                    <a:pt x="130" y="255"/>
                    <a:pt x="128" y="272"/>
                  </a:cubicBezTo>
                  <a:cubicBezTo>
                    <a:pt x="130" y="278"/>
                    <a:pt x="130" y="284"/>
                    <a:pt x="128" y="290"/>
                  </a:cubicBezTo>
                  <a:cubicBezTo>
                    <a:pt x="132" y="304"/>
                    <a:pt x="128" y="315"/>
                    <a:pt x="117" y="325"/>
                  </a:cubicBezTo>
                  <a:cubicBezTo>
                    <a:pt x="99" y="342"/>
                    <a:pt x="82" y="361"/>
                    <a:pt x="65" y="378"/>
                  </a:cubicBezTo>
                  <a:cubicBezTo>
                    <a:pt x="59" y="376"/>
                    <a:pt x="53" y="375"/>
                    <a:pt x="47" y="375"/>
                  </a:cubicBezTo>
                  <a:cubicBezTo>
                    <a:pt x="21" y="375"/>
                    <a:pt x="0" y="396"/>
                    <a:pt x="0" y="422"/>
                  </a:cubicBezTo>
                  <a:cubicBezTo>
                    <a:pt x="0" y="448"/>
                    <a:pt x="21" y="469"/>
                    <a:pt x="47" y="469"/>
                  </a:cubicBezTo>
                  <a:cubicBezTo>
                    <a:pt x="73" y="469"/>
                    <a:pt x="94" y="448"/>
                    <a:pt x="94" y="422"/>
                  </a:cubicBezTo>
                  <a:cubicBezTo>
                    <a:pt x="94" y="417"/>
                    <a:pt x="93" y="413"/>
                    <a:pt x="92" y="408"/>
                  </a:cubicBezTo>
                  <a:cubicBezTo>
                    <a:pt x="113" y="387"/>
                    <a:pt x="134" y="366"/>
                    <a:pt x="155" y="345"/>
                  </a:cubicBezTo>
                  <a:cubicBezTo>
                    <a:pt x="165" y="335"/>
                    <a:pt x="169" y="323"/>
                    <a:pt x="172" y="310"/>
                  </a:cubicBezTo>
                  <a:cubicBezTo>
                    <a:pt x="172" y="304"/>
                    <a:pt x="172" y="298"/>
                    <a:pt x="172" y="292"/>
                  </a:cubicBezTo>
                  <a:cubicBezTo>
                    <a:pt x="172" y="275"/>
                    <a:pt x="172" y="258"/>
                    <a:pt x="172" y="241"/>
                  </a:cubicBezTo>
                  <a:cubicBezTo>
                    <a:pt x="172" y="235"/>
                    <a:pt x="172" y="230"/>
                    <a:pt x="172" y="224"/>
                  </a:cubicBezTo>
                  <a:cubicBezTo>
                    <a:pt x="172" y="207"/>
                    <a:pt x="172" y="189"/>
                    <a:pt x="172" y="172"/>
                  </a:cubicBezTo>
                  <a:cubicBezTo>
                    <a:pt x="172" y="166"/>
                    <a:pt x="172" y="160"/>
                    <a:pt x="172" y="154"/>
                  </a:cubicBezTo>
                  <a:cubicBezTo>
                    <a:pt x="172" y="137"/>
                    <a:pt x="172" y="120"/>
                    <a:pt x="172" y="102"/>
                  </a:cubicBezTo>
                  <a:cubicBezTo>
                    <a:pt x="172" y="98"/>
                    <a:pt x="172" y="93"/>
                    <a:pt x="172" y="89"/>
                  </a:cubicBezTo>
                  <a:cubicBezTo>
                    <a:pt x="187" y="81"/>
                    <a:pt x="198" y="65"/>
                    <a:pt x="198" y="47"/>
                  </a:cubicBezTo>
                  <a:cubicBezTo>
                    <a:pt x="198" y="21"/>
                    <a:pt x="176" y="0"/>
                    <a:pt x="150" y="0"/>
                  </a:cubicBezTo>
                  <a:cubicBezTo>
                    <a:pt x="123" y="0"/>
                    <a:pt x="101" y="21"/>
                    <a:pt x="101" y="47"/>
                  </a:cubicBezTo>
                  <a:cubicBezTo>
                    <a:pt x="101" y="66"/>
                    <a:pt x="113" y="82"/>
                    <a:pt x="129" y="89"/>
                  </a:cubicBezTo>
                  <a:close/>
                  <a:moveTo>
                    <a:pt x="47" y="450"/>
                  </a:moveTo>
                  <a:cubicBezTo>
                    <a:pt x="32" y="450"/>
                    <a:pt x="19" y="437"/>
                    <a:pt x="19" y="422"/>
                  </a:cubicBezTo>
                  <a:cubicBezTo>
                    <a:pt x="19" y="407"/>
                    <a:pt x="32" y="394"/>
                    <a:pt x="47" y="394"/>
                  </a:cubicBezTo>
                  <a:cubicBezTo>
                    <a:pt x="62" y="394"/>
                    <a:pt x="75" y="407"/>
                    <a:pt x="75" y="422"/>
                  </a:cubicBezTo>
                  <a:cubicBezTo>
                    <a:pt x="75" y="437"/>
                    <a:pt x="62" y="450"/>
                    <a:pt x="47" y="4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08" name="Freeform 8"/>
            <p:cNvSpPr>
              <a:spLocks noEditPoints="1"/>
            </p:cNvSpPr>
            <p:nvPr/>
          </p:nvSpPr>
          <p:spPr bwMode="gray">
            <a:xfrm>
              <a:off x="3246" y="2340"/>
              <a:ext cx="920" cy="1803"/>
            </a:xfrm>
            <a:custGeom>
              <a:avLst/>
              <a:gdLst>
                <a:gd name="T0" fmla="*/ 368 w 389"/>
                <a:gd name="T1" fmla="*/ 670 h 762"/>
                <a:gd name="T2" fmla="*/ 368 w 389"/>
                <a:gd name="T3" fmla="*/ 601 h 762"/>
                <a:gd name="T4" fmla="*/ 368 w 389"/>
                <a:gd name="T5" fmla="*/ 531 h 762"/>
                <a:gd name="T6" fmla="*/ 368 w 389"/>
                <a:gd name="T7" fmla="*/ 462 h 762"/>
                <a:gd name="T8" fmla="*/ 368 w 389"/>
                <a:gd name="T9" fmla="*/ 393 h 762"/>
                <a:gd name="T10" fmla="*/ 368 w 389"/>
                <a:gd name="T11" fmla="*/ 324 h 762"/>
                <a:gd name="T12" fmla="*/ 368 w 389"/>
                <a:gd name="T13" fmla="*/ 254 h 762"/>
                <a:gd name="T14" fmla="*/ 368 w 389"/>
                <a:gd name="T15" fmla="*/ 186 h 762"/>
                <a:gd name="T16" fmla="*/ 351 w 389"/>
                <a:gd name="T17" fmla="*/ 134 h 762"/>
                <a:gd name="T18" fmla="*/ 317 w 389"/>
                <a:gd name="T19" fmla="*/ 100 h 762"/>
                <a:gd name="T20" fmla="*/ 282 w 389"/>
                <a:gd name="T21" fmla="*/ 65 h 762"/>
                <a:gd name="T22" fmla="*/ 248 w 389"/>
                <a:gd name="T23" fmla="*/ 31 h 762"/>
                <a:gd name="T24" fmla="*/ 194 w 389"/>
                <a:gd name="T25" fmla="*/ 20 h 762"/>
                <a:gd name="T26" fmla="*/ 125 w 389"/>
                <a:gd name="T27" fmla="*/ 20 h 762"/>
                <a:gd name="T28" fmla="*/ 84 w 389"/>
                <a:gd name="T29" fmla="*/ 20 h 762"/>
                <a:gd name="T30" fmla="*/ 0 w 389"/>
                <a:gd name="T31" fmla="*/ 44 h 762"/>
                <a:gd name="T32" fmla="*/ 87 w 389"/>
                <a:gd name="T33" fmla="*/ 64 h 762"/>
                <a:gd name="T34" fmla="*/ 146 w 389"/>
                <a:gd name="T35" fmla="*/ 64 h 762"/>
                <a:gd name="T36" fmla="*/ 214 w 389"/>
                <a:gd name="T37" fmla="*/ 64 h 762"/>
                <a:gd name="T38" fmla="*/ 254 w 389"/>
                <a:gd name="T39" fmla="*/ 98 h 762"/>
                <a:gd name="T40" fmla="*/ 288 w 389"/>
                <a:gd name="T41" fmla="*/ 133 h 762"/>
                <a:gd name="T42" fmla="*/ 322 w 389"/>
                <a:gd name="T43" fmla="*/ 168 h 762"/>
                <a:gd name="T44" fmla="*/ 325 w 389"/>
                <a:gd name="T45" fmla="*/ 234 h 762"/>
                <a:gd name="T46" fmla="*/ 325 w 389"/>
                <a:gd name="T47" fmla="*/ 303 h 762"/>
                <a:gd name="T48" fmla="*/ 325 w 389"/>
                <a:gd name="T49" fmla="*/ 372 h 762"/>
                <a:gd name="T50" fmla="*/ 325 w 389"/>
                <a:gd name="T51" fmla="*/ 442 h 762"/>
                <a:gd name="T52" fmla="*/ 325 w 389"/>
                <a:gd name="T53" fmla="*/ 510 h 762"/>
                <a:gd name="T54" fmla="*/ 325 w 389"/>
                <a:gd name="T55" fmla="*/ 580 h 762"/>
                <a:gd name="T56" fmla="*/ 325 w 389"/>
                <a:gd name="T57" fmla="*/ 649 h 762"/>
                <a:gd name="T58" fmla="*/ 300 w 389"/>
                <a:gd name="T59" fmla="*/ 716 h 762"/>
                <a:gd name="T60" fmla="*/ 389 w 389"/>
                <a:gd name="T61" fmla="*/ 716 h 762"/>
                <a:gd name="T62" fmla="*/ 46 w 389"/>
                <a:gd name="T63" fmla="*/ 70 h 762"/>
                <a:gd name="T64" fmla="*/ 46 w 389"/>
                <a:gd name="T65" fmla="*/ 19 h 762"/>
                <a:gd name="T66" fmla="*/ 46 w 389"/>
                <a:gd name="T67" fmla="*/ 7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762">
                  <a:moveTo>
                    <a:pt x="367" y="677"/>
                  </a:moveTo>
                  <a:cubicBezTo>
                    <a:pt x="367" y="674"/>
                    <a:pt x="368" y="672"/>
                    <a:pt x="368" y="670"/>
                  </a:cubicBezTo>
                  <a:cubicBezTo>
                    <a:pt x="368" y="664"/>
                    <a:pt x="368" y="658"/>
                    <a:pt x="368" y="652"/>
                  </a:cubicBezTo>
                  <a:cubicBezTo>
                    <a:pt x="368" y="635"/>
                    <a:pt x="368" y="618"/>
                    <a:pt x="368" y="601"/>
                  </a:cubicBezTo>
                  <a:cubicBezTo>
                    <a:pt x="368" y="595"/>
                    <a:pt x="368" y="589"/>
                    <a:pt x="368" y="583"/>
                  </a:cubicBezTo>
                  <a:cubicBezTo>
                    <a:pt x="368" y="566"/>
                    <a:pt x="368" y="548"/>
                    <a:pt x="368" y="531"/>
                  </a:cubicBezTo>
                  <a:cubicBezTo>
                    <a:pt x="368" y="525"/>
                    <a:pt x="368" y="519"/>
                    <a:pt x="368" y="513"/>
                  </a:cubicBezTo>
                  <a:cubicBezTo>
                    <a:pt x="368" y="496"/>
                    <a:pt x="368" y="479"/>
                    <a:pt x="368" y="462"/>
                  </a:cubicBezTo>
                  <a:cubicBezTo>
                    <a:pt x="368" y="456"/>
                    <a:pt x="368" y="451"/>
                    <a:pt x="368" y="445"/>
                  </a:cubicBezTo>
                  <a:cubicBezTo>
                    <a:pt x="368" y="428"/>
                    <a:pt x="368" y="411"/>
                    <a:pt x="368" y="393"/>
                  </a:cubicBezTo>
                  <a:cubicBezTo>
                    <a:pt x="368" y="387"/>
                    <a:pt x="368" y="381"/>
                    <a:pt x="368" y="376"/>
                  </a:cubicBezTo>
                  <a:cubicBezTo>
                    <a:pt x="368" y="358"/>
                    <a:pt x="368" y="341"/>
                    <a:pt x="368" y="324"/>
                  </a:cubicBezTo>
                  <a:cubicBezTo>
                    <a:pt x="368" y="318"/>
                    <a:pt x="368" y="312"/>
                    <a:pt x="368" y="306"/>
                  </a:cubicBezTo>
                  <a:cubicBezTo>
                    <a:pt x="368" y="289"/>
                    <a:pt x="368" y="272"/>
                    <a:pt x="368" y="254"/>
                  </a:cubicBezTo>
                  <a:cubicBezTo>
                    <a:pt x="368" y="249"/>
                    <a:pt x="368" y="243"/>
                    <a:pt x="368" y="237"/>
                  </a:cubicBezTo>
                  <a:cubicBezTo>
                    <a:pt x="368" y="220"/>
                    <a:pt x="368" y="203"/>
                    <a:pt x="368" y="186"/>
                  </a:cubicBezTo>
                  <a:cubicBezTo>
                    <a:pt x="368" y="180"/>
                    <a:pt x="368" y="174"/>
                    <a:pt x="368" y="168"/>
                  </a:cubicBezTo>
                  <a:cubicBezTo>
                    <a:pt x="366" y="155"/>
                    <a:pt x="359" y="144"/>
                    <a:pt x="351" y="134"/>
                  </a:cubicBezTo>
                  <a:cubicBezTo>
                    <a:pt x="348" y="133"/>
                    <a:pt x="346" y="131"/>
                    <a:pt x="345" y="128"/>
                  </a:cubicBezTo>
                  <a:cubicBezTo>
                    <a:pt x="335" y="120"/>
                    <a:pt x="325" y="110"/>
                    <a:pt x="317" y="100"/>
                  </a:cubicBezTo>
                  <a:cubicBezTo>
                    <a:pt x="315" y="97"/>
                    <a:pt x="313" y="95"/>
                    <a:pt x="311" y="93"/>
                  </a:cubicBezTo>
                  <a:cubicBezTo>
                    <a:pt x="300" y="85"/>
                    <a:pt x="291" y="75"/>
                    <a:pt x="282" y="65"/>
                  </a:cubicBezTo>
                  <a:cubicBezTo>
                    <a:pt x="280" y="63"/>
                    <a:pt x="278" y="60"/>
                    <a:pt x="277" y="59"/>
                  </a:cubicBezTo>
                  <a:cubicBezTo>
                    <a:pt x="267" y="49"/>
                    <a:pt x="257" y="40"/>
                    <a:pt x="248" y="31"/>
                  </a:cubicBezTo>
                  <a:cubicBezTo>
                    <a:pt x="244" y="29"/>
                    <a:pt x="240" y="26"/>
                    <a:pt x="237" y="24"/>
                  </a:cubicBezTo>
                  <a:cubicBezTo>
                    <a:pt x="223" y="21"/>
                    <a:pt x="208" y="20"/>
                    <a:pt x="194" y="20"/>
                  </a:cubicBezTo>
                  <a:cubicBezTo>
                    <a:pt x="188" y="20"/>
                    <a:pt x="183" y="20"/>
                    <a:pt x="177" y="19"/>
                  </a:cubicBezTo>
                  <a:cubicBezTo>
                    <a:pt x="159" y="20"/>
                    <a:pt x="142" y="20"/>
                    <a:pt x="125" y="20"/>
                  </a:cubicBezTo>
                  <a:cubicBezTo>
                    <a:pt x="119" y="20"/>
                    <a:pt x="113" y="20"/>
                    <a:pt x="107" y="19"/>
                  </a:cubicBezTo>
                  <a:cubicBezTo>
                    <a:pt x="100" y="19"/>
                    <a:pt x="92" y="20"/>
                    <a:pt x="84" y="20"/>
                  </a:cubicBezTo>
                  <a:cubicBezTo>
                    <a:pt x="76" y="8"/>
                    <a:pt x="62" y="0"/>
                    <a:pt x="46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9"/>
                    <a:pt x="20" y="89"/>
                    <a:pt x="46" y="89"/>
                  </a:cubicBezTo>
                  <a:cubicBezTo>
                    <a:pt x="64" y="89"/>
                    <a:pt x="80" y="79"/>
                    <a:pt x="87" y="64"/>
                  </a:cubicBezTo>
                  <a:cubicBezTo>
                    <a:pt x="101" y="64"/>
                    <a:pt x="115" y="64"/>
                    <a:pt x="129" y="64"/>
                  </a:cubicBezTo>
                  <a:cubicBezTo>
                    <a:pt x="134" y="64"/>
                    <a:pt x="140" y="64"/>
                    <a:pt x="146" y="64"/>
                  </a:cubicBezTo>
                  <a:cubicBezTo>
                    <a:pt x="163" y="64"/>
                    <a:pt x="180" y="64"/>
                    <a:pt x="197" y="64"/>
                  </a:cubicBezTo>
                  <a:cubicBezTo>
                    <a:pt x="203" y="64"/>
                    <a:pt x="209" y="64"/>
                    <a:pt x="214" y="64"/>
                  </a:cubicBezTo>
                  <a:cubicBezTo>
                    <a:pt x="228" y="67"/>
                    <a:pt x="234" y="79"/>
                    <a:pt x="242" y="88"/>
                  </a:cubicBezTo>
                  <a:cubicBezTo>
                    <a:pt x="246" y="92"/>
                    <a:pt x="250" y="95"/>
                    <a:pt x="254" y="98"/>
                  </a:cubicBezTo>
                  <a:cubicBezTo>
                    <a:pt x="261" y="106"/>
                    <a:pt x="269" y="114"/>
                    <a:pt x="277" y="123"/>
                  </a:cubicBezTo>
                  <a:cubicBezTo>
                    <a:pt x="281" y="126"/>
                    <a:pt x="284" y="129"/>
                    <a:pt x="288" y="133"/>
                  </a:cubicBezTo>
                  <a:cubicBezTo>
                    <a:pt x="296" y="141"/>
                    <a:pt x="304" y="149"/>
                    <a:pt x="312" y="157"/>
                  </a:cubicBezTo>
                  <a:cubicBezTo>
                    <a:pt x="315" y="160"/>
                    <a:pt x="319" y="164"/>
                    <a:pt x="322" y="168"/>
                  </a:cubicBezTo>
                  <a:cubicBezTo>
                    <a:pt x="328" y="184"/>
                    <a:pt x="324" y="200"/>
                    <a:pt x="325" y="217"/>
                  </a:cubicBezTo>
                  <a:cubicBezTo>
                    <a:pt x="325" y="223"/>
                    <a:pt x="325" y="228"/>
                    <a:pt x="325" y="234"/>
                  </a:cubicBezTo>
                  <a:cubicBezTo>
                    <a:pt x="325" y="251"/>
                    <a:pt x="325" y="268"/>
                    <a:pt x="325" y="285"/>
                  </a:cubicBezTo>
                  <a:cubicBezTo>
                    <a:pt x="325" y="291"/>
                    <a:pt x="325" y="297"/>
                    <a:pt x="325" y="303"/>
                  </a:cubicBezTo>
                  <a:cubicBezTo>
                    <a:pt x="325" y="320"/>
                    <a:pt x="325" y="337"/>
                    <a:pt x="325" y="355"/>
                  </a:cubicBezTo>
                  <a:cubicBezTo>
                    <a:pt x="325" y="361"/>
                    <a:pt x="325" y="366"/>
                    <a:pt x="325" y="372"/>
                  </a:cubicBezTo>
                  <a:cubicBezTo>
                    <a:pt x="325" y="390"/>
                    <a:pt x="325" y="407"/>
                    <a:pt x="325" y="424"/>
                  </a:cubicBezTo>
                  <a:cubicBezTo>
                    <a:pt x="325" y="430"/>
                    <a:pt x="325" y="436"/>
                    <a:pt x="325" y="442"/>
                  </a:cubicBezTo>
                  <a:cubicBezTo>
                    <a:pt x="325" y="459"/>
                    <a:pt x="325" y="476"/>
                    <a:pt x="325" y="493"/>
                  </a:cubicBezTo>
                  <a:cubicBezTo>
                    <a:pt x="325" y="499"/>
                    <a:pt x="325" y="505"/>
                    <a:pt x="325" y="510"/>
                  </a:cubicBezTo>
                  <a:cubicBezTo>
                    <a:pt x="325" y="527"/>
                    <a:pt x="325" y="545"/>
                    <a:pt x="325" y="562"/>
                  </a:cubicBezTo>
                  <a:cubicBezTo>
                    <a:pt x="325" y="568"/>
                    <a:pt x="325" y="574"/>
                    <a:pt x="325" y="580"/>
                  </a:cubicBezTo>
                  <a:cubicBezTo>
                    <a:pt x="325" y="597"/>
                    <a:pt x="325" y="614"/>
                    <a:pt x="325" y="631"/>
                  </a:cubicBezTo>
                  <a:cubicBezTo>
                    <a:pt x="325" y="637"/>
                    <a:pt x="325" y="643"/>
                    <a:pt x="325" y="649"/>
                  </a:cubicBezTo>
                  <a:cubicBezTo>
                    <a:pt x="325" y="657"/>
                    <a:pt x="325" y="666"/>
                    <a:pt x="325" y="675"/>
                  </a:cubicBezTo>
                  <a:cubicBezTo>
                    <a:pt x="310" y="682"/>
                    <a:pt x="300" y="698"/>
                    <a:pt x="300" y="716"/>
                  </a:cubicBezTo>
                  <a:cubicBezTo>
                    <a:pt x="300" y="742"/>
                    <a:pt x="320" y="762"/>
                    <a:pt x="345" y="762"/>
                  </a:cubicBezTo>
                  <a:cubicBezTo>
                    <a:pt x="369" y="762"/>
                    <a:pt x="389" y="742"/>
                    <a:pt x="389" y="716"/>
                  </a:cubicBezTo>
                  <a:cubicBezTo>
                    <a:pt x="389" y="699"/>
                    <a:pt x="380" y="685"/>
                    <a:pt x="367" y="677"/>
                  </a:cubicBezTo>
                  <a:close/>
                  <a:moveTo>
                    <a:pt x="46" y="70"/>
                  </a:moveTo>
                  <a:cubicBezTo>
                    <a:pt x="31" y="70"/>
                    <a:pt x="19" y="58"/>
                    <a:pt x="19" y="44"/>
                  </a:cubicBezTo>
                  <a:cubicBezTo>
                    <a:pt x="19" y="30"/>
                    <a:pt x="31" y="19"/>
                    <a:pt x="46" y="19"/>
                  </a:cubicBezTo>
                  <a:cubicBezTo>
                    <a:pt x="60" y="19"/>
                    <a:pt x="72" y="30"/>
                    <a:pt x="72" y="44"/>
                  </a:cubicBezTo>
                  <a:cubicBezTo>
                    <a:pt x="72" y="58"/>
                    <a:pt x="60" y="70"/>
                    <a:pt x="46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09" name="Freeform 9"/>
            <p:cNvSpPr>
              <a:spLocks noEditPoints="1"/>
            </p:cNvSpPr>
            <p:nvPr/>
          </p:nvSpPr>
          <p:spPr bwMode="gray">
            <a:xfrm>
              <a:off x="4734" y="1147"/>
              <a:ext cx="923" cy="734"/>
            </a:xfrm>
            <a:custGeom>
              <a:avLst/>
              <a:gdLst>
                <a:gd name="T0" fmla="*/ 282 w 390"/>
                <a:gd name="T1" fmla="*/ 90 h 310"/>
                <a:gd name="T2" fmla="*/ 292 w 390"/>
                <a:gd name="T3" fmla="*/ 89 h 310"/>
                <a:gd name="T4" fmla="*/ 307 w 390"/>
                <a:gd name="T5" fmla="*/ 104 h 310"/>
                <a:gd name="T6" fmla="*/ 320 w 390"/>
                <a:gd name="T7" fmla="*/ 118 h 310"/>
                <a:gd name="T8" fmla="*/ 341 w 390"/>
                <a:gd name="T9" fmla="*/ 139 h 310"/>
                <a:gd name="T10" fmla="*/ 347 w 390"/>
                <a:gd name="T11" fmla="*/ 160 h 310"/>
                <a:gd name="T12" fmla="*/ 346 w 390"/>
                <a:gd name="T13" fmla="*/ 211 h 310"/>
                <a:gd name="T14" fmla="*/ 314 w 390"/>
                <a:gd name="T15" fmla="*/ 242 h 310"/>
                <a:gd name="T16" fmla="*/ 262 w 390"/>
                <a:gd name="T17" fmla="*/ 242 h 310"/>
                <a:gd name="T18" fmla="*/ 194 w 390"/>
                <a:gd name="T19" fmla="*/ 242 h 310"/>
                <a:gd name="T20" fmla="*/ 176 w 390"/>
                <a:gd name="T21" fmla="*/ 242 h 310"/>
                <a:gd name="T22" fmla="*/ 124 w 390"/>
                <a:gd name="T23" fmla="*/ 242 h 310"/>
                <a:gd name="T24" fmla="*/ 107 w 390"/>
                <a:gd name="T25" fmla="*/ 242 h 310"/>
                <a:gd name="T26" fmla="*/ 83 w 390"/>
                <a:gd name="T27" fmla="*/ 242 h 310"/>
                <a:gd name="T28" fmla="*/ 45 w 390"/>
                <a:gd name="T29" fmla="*/ 220 h 310"/>
                <a:gd name="T30" fmla="*/ 0 w 390"/>
                <a:gd name="T31" fmla="*/ 265 h 310"/>
                <a:gd name="T32" fmla="*/ 45 w 390"/>
                <a:gd name="T33" fmla="*/ 310 h 310"/>
                <a:gd name="T34" fmla="*/ 86 w 390"/>
                <a:gd name="T35" fmla="*/ 283 h 310"/>
                <a:gd name="T36" fmla="*/ 127 w 390"/>
                <a:gd name="T37" fmla="*/ 285 h 310"/>
                <a:gd name="T38" fmla="*/ 145 w 390"/>
                <a:gd name="T39" fmla="*/ 286 h 310"/>
                <a:gd name="T40" fmla="*/ 197 w 390"/>
                <a:gd name="T41" fmla="*/ 285 h 310"/>
                <a:gd name="T42" fmla="*/ 214 w 390"/>
                <a:gd name="T43" fmla="*/ 286 h 310"/>
                <a:gd name="T44" fmla="*/ 265 w 390"/>
                <a:gd name="T45" fmla="*/ 285 h 310"/>
                <a:gd name="T46" fmla="*/ 283 w 390"/>
                <a:gd name="T47" fmla="*/ 286 h 310"/>
                <a:gd name="T48" fmla="*/ 334 w 390"/>
                <a:gd name="T49" fmla="*/ 285 h 310"/>
                <a:gd name="T50" fmla="*/ 355 w 390"/>
                <a:gd name="T51" fmla="*/ 282 h 310"/>
                <a:gd name="T52" fmla="*/ 386 w 390"/>
                <a:gd name="T53" fmla="*/ 252 h 310"/>
                <a:gd name="T54" fmla="*/ 390 w 390"/>
                <a:gd name="T55" fmla="*/ 231 h 310"/>
                <a:gd name="T56" fmla="*/ 390 w 390"/>
                <a:gd name="T57" fmla="*/ 180 h 310"/>
                <a:gd name="T58" fmla="*/ 390 w 390"/>
                <a:gd name="T59" fmla="*/ 163 h 310"/>
                <a:gd name="T60" fmla="*/ 382 w 390"/>
                <a:gd name="T61" fmla="*/ 121 h 310"/>
                <a:gd name="T62" fmla="*/ 376 w 390"/>
                <a:gd name="T63" fmla="*/ 112 h 310"/>
                <a:gd name="T64" fmla="*/ 348 w 390"/>
                <a:gd name="T65" fmla="*/ 84 h 310"/>
                <a:gd name="T66" fmla="*/ 341 w 390"/>
                <a:gd name="T67" fmla="*/ 77 h 310"/>
                <a:gd name="T68" fmla="*/ 324 w 390"/>
                <a:gd name="T69" fmla="*/ 62 h 310"/>
                <a:gd name="T70" fmla="*/ 327 w 390"/>
                <a:gd name="T71" fmla="*/ 45 h 310"/>
                <a:gd name="T72" fmla="*/ 282 w 390"/>
                <a:gd name="T73" fmla="*/ 0 h 310"/>
                <a:gd name="T74" fmla="*/ 237 w 390"/>
                <a:gd name="T75" fmla="*/ 45 h 310"/>
                <a:gd name="T76" fmla="*/ 282 w 390"/>
                <a:gd name="T77" fmla="*/ 90 h 310"/>
                <a:gd name="T78" fmla="*/ 282 w 390"/>
                <a:gd name="T79" fmla="*/ 19 h 310"/>
                <a:gd name="T80" fmla="*/ 307 w 390"/>
                <a:gd name="T81" fmla="*/ 45 h 310"/>
                <a:gd name="T82" fmla="*/ 282 w 390"/>
                <a:gd name="T83" fmla="*/ 70 h 310"/>
                <a:gd name="T84" fmla="*/ 257 w 390"/>
                <a:gd name="T85" fmla="*/ 45 h 310"/>
                <a:gd name="T86" fmla="*/ 282 w 390"/>
                <a:gd name="T87" fmla="*/ 1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0" h="310">
                  <a:moveTo>
                    <a:pt x="282" y="90"/>
                  </a:moveTo>
                  <a:cubicBezTo>
                    <a:pt x="285" y="90"/>
                    <a:pt x="288" y="89"/>
                    <a:pt x="292" y="89"/>
                  </a:cubicBezTo>
                  <a:cubicBezTo>
                    <a:pt x="297" y="93"/>
                    <a:pt x="302" y="98"/>
                    <a:pt x="307" y="104"/>
                  </a:cubicBezTo>
                  <a:cubicBezTo>
                    <a:pt x="312" y="108"/>
                    <a:pt x="317" y="113"/>
                    <a:pt x="320" y="118"/>
                  </a:cubicBezTo>
                  <a:cubicBezTo>
                    <a:pt x="327" y="125"/>
                    <a:pt x="334" y="132"/>
                    <a:pt x="341" y="139"/>
                  </a:cubicBezTo>
                  <a:cubicBezTo>
                    <a:pt x="348" y="144"/>
                    <a:pt x="348" y="152"/>
                    <a:pt x="347" y="160"/>
                  </a:cubicBezTo>
                  <a:cubicBezTo>
                    <a:pt x="348" y="177"/>
                    <a:pt x="348" y="194"/>
                    <a:pt x="346" y="211"/>
                  </a:cubicBezTo>
                  <a:cubicBezTo>
                    <a:pt x="350" y="240"/>
                    <a:pt x="346" y="244"/>
                    <a:pt x="314" y="242"/>
                  </a:cubicBezTo>
                  <a:cubicBezTo>
                    <a:pt x="297" y="242"/>
                    <a:pt x="279" y="242"/>
                    <a:pt x="262" y="242"/>
                  </a:cubicBezTo>
                  <a:cubicBezTo>
                    <a:pt x="239" y="242"/>
                    <a:pt x="216" y="242"/>
                    <a:pt x="194" y="242"/>
                  </a:cubicBezTo>
                  <a:cubicBezTo>
                    <a:pt x="188" y="242"/>
                    <a:pt x="182" y="242"/>
                    <a:pt x="176" y="242"/>
                  </a:cubicBezTo>
                  <a:cubicBezTo>
                    <a:pt x="159" y="242"/>
                    <a:pt x="142" y="242"/>
                    <a:pt x="124" y="242"/>
                  </a:cubicBezTo>
                  <a:cubicBezTo>
                    <a:pt x="118" y="242"/>
                    <a:pt x="113" y="242"/>
                    <a:pt x="107" y="242"/>
                  </a:cubicBezTo>
                  <a:cubicBezTo>
                    <a:pt x="99" y="242"/>
                    <a:pt x="91" y="242"/>
                    <a:pt x="83" y="242"/>
                  </a:cubicBezTo>
                  <a:cubicBezTo>
                    <a:pt x="75" y="229"/>
                    <a:pt x="61" y="220"/>
                    <a:pt x="45" y="220"/>
                  </a:cubicBezTo>
                  <a:cubicBezTo>
                    <a:pt x="20" y="220"/>
                    <a:pt x="0" y="240"/>
                    <a:pt x="0" y="265"/>
                  </a:cubicBezTo>
                  <a:cubicBezTo>
                    <a:pt x="0" y="290"/>
                    <a:pt x="20" y="310"/>
                    <a:pt x="45" y="310"/>
                  </a:cubicBezTo>
                  <a:cubicBezTo>
                    <a:pt x="63" y="310"/>
                    <a:pt x="79" y="299"/>
                    <a:pt x="86" y="283"/>
                  </a:cubicBezTo>
                  <a:cubicBezTo>
                    <a:pt x="100" y="284"/>
                    <a:pt x="114" y="284"/>
                    <a:pt x="127" y="285"/>
                  </a:cubicBezTo>
                  <a:cubicBezTo>
                    <a:pt x="133" y="284"/>
                    <a:pt x="139" y="284"/>
                    <a:pt x="145" y="286"/>
                  </a:cubicBezTo>
                  <a:cubicBezTo>
                    <a:pt x="163" y="283"/>
                    <a:pt x="180" y="284"/>
                    <a:pt x="197" y="285"/>
                  </a:cubicBezTo>
                  <a:cubicBezTo>
                    <a:pt x="202" y="284"/>
                    <a:pt x="208" y="284"/>
                    <a:pt x="214" y="286"/>
                  </a:cubicBezTo>
                  <a:cubicBezTo>
                    <a:pt x="231" y="283"/>
                    <a:pt x="248" y="284"/>
                    <a:pt x="265" y="285"/>
                  </a:cubicBezTo>
                  <a:cubicBezTo>
                    <a:pt x="271" y="284"/>
                    <a:pt x="277" y="284"/>
                    <a:pt x="283" y="286"/>
                  </a:cubicBezTo>
                  <a:cubicBezTo>
                    <a:pt x="300" y="283"/>
                    <a:pt x="318" y="284"/>
                    <a:pt x="334" y="285"/>
                  </a:cubicBezTo>
                  <a:cubicBezTo>
                    <a:pt x="341" y="284"/>
                    <a:pt x="348" y="283"/>
                    <a:pt x="355" y="282"/>
                  </a:cubicBezTo>
                  <a:cubicBezTo>
                    <a:pt x="368" y="275"/>
                    <a:pt x="378" y="265"/>
                    <a:pt x="386" y="252"/>
                  </a:cubicBezTo>
                  <a:cubicBezTo>
                    <a:pt x="388" y="245"/>
                    <a:pt x="388" y="239"/>
                    <a:pt x="390" y="231"/>
                  </a:cubicBezTo>
                  <a:cubicBezTo>
                    <a:pt x="390" y="214"/>
                    <a:pt x="390" y="197"/>
                    <a:pt x="390" y="180"/>
                  </a:cubicBezTo>
                  <a:cubicBezTo>
                    <a:pt x="390" y="174"/>
                    <a:pt x="390" y="169"/>
                    <a:pt x="390" y="163"/>
                  </a:cubicBezTo>
                  <a:cubicBezTo>
                    <a:pt x="390" y="149"/>
                    <a:pt x="389" y="135"/>
                    <a:pt x="382" y="121"/>
                  </a:cubicBezTo>
                  <a:cubicBezTo>
                    <a:pt x="380" y="118"/>
                    <a:pt x="378" y="115"/>
                    <a:pt x="376" y="112"/>
                  </a:cubicBezTo>
                  <a:cubicBezTo>
                    <a:pt x="365" y="104"/>
                    <a:pt x="356" y="94"/>
                    <a:pt x="348" y="84"/>
                  </a:cubicBezTo>
                  <a:cubicBezTo>
                    <a:pt x="346" y="82"/>
                    <a:pt x="343" y="79"/>
                    <a:pt x="341" y="77"/>
                  </a:cubicBezTo>
                  <a:cubicBezTo>
                    <a:pt x="335" y="72"/>
                    <a:pt x="329" y="67"/>
                    <a:pt x="324" y="62"/>
                  </a:cubicBezTo>
                  <a:cubicBezTo>
                    <a:pt x="326" y="56"/>
                    <a:pt x="327" y="51"/>
                    <a:pt x="327" y="45"/>
                  </a:cubicBezTo>
                  <a:cubicBezTo>
                    <a:pt x="327" y="20"/>
                    <a:pt x="307" y="0"/>
                    <a:pt x="282" y="0"/>
                  </a:cubicBezTo>
                  <a:cubicBezTo>
                    <a:pt x="257" y="0"/>
                    <a:pt x="237" y="20"/>
                    <a:pt x="237" y="45"/>
                  </a:cubicBezTo>
                  <a:cubicBezTo>
                    <a:pt x="237" y="70"/>
                    <a:pt x="257" y="90"/>
                    <a:pt x="282" y="90"/>
                  </a:cubicBezTo>
                  <a:close/>
                  <a:moveTo>
                    <a:pt x="282" y="19"/>
                  </a:moveTo>
                  <a:cubicBezTo>
                    <a:pt x="296" y="19"/>
                    <a:pt x="307" y="31"/>
                    <a:pt x="307" y="45"/>
                  </a:cubicBezTo>
                  <a:cubicBezTo>
                    <a:pt x="307" y="59"/>
                    <a:pt x="296" y="70"/>
                    <a:pt x="282" y="70"/>
                  </a:cubicBezTo>
                  <a:cubicBezTo>
                    <a:pt x="268" y="70"/>
                    <a:pt x="257" y="59"/>
                    <a:pt x="257" y="45"/>
                  </a:cubicBezTo>
                  <a:cubicBezTo>
                    <a:pt x="257" y="31"/>
                    <a:pt x="268" y="19"/>
                    <a:pt x="28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10" name="Freeform 10"/>
            <p:cNvSpPr>
              <a:spLocks noEditPoints="1"/>
            </p:cNvSpPr>
            <p:nvPr/>
          </p:nvSpPr>
          <p:spPr bwMode="gray">
            <a:xfrm>
              <a:off x="2368" y="293"/>
              <a:ext cx="700" cy="527"/>
            </a:xfrm>
            <a:custGeom>
              <a:avLst/>
              <a:gdLst>
                <a:gd name="T0" fmla="*/ 45 w 296"/>
                <a:gd name="T1" fmla="*/ 223 h 223"/>
                <a:gd name="T2" fmla="*/ 90 w 296"/>
                <a:gd name="T3" fmla="*/ 178 h 223"/>
                <a:gd name="T4" fmla="*/ 88 w 296"/>
                <a:gd name="T5" fmla="*/ 166 h 223"/>
                <a:gd name="T6" fmla="*/ 94 w 296"/>
                <a:gd name="T7" fmla="*/ 160 h 223"/>
                <a:gd name="T8" fmla="*/ 127 w 296"/>
                <a:gd name="T9" fmla="*/ 149 h 223"/>
                <a:gd name="T10" fmla="*/ 179 w 296"/>
                <a:gd name="T11" fmla="*/ 142 h 223"/>
                <a:gd name="T12" fmla="*/ 239 w 296"/>
                <a:gd name="T13" fmla="*/ 86 h 223"/>
                <a:gd name="T14" fmla="*/ 251 w 296"/>
                <a:gd name="T15" fmla="*/ 88 h 223"/>
                <a:gd name="T16" fmla="*/ 296 w 296"/>
                <a:gd name="T17" fmla="*/ 44 h 223"/>
                <a:gd name="T18" fmla="*/ 251 w 296"/>
                <a:gd name="T19" fmla="*/ 0 h 223"/>
                <a:gd name="T20" fmla="*/ 206 w 296"/>
                <a:gd name="T21" fmla="*/ 44 h 223"/>
                <a:gd name="T22" fmla="*/ 208 w 296"/>
                <a:gd name="T23" fmla="*/ 57 h 223"/>
                <a:gd name="T24" fmla="*/ 191 w 296"/>
                <a:gd name="T25" fmla="*/ 74 h 223"/>
                <a:gd name="T26" fmla="*/ 106 w 296"/>
                <a:gd name="T27" fmla="*/ 106 h 223"/>
                <a:gd name="T28" fmla="*/ 82 w 296"/>
                <a:gd name="T29" fmla="*/ 114 h 223"/>
                <a:gd name="T30" fmla="*/ 78 w 296"/>
                <a:gd name="T31" fmla="*/ 117 h 223"/>
                <a:gd name="T32" fmla="*/ 72 w 296"/>
                <a:gd name="T33" fmla="*/ 121 h 223"/>
                <a:gd name="T34" fmla="*/ 68 w 296"/>
                <a:gd name="T35" fmla="*/ 125 h 223"/>
                <a:gd name="T36" fmla="*/ 65 w 296"/>
                <a:gd name="T37" fmla="*/ 128 h 223"/>
                <a:gd name="T38" fmla="*/ 65 w 296"/>
                <a:gd name="T39" fmla="*/ 127 h 223"/>
                <a:gd name="T40" fmla="*/ 62 w 296"/>
                <a:gd name="T41" fmla="*/ 131 h 223"/>
                <a:gd name="T42" fmla="*/ 58 w 296"/>
                <a:gd name="T43" fmla="*/ 135 h 223"/>
                <a:gd name="T44" fmla="*/ 57 w 296"/>
                <a:gd name="T45" fmla="*/ 135 h 223"/>
                <a:gd name="T46" fmla="*/ 45 w 296"/>
                <a:gd name="T47" fmla="*/ 134 h 223"/>
                <a:gd name="T48" fmla="*/ 0 w 296"/>
                <a:gd name="T49" fmla="*/ 178 h 223"/>
                <a:gd name="T50" fmla="*/ 45 w 296"/>
                <a:gd name="T51" fmla="*/ 223 h 223"/>
                <a:gd name="T52" fmla="*/ 251 w 296"/>
                <a:gd name="T53" fmla="*/ 20 h 223"/>
                <a:gd name="T54" fmla="*/ 276 w 296"/>
                <a:gd name="T55" fmla="*/ 44 h 223"/>
                <a:gd name="T56" fmla="*/ 251 w 296"/>
                <a:gd name="T57" fmla="*/ 68 h 223"/>
                <a:gd name="T58" fmla="*/ 225 w 296"/>
                <a:gd name="T59" fmla="*/ 44 h 223"/>
                <a:gd name="T60" fmla="*/ 251 w 296"/>
                <a:gd name="T61" fmla="*/ 20 h 223"/>
                <a:gd name="T62" fmla="*/ 45 w 296"/>
                <a:gd name="T63" fmla="*/ 153 h 223"/>
                <a:gd name="T64" fmla="*/ 70 w 296"/>
                <a:gd name="T65" fmla="*/ 178 h 223"/>
                <a:gd name="T66" fmla="*/ 45 w 296"/>
                <a:gd name="T67" fmla="*/ 204 h 223"/>
                <a:gd name="T68" fmla="*/ 20 w 296"/>
                <a:gd name="T69" fmla="*/ 178 h 223"/>
                <a:gd name="T70" fmla="*/ 45 w 296"/>
                <a:gd name="T71" fmla="*/ 15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6" h="223">
                  <a:moveTo>
                    <a:pt x="45" y="223"/>
                  </a:moveTo>
                  <a:cubicBezTo>
                    <a:pt x="70" y="223"/>
                    <a:pt x="90" y="203"/>
                    <a:pt x="90" y="178"/>
                  </a:cubicBezTo>
                  <a:cubicBezTo>
                    <a:pt x="90" y="174"/>
                    <a:pt x="89" y="170"/>
                    <a:pt x="88" y="166"/>
                  </a:cubicBezTo>
                  <a:cubicBezTo>
                    <a:pt x="90" y="164"/>
                    <a:pt x="92" y="162"/>
                    <a:pt x="94" y="160"/>
                  </a:cubicBezTo>
                  <a:cubicBezTo>
                    <a:pt x="103" y="149"/>
                    <a:pt x="114" y="145"/>
                    <a:pt x="127" y="149"/>
                  </a:cubicBezTo>
                  <a:cubicBezTo>
                    <a:pt x="144" y="146"/>
                    <a:pt x="162" y="150"/>
                    <a:pt x="179" y="142"/>
                  </a:cubicBezTo>
                  <a:cubicBezTo>
                    <a:pt x="201" y="126"/>
                    <a:pt x="219" y="106"/>
                    <a:pt x="239" y="86"/>
                  </a:cubicBezTo>
                  <a:cubicBezTo>
                    <a:pt x="243" y="87"/>
                    <a:pt x="247" y="88"/>
                    <a:pt x="251" y="88"/>
                  </a:cubicBezTo>
                  <a:cubicBezTo>
                    <a:pt x="275" y="88"/>
                    <a:pt x="296" y="68"/>
                    <a:pt x="296" y="44"/>
                  </a:cubicBezTo>
                  <a:cubicBezTo>
                    <a:pt x="296" y="20"/>
                    <a:pt x="275" y="0"/>
                    <a:pt x="251" y="0"/>
                  </a:cubicBezTo>
                  <a:cubicBezTo>
                    <a:pt x="226" y="0"/>
                    <a:pt x="206" y="20"/>
                    <a:pt x="206" y="44"/>
                  </a:cubicBezTo>
                  <a:cubicBezTo>
                    <a:pt x="206" y="49"/>
                    <a:pt x="207" y="53"/>
                    <a:pt x="208" y="57"/>
                  </a:cubicBezTo>
                  <a:cubicBezTo>
                    <a:pt x="202" y="63"/>
                    <a:pt x="195" y="68"/>
                    <a:pt x="191" y="74"/>
                  </a:cubicBezTo>
                  <a:cubicBezTo>
                    <a:pt x="169" y="104"/>
                    <a:pt x="141" y="112"/>
                    <a:pt x="106" y="106"/>
                  </a:cubicBezTo>
                  <a:cubicBezTo>
                    <a:pt x="98" y="109"/>
                    <a:pt x="90" y="112"/>
                    <a:pt x="82" y="114"/>
                  </a:cubicBezTo>
                  <a:cubicBezTo>
                    <a:pt x="80" y="115"/>
                    <a:pt x="79" y="116"/>
                    <a:pt x="78" y="117"/>
                  </a:cubicBezTo>
                  <a:cubicBezTo>
                    <a:pt x="77" y="120"/>
                    <a:pt x="75" y="121"/>
                    <a:pt x="72" y="121"/>
                  </a:cubicBezTo>
                  <a:cubicBezTo>
                    <a:pt x="71" y="122"/>
                    <a:pt x="70" y="123"/>
                    <a:pt x="68" y="125"/>
                  </a:cubicBezTo>
                  <a:cubicBezTo>
                    <a:pt x="68" y="125"/>
                    <a:pt x="66" y="127"/>
                    <a:pt x="65" y="128"/>
                  </a:cubicBezTo>
                  <a:cubicBezTo>
                    <a:pt x="65" y="127"/>
                    <a:pt x="65" y="127"/>
                    <a:pt x="65" y="127"/>
                  </a:cubicBezTo>
                  <a:cubicBezTo>
                    <a:pt x="64" y="129"/>
                    <a:pt x="63" y="130"/>
                    <a:pt x="62" y="131"/>
                  </a:cubicBezTo>
                  <a:cubicBezTo>
                    <a:pt x="61" y="133"/>
                    <a:pt x="59" y="133"/>
                    <a:pt x="58" y="135"/>
                  </a:cubicBezTo>
                  <a:cubicBezTo>
                    <a:pt x="58" y="135"/>
                    <a:pt x="58" y="135"/>
                    <a:pt x="57" y="135"/>
                  </a:cubicBezTo>
                  <a:cubicBezTo>
                    <a:pt x="53" y="134"/>
                    <a:pt x="49" y="134"/>
                    <a:pt x="45" y="134"/>
                  </a:cubicBezTo>
                  <a:cubicBezTo>
                    <a:pt x="20" y="134"/>
                    <a:pt x="0" y="154"/>
                    <a:pt x="0" y="178"/>
                  </a:cubicBezTo>
                  <a:cubicBezTo>
                    <a:pt x="0" y="203"/>
                    <a:pt x="20" y="223"/>
                    <a:pt x="45" y="223"/>
                  </a:cubicBezTo>
                  <a:close/>
                  <a:moveTo>
                    <a:pt x="251" y="20"/>
                  </a:moveTo>
                  <a:cubicBezTo>
                    <a:pt x="265" y="20"/>
                    <a:pt x="276" y="31"/>
                    <a:pt x="276" y="44"/>
                  </a:cubicBezTo>
                  <a:cubicBezTo>
                    <a:pt x="276" y="57"/>
                    <a:pt x="265" y="68"/>
                    <a:pt x="251" y="68"/>
                  </a:cubicBezTo>
                  <a:cubicBezTo>
                    <a:pt x="237" y="68"/>
                    <a:pt x="225" y="57"/>
                    <a:pt x="225" y="44"/>
                  </a:cubicBezTo>
                  <a:cubicBezTo>
                    <a:pt x="225" y="31"/>
                    <a:pt x="237" y="20"/>
                    <a:pt x="251" y="20"/>
                  </a:cubicBezTo>
                  <a:close/>
                  <a:moveTo>
                    <a:pt x="45" y="153"/>
                  </a:moveTo>
                  <a:cubicBezTo>
                    <a:pt x="59" y="153"/>
                    <a:pt x="70" y="164"/>
                    <a:pt x="70" y="178"/>
                  </a:cubicBezTo>
                  <a:cubicBezTo>
                    <a:pt x="70" y="192"/>
                    <a:pt x="59" y="204"/>
                    <a:pt x="45" y="204"/>
                  </a:cubicBezTo>
                  <a:cubicBezTo>
                    <a:pt x="31" y="204"/>
                    <a:pt x="20" y="192"/>
                    <a:pt x="20" y="178"/>
                  </a:cubicBezTo>
                  <a:cubicBezTo>
                    <a:pt x="20" y="164"/>
                    <a:pt x="31" y="153"/>
                    <a:pt x="45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11" name="Freeform 11"/>
            <p:cNvSpPr>
              <a:spLocks noEditPoints="1"/>
            </p:cNvSpPr>
            <p:nvPr/>
          </p:nvSpPr>
          <p:spPr bwMode="gray">
            <a:xfrm>
              <a:off x="4036" y="219"/>
              <a:ext cx="1637" cy="3931"/>
            </a:xfrm>
            <a:custGeom>
              <a:avLst/>
              <a:gdLst>
                <a:gd name="T0" fmla="*/ 412 w 692"/>
                <a:gd name="T1" fmla="*/ 899 h 1661"/>
                <a:gd name="T2" fmla="*/ 154 w 692"/>
                <a:gd name="T3" fmla="*/ 899 h 1661"/>
                <a:gd name="T4" fmla="*/ 135 w 692"/>
                <a:gd name="T5" fmla="*/ 483 h 1661"/>
                <a:gd name="T6" fmla="*/ 95 w 692"/>
                <a:gd name="T7" fmla="*/ 404 h 1661"/>
                <a:gd name="T8" fmla="*/ 51 w 692"/>
                <a:gd name="T9" fmla="*/ 359 h 1661"/>
                <a:gd name="T10" fmla="*/ 84 w 692"/>
                <a:gd name="T11" fmla="*/ 92 h 1661"/>
                <a:gd name="T12" fmla="*/ 98 w 692"/>
                <a:gd name="T13" fmla="*/ 0 h 1661"/>
                <a:gd name="T14" fmla="*/ 42 w 692"/>
                <a:gd name="T15" fmla="*/ 73 h 1661"/>
                <a:gd name="T16" fmla="*/ 20 w 692"/>
                <a:gd name="T17" fmla="*/ 390 h 1661"/>
                <a:gd name="T18" fmla="*/ 65 w 692"/>
                <a:gd name="T19" fmla="*/ 434 h 1661"/>
                <a:gd name="T20" fmla="*/ 92 w 692"/>
                <a:gd name="T21" fmla="*/ 531 h 1661"/>
                <a:gd name="T22" fmla="*/ 92 w 692"/>
                <a:gd name="T23" fmla="*/ 617 h 1661"/>
                <a:gd name="T24" fmla="*/ 92 w 692"/>
                <a:gd name="T25" fmla="*/ 738 h 1661"/>
                <a:gd name="T26" fmla="*/ 92 w 692"/>
                <a:gd name="T27" fmla="*/ 824 h 1661"/>
                <a:gd name="T28" fmla="*/ 106 w 692"/>
                <a:gd name="T29" fmla="*/ 924 h 1661"/>
                <a:gd name="T30" fmla="*/ 175 w 692"/>
                <a:gd name="T31" fmla="*/ 942 h 1661"/>
                <a:gd name="T32" fmla="*/ 298 w 692"/>
                <a:gd name="T33" fmla="*/ 942 h 1661"/>
                <a:gd name="T34" fmla="*/ 381 w 692"/>
                <a:gd name="T35" fmla="*/ 942 h 1661"/>
                <a:gd name="T36" fmla="*/ 505 w 692"/>
                <a:gd name="T37" fmla="*/ 942 h 1661"/>
                <a:gd name="T38" fmla="*/ 515 w 692"/>
                <a:gd name="T39" fmla="*/ 969 h 1661"/>
                <a:gd name="T40" fmla="*/ 429 w 692"/>
                <a:gd name="T41" fmla="*/ 968 h 1661"/>
                <a:gd name="T42" fmla="*/ 342 w 692"/>
                <a:gd name="T43" fmla="*/ 968 h 1661"/>
                <a:gd name="T44" fmla="*/ 222 w 692"/>
                <a:gd name="T45" fmla="*/ 968 h 1661"/>
                <a:gd name="T46" fmla="*/ 88 w 692"/>
                <a:gd name="T47" fmla="*/ 1037 h 1661"/>
                <a:gd name="T48" fmla="*/ 106 w 692"/>
                <a:gd name="T49" fmla="*/ 1661 h 1661"/>
                <a:gd name="T50" fmla="*/ 125 w 692"/>
                <a:gd name="T51" fmla="*/ 1332 h 1661"/>
                <a:gd name="T52" fmla="*/ 210 w 692"/>
                <a:gd name="T53" fmla="*/ 1298 h 1661"/>
                <a:gd name="T54" fmla="*/ 249 w 692"/>
                <a:gd name="T55" fmla="*/ 1196 h 1661"/>
                <a:gd name="T56" fmla="*/ 284 w 692"/>
                <a:gd name="T57" fmla="*/ 1093 h 1661"/>
                <a:gd name="T58" fmla="*/ 375 w 692"/>
                <a:gd name="T59" fmla="*/ 1118 h 1661"/>
                <a:gd name="T60" fmla="*/ 335 w 692"/>
                <a:gd name="T61" fmla="*/ 1049 h 1661"/>
                <a:gd name="T62" fmla="*/ 263 w 692"/>
                <a:gd name="T63" fmla="*/ 1048 h 1661"/>
                <a:gd name="T64" fmla="*/ 206 w 692"/>
                <a:gd name="T65" fmla="*/ 1176 h 1661"/>
                <a:gd name="T66" fmla="*/ 167 w 692"/>
                <a:gd name="T67" fmla="*/ 1268 h 1661"/>
                <a:gd name="T68" fmla="*/ 125 w 692"/>
                <a:gd name="T69" fmla="*/ 1131 h 1661"/>
                <a:gd name="T70" fmla="*/ 167 w 692"/>
                <a:gd name="T71" fmla="*/ 1017 h 1661"/>
                <a:gd name="T72" fmla="*/ 515 w 692"/>
                <a:gd name="T73" fmla="*/ 1012 h 1661"/>
                <a:gd name="T74" fmla="*/ 566 w 692"/>
                <a:gd name="T75" fmla="*/ 1033 h 1661"/>
                <a:gd name="T76" fmla="*/ 486 w 692"/>
                <a:gd name="T77" fmla="*/ 1049 h 1661"/>
                <a:gd name="T78" fmla="*/ 394 w 692"/>
                <a:gd name="T79" fmla="*/ 1123 h 1661"/>
                <a:gd name="T80" fmla="*/ 380 w 692"/>
                <a:gd name="T81" fmla="*/ 1210 h 1661"/>
                <a:gd name="T82" fmla="*/ 468 w 692"/>
                <a:gd name="T83" fmla="*/ 1107 h 1661"/>
                <a:gd name="T84" fmla="*/ 595 w 692"/>
                <a:gd name="T85" fmla="*/ 1116 h 1661"/>
                <a:gd name="T86" fmla="*/ 588 w 692"/>
                <a:gd name="T87" fmla="*/ 1022 h 1661"/>
                <a:gd name="T88" fmla="*/ 607 w 692"/>
                <a:gd name="T89" fmla="*/ 940 h 1661"/>
                <a:gd name="T90" fmla="*/ 647 w 692"/>
                <a:gd name="T91" fmla="*/ 874 h 1661"/>
                <a:gd name="T92" fmla="*/ 98 w 692"/>
                <a:gd name="T93" fmla="*/ 75 h 1661"/>
                <a:gd name="T94" fmla="*/ 167 w 692"/>
                <a:gd name="T95" fmla="*/ 1288 h 1661"/>
                <a:gd name="T96" fmla="*/ 140 w 692"/>
                <a:gd name="T97" fmla="*/ 1313 h 1661"/>
                <a:gd name="T98" fmla="*/ 106 w 692"/>
                <a:gd name="T99" fmla="*/ 1641 h 1661"/>
                <a:gd name="T100" fmla="*/ 133 w 692"/>
                <a:gd name="T101" fmla="*/ 1613 h 1661"/>
                <a:gd name="T102" fmla="*/ 595 w 692"/>
                <a:gd name="T103" fmla="*/ 1097 h 1661"/>
                <a:gd name="T104" fmla="*/ 586 w 692"/>
                <a:gd name="T105" fmla="*/ 984 h 1661"/>
                <a:gd name="T106" fmla="*/ 559 w 692"/>
                <a:gd name="T107" fmla="*/ 954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92" h="1661">
                  <a:moveTo>
                    <a:pt x="647" y="874"/>
                  </a:moveTo>
                  <a:cubicBezTo>
                    <a:pt x="630" y="874"/>
                    <a:pt x="614" y="885"/>
                    <a:pt x="607" y="900"/>
                  </a:cubicBezTo>
                  <a:cubicBezTo>
                    <a:pt x="594" y="900"/>
                    <a:pt x="418" y="899"/>
                    <a:pt x="412" y="899"/>
                  </a:cubicBezTo>
                  <a:cubicBezTo>
                    <a:pt x="395" y="899"/>
                    <a:pt x="378" y="899"/>
                    <a:pt x="361" y="899"/>
                  </a:cubicBezTo>
                  <a:cubicBezTo>
                    <a:pt x="355" y="899"/>
                    <a:pt x="349" y="899"/>
                    <a:pt x="343" y="899"/>
                  </a:cubicBezTo>
                  <a:cubicBezTo>
                    <a:pt x="326" y="899"/>
                    <a:pt x="171" y="899"/>
                    <a:pt x="154" y="899"/>
                  </a:cubicBezTo>
                  <a:cubicBezTo>
                    <a:pt x="149" y="900"/>
                    <a:pt x="144" y="901"/>
                    <a:pt x="140" y="897"/>
                  </a:cubicBezTo>
                  <a:cubicBezTo>
                    <a:pt x="127" y="880"/>
                    <a:pt x="136" y="862"/>
                    <a:pt x="135" y="845"/>
                  </a:cubicBezTo>
                  <a:cubicBezTo>
                    <a:pt x="133" y="839"/>
                    <a:pt x="133" y="489"/>
                    <a:pt x="135" y="483"/>
                  </a:cubicBezTo>
                  <a:cubicBezTo>
                    <a:pt x="133" y="468"/>
                    <a:pt x="135" y="452"/>
                    <a:pt x="128" y="438"/>
                  </a:cubicBezTo>
                  <a:cubicBezTo>
                    <a:pt x="126" y="436"/>
                    <a:pt x="124" y="434"/>
                    <a:pt x="123" y="432"/>
                  </a:cubicBezTo>
                  <a:cubicBezTo>
                    <a:pt x="113" y="423"/>
                    <a:pt x="104" y="414"/>
                    <a:pt x="95" y="404"/>
                  </a:cubicBezTo>
                  <a:cubicBezTo>
                    <a:pt x="91" y="401"/>
                    <a:pt x="87" y="398"/>
                    <a:pt x="85" y="393"/>
                  </a:cubicBezTo>
                  <a:cubicBezTo>
                    <a:pt x="79" y="387"/>
                    <a:pt x="71" y="380"/>
                    <a:pt x="65" y="373"/>
                  </a:cubicBezTo>
                  <a:cubicBezTo>
                    <a:pt x="59" y="369"/>
                    <a:pt x="54" y="364"/>
                    <a:pt x="51" y="359"/>
                  </a:cubicBezTo>
                  <a:cubicBezTo>
                    <a:pt x="37" y="348"/>
                    <a:pt x="44" y="168"/>
                    <a:pt x="44" y="162"/>
                  </a:cubicBezTo>
                  <a:cubicBezTo>
                    <a:pt x="39" y="143"/>
                    <a:pt x="45" y="126"/>
                    <a:pt x="62" y="113"/>
                  </a:cubicBezTo>
                  <a:cubicBezTo>
                    <a:pt x="70" y="107"/>
                    <a:pt x="77" y="99"/>
                    <a:pt x="84" y="92"/>
                  </a:cubicBezTo>
                  <a:cubicBezTo>
                    <a:pt x="88" y="93"/>
                    <a:pt x="93" y="94"/>
                    <a:pt x="98" y="94"/>
                  </a:cubicBezTo>
                  <a:cubicBezTo>
                    <a:pt x="124" y="94"/>
                    <a:pt x="145" y="73"/>
                    <a:pt x="145" y="47"/>
                  </a:cubicBezTo>
                  <a:cubicBezTo>
                    <a:pt x="145" y="21"/>
                    <a:pt x="124" y="0"/>
                    <a:pt x="98" y="0"/>
                  </a:cubicBezTo>
                  <a:cubicBezTo>
                    <a:pt x="72" y="0"/>
                    <a:pt x="51" y="21"/>
                    <a:pt x="51" y="47"/>
                  </a:cubicBezTo>
                  <a:cubicBezTo>
                    <a:pt x="51" y="53"/>
                    <a:pt x="52" y="58"/>
                    <a:pt x="53" y="63"/>
                  </a:cubicBezTo>
                  <a:cubicBezTo>
                    <a:pt x="50" y="66"/>
                    <a:pt x="46" y="70"/>
                    <a:pt x="42" y="73"/>
                  </a:cubicBezTo>
                  <a:cubicBezTo>
                    <a:pt x="23" y="93"/>
                    <a:pt x="0" y="110"/>
                    <a:pt x="0" y="142"/>
                  </a:cubicBezTo>
                  <a:cubicBezTo>
                    <a:pt x="2" y="148"/>
                    <a:pt x="2" y="358"/>
                    <a:pt x="2" y="362"/>
                  </a:cubicBezTo>
                  <a:cubicBezTo>
                    <a:pt x="6" y="373"/>
                    <a:pt x="13" y="381"/>
                    <a:pt x="20" y="390"/>
                  </a:cubicBezTo>
                  <a:cubicBezTo>
                    <a:pt x="25" y="394"/>
                    <a:pt x="29" y="399"/>
                    <a:pt x="34" y="404"/>
                  </a:cubicBezTo>
                  <a:cubicBezTo>
                    <a:pt x="41" y="410"/>
                    <a:pt x="48" y="418"/>
                    <a:pt x="54" y="424"/>
                  </a:cubicBezTo>
                  <a:cubicBezTo>
                    <a:pt x="58" y="428"/>
                    <a:pt x="61" y="431"/>
                    <a:pt x="65" y="434"/>
                  </a:cubicBezTo>
                  <a:cubicBezTo>
                    <a:pt x="74" y="441"/>
                    <a:pt x="81" y="450"/>
                    <a:pt x="89" y="459"/>
                  </a:cubicBezTo>
                  <a:cubicBezTo>
                    <a:pt x="95" y="465"/>
                    <a:pt x="92" y="473"/>
                    <a:pt x="92" y="479"/>
                  </a:cubicBezTo>
                  <a:cubicBezTo>
                    <a:pt x="92" y="497"/>
                    <a:pt x="92" y="514"/>
                    <a:pt x="92" y="531"/>
                  </a:cubicBezTo>
                  <a:cubicBezTo>
                    <a:pt x="92" y="537"/>
                    <a:pt x="92" y="543"/>
                    <a:pt x="92" y="549"/>
                  </a:cubicBezTo>
                  <a:cubicBezTo>
                    <a:pt x="92" y="566"/>
                    <a:pt x="92" y="583"/>
                    <a:pt x="92" y="600"/>
                  </a:cubicBezTo>
                  <a:cubicBezTo>
                    <a:pt x="92" y="606"/>
                    <a:pt x="92" y="611"/>
                    <a:pt x="92" y="617"/>
                  </a:cubicBezTo>
                  <a:cubicBezTo>
                    <a:pt x="92" y="634"/>
                    <a:pt x="92" y="652"/>
                    <a:pt x="92" y="669"/>
                  </a:cubicBezTo>
                  <a:cubicBezTo>
                    <a:pt x="92" y="675"/>
                    <a:pt x="92" y="681"/>
                    <a:pt x="92" y="687"/>
                  </a:cubicBezTo>
                  <a:cubicBezTo>
                    <a:pt x="92" y="704"/>
                    <a:pt x="92" y="720"/>
                    <a:pt x="92" y="738"/>
                  </a:cubicBezTo>
                  <a:cubicBezTo>
                    <a:pt x="92" y="743"/>
                    <a:pt x="92" y="749"/>
                    <a:pt x="92" y="755"/>
                  </a:cubicBezTo>
                  <a:cubicBezTo>
                    <a:pt x="92" y="772"/>
                    <a:pt x="92" y="790"/>
                    <a:pt x="92" y="807"/>
                  </a:cubicBezTo>
                  <a:cubicBezTo>
                    <a:pt x="92" y="813"/>
                    <a:pt x="92" y="819"/>
                    <a:pt x="92" y="824"/>
                  </a:cubicBezTo>
                  <a:cubicBezTo>
                    <a:pt x="92" y="841"/>
                    <a:pt x="92" y="858"/>
                    <a:pt x="92" y="875"/>
                  </a:cubicBezTo>
                  <a:cubicBezTo>
                    <a:pt x="92" y="881"/>
                    <a:pt x="92" y="887"/>
                    <a:pt x="92" y="893"/>
                  </a:cubicBezTo>
                  <a:cubicBezTo>
                    <a:pt x="95" y="904"/>
                    <a:pt x="98" y="914"/>
                    <a:pt x="106" y="924"/>
                  </a:cubicBezTo>
                  <a:cubicBezTo>
                    <a:pt x="109" y="927"/>
                    <a:pt x="112" y="931"/>
                    <a:pt x="116" y="934"/>
                  </a:cubicBezTo>
                  <a:cubicBezTo>
                    <a:pt x="130" y="941"/>
                    <a:pt x="146" y="942"/>
                    <a:pt x="160" y="942"/>
                  </a:cubicBezTo>
                  <a:cubicBezTo>
                    <a:pt x="165" y="942"/>
                    <a:pt x="170" y="942"/>
                    <a:pt x="175" y="942"/>
                  </a:cubicBezTo>
                  <a:cubicBezTo>
                    <a:pt x="193" y="942"/>
                    <a:pt x="211" y="942"/>
                    <a:pt x="230" y="942"/>
                  </a:cubicBezTo>
                  <a:cubicBezTo>
                    <a:pt x="234" y="942"/>
                    <a:pt x="239" y="942"/>
                    <a:pt x="244" y="942"/>
                  </a:cubicBezTo>
                  <a:cubicBezTo>
                    <a:pt x="262" y="942"/>
                    <a:pt x="280" y="942"/>
                    <a:pt x="298" y="942"/>
                  </a:cubicBezTo>
                  <a:cubicBezTo>
                    <a:pt x="303" y="942"/>
                    <a:pt x="308" y="942"/>
                    <a:pt x="312" y="942"/>
                  </a:cubicBezTo>
                  <a:cubicBezTo>
                    <a:pt x="331" y="942"/>
                    <a:pt x="349" y="942"/>
                    <a:pt x="367" y="942"/>
                  </a:cubicBezTo>
                  <a:cubicBezTo>
                    <a:pt x="372" y="942"/>
                    <a:pt x="376" y="942"/>
                    <a:pt x="381" y="942"/>
                  </a:cubicBezTo>
                  <a:cubicBezTo>
                    <a:pt x="400" y="942"/>
                    <a:pt x="418" y="942"/>
                    <a:pt x="436" y="942"/>
                  </a:cubicBezTo>
                  <a:cubicBezTo>
                    <a:pt x="441" y="942"/>
                    <a:pt x="446" y="942"/>
                    <a:pt x="450" y="942"/>
                  </a:cubicBezTo>
                  <a:cubicBezTo>
                    <a:pt x="468" y="942"/>
                    <a:pt x="487" y="942"/>
                    <a:pt x="505" y="942"/>
                  </a:cubicBezTo>
                  <a:cubicBezTo>
                    <a:pt x="510" y="942"/>
                    <a:pt x="514" y="942"/>
                    <a:pt x="519" y="942"/>
                  </a:cubicBezTo>
                  <a:cubicBezTo>
                    <a:pt x="525" y="942"/>
                    <a:pt x="530" y="941"/>
                    <a:pt x="536" y="941"/>
                  </a:cubicBezTo>
                  <a:cubicBezTo>
                    <a:pt x="526" y="948"/>
                    <a:pt x="519" y="957"/>
                    <a:pt x="515" y="969"/>
                  </a:cubicBezTo>
                  <a:cubicBezTo>
                    <a:pt x="510" y="969"/>
                    <a:pt x="504" y="968"/>
                    <a:pt x="498" y="968"/>
                  </a:cubicBezTo>
                  <a:cubicBezTo>
                    <a:pt x="492" y="968"/>
                    <a:pt x="486" y="968"/>
                    <a:pt x="480" y="968"/>
                  </a:cubicBezTo>
                  <a:cubicBezTo>
                    <a:pt x="463" y="968"/>
                    <a:pt x="446" y="968"/>
                    <a:pt x="429" y="968"/>
                  </a:cubicBezTo>
                  <a:cubicBezTo>
                    <a:pt x="423" y="968"/>
                    <a:pt x="417" y="968"/>
                    <a:pt x="412" y="968"/>
                  </a:cubicBezTo>
                  <a:cubicBezTo>
                    <a:pt x="394" y="968"/>
                    <a:pt x="377" y="968"/>
                    <a:pt x="360" y="968"/>
                  </a:cubicBezTo>
                  <a:cubicBezTo>
                    <a:pt x="354" y="968"/>
                    <a:pt x="348" y="968"/>
                    <a:pt x="342" y="968"/>
                  </a:cubicBezTo>
                  <a:cubicBezTo>
                    <a:pt x="325" y="968"/>
                    <a:pt x="308" y="968"/>
                    <a:pt x="290" y="968"/>
                  </a:cubicBezTo>
                  <a:cubicBezTo>
                    <a:pt x="285" y="968"/>
                    <a:pt x="279" y="968"/>
                    <a:pt x="273" y="968"/>
                  </a:cubicBezTo>
                  <a:cubicBezTo>
                    <a:pt x="256" y="968"/>
                    <a:pt x="239" y="968"/>
                    <a:pt x="222" y="968"/>
                  </a:cubicBezTo>
                  <a:cubicBezTo>
                    <a:pt x="216" y="968"/>
                    <a:pt x="210" y="968"/>
                    <a:pt x="204" y="968"/>
                  </a:cubicBezTo>
                  <a:cubicBezTo>
                    <a:pt x="187" y="970"/>
                    <a:pt x="169" y="966"/>
                    <a:pt x="153" y="973"/>
                  </a:cubicBezTo>
                  <a:cubicBezTo>
                    <a:pt x="128" y="992"/>
                    <a:pt x="108" y="1015"/>
                    <a:pt x="88" y="1037"/>
                  </a:cubicBezTo>
                  <a:cubicBezTo>
                    <a:pt x="80" y="1056"/>
                    <a:pt x="82" y="1557"/>
                    <a:pt x="82" y="1574"/>
                  </a:cubicBezTo>
                  <a:cubicBezTo>
                    <a:pt x="69" y="1582"/>
                    <a:pt x="60" y="1597"/>
                    <a:pt x="60" y="1613"/>
                  </a:cubicBezTo>
                  <a:cubicBezTo>
                    <a:pt x="60" y="1639"/>
                    <a:pt x="81" y="1661"/>
                    <a:pt x="106" y="1661"/>
                  </a:cubicBezTo>
                  <a:cubicBezTo>
                    <a:pt x="132" y="1661"/>
                    <a:pt x="152" y="1639"/>
                    <a:pt x="152" y="1613"/>
                  </a:cubicBezTo>
                  <a:cubicBezTo>
                    <a:pt x="152" y="1594"/>
                    <a:pt x="141" y="1578"/>
                    <a:pt x="125" y="1570"/>
                  </a:cubicBezTo>
                  <a:cubicBezTo>
                    <a:pt x="125" y="1562"/>
                    <a:pt x="125" y="1351"/>
                    <a:pt x="125" y="1332"/>
                  </a:cubicBezTo>
                  <a:cubicBezTo>
                    <a:pt x="132" y="1347"/>
                    <a:pt x="148" y="1358"/>
                    <a:pt x="167" y="1358"/>
                  </a:cubicBezTo>
                  <a:cubicBezTo>
                    <a:pt x="192" y="1358"/>
                    <a:pt x="213" y="1338"/>
                    <a:pt x="213" y="1313"/>
                  </a:cubicBezTo>
                  <a:cubicBezTo>
                    <a:pt x="213" y="1308"/>
                    <a:pt x="212" y="1303"/>
                    <a:pt x="210" y="1298"/>
                  </a:cubicBezTo>
                  <a:cubicBezTo>
                    <a:pt x="220" y="1288"/>
                    <a:pt x="230" y="1278"/>
                    <a:pt x="240" y="1268"/>
                  </a:cubicBezTo>
                  <a:cubicBezTo>
                    <a:pt x="250" y="1251"/>
                    <a:pt x="247" y="1232"/>
                    <a:pt x="249" y="1213"/>
                  </a:cubicBezTo>
                  <a:cubicBezTo>
                    <a:pt x="249" y="1208"/>
                    <a:pt x="249" y="1202"/>
                    <a:pt x="249" y="1196"/>
                  </a:cubicBezTo>
                  <a:cubicBezTo>
                    <a:pt x="249" y="1180"/>
                    <a:pt x="249" y="1162"/>
                    <a:pt x="249" y="1145"/>
                  </a:cubicBezTo>
                  <a:cubicBezTo>
                    <a:pt x="249" y="1139"/>
                    <a:pt x="249" y="1133"/>
                    <a:pt x="249" y="1127"/>
                  </a:cubicBezTo>
                  <a:cubicBezTo>
                    <a:pt x="247" y="1091"/>
                    <a:pt x="247" y="1091"/>
                    <a:pt x="284" y="1093"/>
                  </a:cubicBezTo>
                  <a:cubicBezTo>
                    <a:pt x="290" y="1093"/>
                    <a:pt x="296" y="1093"/>
                    <a:pt x="301" y="1093"/>
                  </a:cubicBezTo>
                  <a:cubicBezTo>
                    <a:pt x="312" y="1093"/>
                    <a:pt x="323" y="1092"/>
                    <a:pt x="334" y="1091"/>
                  </a:cubicBezTo>
                  <a:cubicBezTo>
                    <a:pt x="341" y="1107"/>
                    <a:pt x="357" y="1118"/>
                    <a:pt x="375" y="1118"/>
                  </a:cubicBezTo>
                  <a:cubicBezTo>
                    <a:pt x="400" y="1118"/>
                    <a:pt x="421" y="1097"/>
                    <a:pt x="421" y="1071"/>
                  </a:cubicBezTo>
                  <a:cubicBezTo>
                    <a:pt x="421" y="1045"/>
                    <a:pt x="400" y="1024"/>
                    <a:pt x="375" y="1024"/>
                  </a:cubicBezTo>
                  <a:cubicBezTo>
                    <a:pt x="358" y="1024"/>
                    <a:pt x="343" y="1034"/>
                    <a:pt x="335" y="1049"/>
                  </a:cubicBezTo>
                  <a:cubicBezTo>
                    <a:pt x="334" y="1048"/>
                    <a:pt x="333" y="1048"/>
                    <a:pt x="332" y="1048"/>
                  </a:cubicBezTo>
                  <a:cubicBezTo>
                    <a:pt x="315" y="1048"/>
                    <a:pt x="298" y="1048"/>
                    <a:pt x="280" y="1048"/>
                  </a:cubicBezTo>
                  <a:cubicBezTo>
                    <a:pt x="274" y="1048"/>
                    <a:pt x="269" y="1048"/>
                    <a:pt x="263" y="1048"/>
                  </a:cubicBezTo>
                  <a:cubicBezTo>
                    <a:pt x="224" y="1054"/>
                    <a:pt x="210" y="1068"/>
                    <a:pt x="206" y="1106"/>
                  </a:cubicBezTo>
                  <a:cubicBezTo>
                    <a:pt x="207" y="1112"/>
                    <a:pt x="207" y="1118"/>
                    <a:pt x="206" y="1124"/>
                  </a:cubicBezTo>
                  <a:cubicBezTo>
                    <a:pt x="206" y="1141"/>
                    <a:pt x="206" y="1158"/>
                    <a:pt x="206" y="1176"/>
                  </a:cubicBezTo>
                  <a:cubicBezTo>
                    <a:pt x="207" y="1182"/>
                    <a:pt x="207" y="1187"/>
                    <a:pt x="206" y="1193"/>
                  </a:cubicBezTo>
                  <a:cubicBezTo>
                    <a:pt x="210" y="1224"/>
                    <a:pt x="207" y="1251"/>
                    <a:pt x="179" y="1270"/>
                  </a:cubicBezTo>
                  <a:cubicBezTo>
                    <a:pt x="175" y="1269"/>
                    <a:pt x="171" y="1268"/>
                    <a:pt x="167" y="1268"/>
                  </a:cubicBezTo>
                  <a:cubicBezTo>
                    <a:pt x="148" y="1268"/>
                    <a:pt x="132" y="1279"/>
                    <a:pt x="125" y="1295"/>
                  </a:cubicBezTo>
                  <a:cubicBezTo>
                    <a:pt x="125" y="1288"/>
                    <a:pt x="125" y="1217"/>
                    <a:pt x="125" y="1200"/>
                  </a:cubicBezTo>
                  <a:cubicBezTo>
                    <a:pt x="125" y="1194"/>
                    <a:pt x="125" y="1148"/>
                    <a:pt x="125" y="1131"/>
                  </a:cubicBezTo>
                  <a:cubicBezTo>
                    <a:pt x="125" y="1125"/>
                    <a:pt x="125" y="1079"/>
                    <a:pt x="125" y="1062"/>
                  </a:cubicBezTo>
                  <a:cubicBezTo>
                    <a:pt x="125" y="1059"/>
                    <a:pt x="125" y="1057"/>
                    <a:pt x="128" y="1055"/>
                  </a:cubicBezTo>
                  <a:cubicBezTo>
                    <a:pt x="140" y="1041"/>
                    <a:pt x="153" y="1029"/>
                    <a:pt x="167" y="1017"/>
                  </a:cubicBezTo>
                  <a:cubicBezTo>
                    <a:pt x="168" y="1014"/>
                    <a:pt x="170" y="1013"/>
                    <a:pt x="173" y="1012"/>
                  </a:cubicBezTo>
                  <a:cubicBezTo>
                    <a:pt x="190" y="1008"/>
                    <a:pt x="483" y="1010"/>
                    <a:pt x="501" y="1011"/>
                  </a:cubicBezTo>
                  <a:cubicBezTo>
                    <a:pt x="505" y="1011"/>
                    <a:pt x="511" y="1012"/>
                    <a:pt x="515" y="1012"/>
                  </a:cubicBezTo>
                  <a:cubicBezTo>
                    <a:pt x="517" y="1011"/>
                    <a:pt x="519" y="1011"/>
                    <a:pt x="520" y="1011"/>
                  </a:cubicBezTo>
                  <a:cubicBezTo>
                    <a:pt x="529" y="1024"/>
                    <a:pt x="543" y="1034"/>
                    <a:pt x="559" y="1034"/>
                  </a:cubicBezTo>
                  <a:cubicBezTo>
                    <a:pt x="561" y="1034"/>
                    <a:pt x="563" y="1033"/>
                    <a:pt x="566" y="1033"/>
                  </a:cubicBezTo>
                  <a:cubicBezTo>
                    <a:pt x="561" y="1037"/>
                    <a:pt x="557" y="1043"/>
                    <a:pt x="554" y="1049"/>
                  </a:cubicBezTo>
                  <a:cubicBezTo>
                    <a:pt x="548" y="1048"/>
                    <a:pt x="543" y="1048"/>
                    <a:pt x="539" y="1048"/>
                  </a:cubicBezTo>
                  <a:cubicBezTo>
                    <a:pt x="521" y="1048"/>
                    <a:pt x="504" y="1049"/>
                    <a:pt x="486" y="1049"/>
                  </a:cubicBezTo>
                  <a:cubicBezTo>
                    <a:pt x="481" y="1050"/>
                    <a:pt x="475" y="1051"/>
                    <a:pt x="470" y="1052"/>
                  </a:cubicBezTo>
                  <a:cubicBezTo>
                    <a:pt x="467" y="1053"/>
                    <a:pt x="465" y="1055"/>
                    <a:pt x="463" y="1056"/>
                  </a:cubicBezTo>
                  <a:cubicBezTo>
                    <a:pt x="439" y="1078"/>
                    <a:pt x="416" y="1100"/>
                    <a:pt x="394" y="1123"/>
                  </a:cubicBezTo>
                  <a:cubicBezTo>
                    <a:pt x="390" y="1122"/>
                    <a:pt x="385" y="1121"/>
                    <a:pt x="380" y="1121"/>
                  </a:cubicBezTo>
                  <a:cubicBezTo>
                    <a:pt x="356" y="1121"/>
                    <a:pt x="336" y="1141"/>
                    <a:pt x="336" y="1166"/>
                  </a:cubicBezTo>
                  <a:cubicBezTo>
                    <a:pt x="336" y="1190"/>
                    <a:pt x="356" y="1210"/>
                    <a:pt x="380" y="1210"/>
                  </a:cubicBezTo>
                  <a:cubicBezTo>
                    <a:pt x="404" y="1210"/>
                    <a:pt x="423" y="1190"/>
                    <a:pt x="423" y="1166"/>
                  </a:cubicBezTo>
                  <a:cubicBezTo>
                    <a:pt x="423" y="1161"/>
                    <a:pt x="423" y="1157"/>
                    <a:pt x="421" y="1153"/>
                  </a:cubicBezTo>
                  <a:cubicBezTo>
                    <a:pt x="437" y="1137"/>
                    <a:pt x="453" y="1123"/>
                    <a:pt x="468" y="1107"/>
                  </a:cubicBezTo>
                  <a:cubicBezTo>
                    <a:pt x="480" y="1095"/>
                    <a:pt x="492" y="1089"/>
                    <a:pt x="508" y="1093"/>
                  </a:cubicBezTo>
                  <a:cubicBezTo>
                    <a:pt x="524" y="1093"/>
                    <a:pt x="540" y="1093"/>
                    <a:pt x="556" y="1093"/>
                  </a:cubicBezTo>
                  <a:cubicBezTo>
                    <a:pt x="564" y="1107"/>
                    <a:pt x="579" y="1116"/>
                    <a:pt x="595" y="1116"/>
                  </a:cubicBezTo>
                  <a:cubicBezTo>
                    <a:pt x="621" y="1116"/>
                    <a:pt x="641" y="1095"/>
                    <a:pt x="641" y="1069"/>
                  </a:cubicBezTo>
                  <a:cubicBezTo>
                    <a:pt x="641" y="1043"/>
                    <a:pt x="621" y="1022"/>
                    <a:pt x="595" y="1022"/>
                  </a:cubicBezTo>
                  <a:cubicBezTo>
                    <a:pt x="593" y="1022"/>
                    <a:pt x="590" y="1022"/>
                    <a:pt x="588" y="1022"/>
                  </a:cubicBezTo>
                  <a:cubicBezTo>
                    <a:pt x="598" y="1013"/>
                    <a:pt x="605" y="999"/>
                    <a:pt x="605" y="984"/>
                  </a:cubicBezTo>
                  <a:cubicBezTo>
                    <a:pt x="605" y="965"/>
                    <a:pt x="595" y="949"/>
                    <a:pt x="581" y="941"/>
                  </a:cubicBezTo>
                  <a:cubicBezTo>
                    <a:pt x="590" y="941"/>
                    <a:pt x="598" y="941"/>
                    <a:pt x="607" y="940"/>
                  </a:cubicBezTo>
                  <a:cubicBezTo>
                    <a:pt x="615" y="955"/>
                    <a:pt x="630" y="966"/>
                    <a:pt x="647" y="966"/>
                  </a:cubicBezTo>
                  <a:cubicBezTo>
                    <a:pt x="672" y="966"/>
                    <a:pt x="692" y="945"/>
                    <a:pt x="692" y="920"/>
                  </a:cubicBezTo>
                  <a:cubicBezTo>
                    <a:pt x="692" y="894"/>
                    <a:pt x="672" y="874"/>
                    <a:pt x="647" y="874"/>
                  </a:cubicBezTo>
                  <a:close/>
                  <a:moveTo>
                    <a:pt x="98" y="19"/>
                  </a:moveTo>
                  <a:cubicBezTo>
                    <a:pt x="113" y="19"/>
                    <a:pt x="126" y="32"/>
                    <a:pt x="126" y="47"/>
                  </a:cubicBezTo>
                  <a:cubicBezTo>
                    <a:pt x="126" y="62"/>
                    <a:pt x="113" y="75"/>
                    <a:pt x="98" y="75"/>
                  </a:cubicBezTo>
                  <a:cubicBezTo>
                    <a:pt x="82" y="75"/>
                    <a:pt x="70" y="62"/>
                    <a:pt x="70" y="47"/>
                  </a:cubicBezTo>
                  <a:cubicBezTo>
                    <a:pt x="70" y="32"/>
                    <a:pt x="82" y="19"/>
                    <a:pt x="98" y="19"/>
                  </a:cubicBezTo>
                  <a:close/>
                  <a:moveTo>
                    <a:pt x="167" y="1288"/>
                  </a:moveTo>
                  <a:cubicBezTo>
                    <a:pt x="181" y="1288"/>
                    <a:pt x="193" y="1299"/>
                    <a:pt x="193" y="1313"/>
                  </a:cubicBezTo>
                  <a:cubicBezTo>
                    <a:pt x="193" y="1327"/>
                    <a:pt x="181" y="1339"/>
                    <a:pt x="167" y="1339"/>
                  </a:cubicBezTo>
                  <a:cubicBezTo>
                    <a:pt x="152" y="1339"/>
                    <a:pt x="140" y="1327"/>
                    <a:pt x="140" y="1313"/>
                  </a:cubicBezTo>
                  <a:cubicBezTo>
                    <a:pt x="140" y="1299"/>
                    <a:pt x="152" y="1288"/>
                    <a:pt x="167" y="1288"/>
                  </a:cubicBezTo>
                  <a:close/>
                  <a:moveTo>
                    <a:pt x="133" y="1613"/>
                  </a:moveTo>
                  <a:cubicBezTo>
                    <a:pt x="133" y="1629"/>
                    <a:pt x="121" y="1641"/>
                    <a:pt x="106" y="1641"/>
                  </a:cubicBezTo>
                  <a:cubicBezTo>
                    <a:pt x="92" y="1641"/>
                    <a:pt x="80" y="1629"/>
                    <a:pt x="80" y="1613"/>
                  </a:cubicBezTo>
                  <a:cubicBezTo>
                    <a:pt x="80" y="1598"/>
                    <a:pt x="92" y="1586"/>
                    <a:pt x="106" y="1586"/>
                  </a:cubicBezTo>
                  <a:cubicBezTo>
                    <a:pt x="121" y="1586"/>
                    <a:pt x="133" y="1598"/>
                    <a:pt x="133" y="1613"/>
                  </a:cubicBezTo>
                  <a:close/>
                  <a:moveTo>
                    <a:pt x="595" y="1041"/>
                  </a:moveTo>
                  <a:cubicBezTo>
                    <a:pt x="610" y="1041"/>
                    <a:pt x="622" y="1053"/>
                    <a:pt x="622" y="1069"/>
                  </a:cubicBezTo>
                  <a:cubicBezTo>
                    <a:pt x="622" y="1084"/>
                    <a:pt x="610" y="1097"/>
                    <a:pt x="595" y="1097"/>
                  </a:cubicBezTo>
                  <a:cubicBezTo>
                    <a:pt x="581" y="1097"/>
                    <a:pt x="569" y="1084"/>
                    <a:pt x="569" y="1069"/>
                  </a:cubicBezTo>
                  <a:cubicBezTo>
                    <a:pt x="569" y="1053"/>
                    <a:pt x="581" y="1041"/>
                    <a:pt x="595" y="1041"/>
                  </a:cubicBezTo>
                  <a:close/>
                  <a:moveTo>
                    <a:pt x="586" y="984"/>
                  </a:moveTo>
                  <a:cubicBezTo>
                    <a:pt x="586" y="1001"/>
                    <a:pt x="574" y="1014"/>
                    <a:pt x="559" y="1014"/>
                  </a:cubicBezTo>
                  <a:cubicBezTo>
                    <a:pt x="544" y="1014"/>
                    <a:pt x="532" y="1001"/>
                    <a:pt x="532" y="984"/>
                  </a:cubicBezTo>
                  <a:cubicBezTo>
                    <a:pt x="532" y="967"/>
                    <a:pt x="544" y="954"/>
                    <a:pt x="559" y="954"/>
                  </a:cubicBezTo>
                  <a:cubicBezTo>
                    <a:pt x="574" y="954"/>
                    <a:pt x="586" y="967"/>
                    <a:pt x="586" y="9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12" name="Freeform 12"/>
            <p:cNvSpPr>
              <a:spLocks/>
            </p:cNvSpPr>
            <p:nvPr/>
          </p:nvSpPr>
          <p:spPr bwMode="gray">
            <a:xfrm>
              <a:off x="3000" y="2420"/>
              <a:ext cx="807" cy="440"/>
            </a:xfrm>
            <a:custGeom>
              <a:avLst/>
              <a:gdLst>
                <a:gd name="T0" fmla="*/ 296 w 341"/>
                <a:gd name="T1" fmla="*/ 96 h 186"/>
                <a:gd name="T2" fmla="*/ 256 w 341"/>
                <a:gd name="T3" fmla="*/ 122 h 186"/>
                <a:gd name="T4" fmla="*/ 234 w 341"/>
                <a:gd name="T5" fmla="*/ 121 h 186"/>
                <a:gd name="T6" fmla="*/ 216 w 341"/>
                <a:gd name="T7" fmla="*/ 121 h 186"/>
                <a:gd name="T8" fmla="*/ 164 w 341"/>
                <a:gd name="T9" fmla="*/ 121 h 186"/>
                <a:gd name="T10" fmla="*/ 146 w 341"/>
                <a:gd name="T11" fmla="*/ 115 h 186"/>
                <a:gd name="T12" fmla="*/ 126 w 341"/>
                <a:gd name="T13" fmla="*/ 94 h 186"/>
                <a:gd name="T14" fmla="*/ 116 w 341"/>
                <a:gd name="T15" fmla="*/ 83 h 186"/>
                <a:gd name="T16" fmla="*/ 88 w 341"/>
                <a:gd name="T17" fmla="*/ 56 h 186"/>
                <a:gd name="T18" fmla="*/ 87 w 341"/>
                <a:gd name="T19" fmla="*/ 56 h 186"/>
                <a:gd name="T20" fmla="*/ 89 w 341"/>
                <a:gd name="T21" fmla="*/ 44 h 186"/>
                <a:gd name="T22" fmla="*/ 44 w 341"/>
                <a:gd name="T23" fmla="*/ 0 h 186"/>
                <a:gd name="T24" fmla="*/ 0 w 341"/>
                <a:gd name="T25" fmla="*/ 44 h 186"/>
                <a:gd name="T26" fmla="*/ 44 w 341"/>
                <a:gd name="T27" fmla="*/ 89 h 186"/>
                <a:gd name="T28" fmla="*/ 57 w 341"/>
                <a:gd name="T29" fmla="*/ 87 h 186"/>
                <a:gd name="T30" fmla="*/ 61 w 341"/>
                <a:gd name="T31" fmla="*/ 91 h 186"/>
                <a:gd name="T32" fmla="*/ 81 w 341"/>
                <a:gd name="T33" fmla="*/ 111 h 186"/>
                <a:gd name="T34" fmla="*/ 95 w 341"/>
                <a:gd name="T35" fmla="*/ 124 h 186"/>
                <a:gd name="T36" fmla="*/ 116 w 341"/>
                <a:gd name="T37" fmla="*/ 145 h 186"/>
                <a:gd name="T38" fmla="*/ 126 w 341"/>
                <a:gd name="T39" fmla="*/ 155 h 186"/>
                <a:gd name="T40" fmla="*/ 168 w 341"/>
                <a:gd name="T41" fmla="*/ 163 h 186"/>
                <a:gd name="T42" fmla="*/ 182 w 341"/>
                <a:gd name="T43" fmla="*/ 164 h 186"/>
                <a:gd name="T44" fmla="*/ 236 w 341"/>
                <a:gd name="T45" fmla="*/ 163 h 186"/>
                <a:gd name="T46" fmla="*/ 254 w 341"/>
                <a:gd name="T47" fmla="*/ 164 h 186"/>
                <a:gd name="T48" fmla="*/ 258 w 341"/>
                <a:gd name="T49" fmla="*/ 164 h 186"/>
                <a:gd name="T50" fmla="*/ 296 w 341"/>
                <a:gd name="T51" fmla="*/ 186 h 186"/>
                <a:gd name="T52" fmla="*/ 341 w 341"/>
                <a:gd name="T53" fmla="*/ 141 h 186"/>
                <a:gd name="T54" fmla="*/ 296 w 341"/>
                <a:gd name="T55" fmla="*/ 9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41" h="186">
                  <a:moveTo>
                    <a:pt x="296" y="96"/>
                  </a:moveTo>
                  <a:cubicBezTo>
                    <a:pt x="278" y="96"/>
                    <a:pt x="263" y="107"/>
                    <a:pt x="256" y="122"/>
                  </a:cubicBezTo>
                  <a:cubicBezTo>
                    <a:pt x="248" y="121"/>
                    <a:pt x="241" y="121"/>
                    <a:pt x="234" y="121"/>
                  </a:cubicBezTo>
                  <a:cubicBezTo>
                    <a:pt x="228" y="121"/>
                    <a:pt x="222" y="121"/>
                    <a:pt x="216" y="121"/>
                  </a:cubicBezTo>
                  <a:cubicBezTo>
                    <a:pt x="199" y="121"/>
                    <a:pt x="182" y="121"/>
                    <a:pt x="164" y="121"/>
                  </a:cubicBezTo>
                  <a:cubicBezTo>
                    <a:pt x="157" y="122"/>
                    <a:pt x="151" y="122"/>
                    <a:pt x="146" y="115"/>
                  </a:cubicBezTo>
                  <a:cubicBezTo>
                    <a:pt x="140" y="108"/>
                    <a:pt x="133" y="101"/>
                    <a:pt x="126" y="94"/>
                  </a:cubicBezTo>
                  <a:cubicBezTo>
                    <a:pt x="121" y="91"/>
                    <a:pt x="118" y="88"/>
                    <a:pt x="116" y="83"/>
                  </a:cubicBezTo>
                  <a:cubicBezTo>
                    <a:pt x="105" y="76"/>
                    <a:pt x="96" y="66"/>
                    <a:pt x="88" y="56"/>
                  </a:cubicBezTo>
                  <a:cubicBezTo>
                    <a:pt x="88" y="56"/>
                    <a:pt x="88" y="56"/>
                    <a:pt x="87" y="56"/>
                  </a:cubicBezTo>
                  <a:cubicBezTo>
                    <a:pt x="88" y="52"/>
                    <a:pt x="89" y="48"/>
                    <a:pt x="89" y="44"/>
                  </a:cubicBezTo>
                  <a:cubicBezTo>
                    <a:pt x="89" y="20"/>
                    <a:pt x="69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9"/>
                    <a:pt x="20" y="89"/>
                    <a:pt x="44" y="89"/>
                  </a:cubicBezTo>
                  <a:cubicBezTo>
                    <a:pt x="49" y="89"/>
                    <a:pt x="53" y="88"/>
                    <a:pt x="57" y="87"/>
                  </a:cubicBezTo>
                  <a:cubicBezTo>
                    <a:pt x="59" y="88"/>
                    <a:pt x="60" y="89"/>
                    <a:pt x="61" y="91"/>
                  </a:cubicBezTo>
                  <a:cubicBezTo>
                    <a:pt x="67" y="97"/>
                    <a:pt x="75" y="104"/>
                    <a:pt x="81" y="111"/>
                  </a:cubicBezTo>
                  <a:cubicBezTo>
                    <a:pt x="86" y="116"/>
                    <a:pt x="90" y="120"/>
                    <a:pt x="95" y="124"/>
                  </a:cubicBezTo>
                  <a:cubicBezTo>
                    <a:pt x="102" y="132"/>
                    <a:pt x="109" y="138"/>
                    <a:pt x="116" y="145"/>
                  </a:cubicBezTo>
                  <a:cubicBezTo>
                    <a:pt x="119" y="149"/>
                    <a:pt x="123" y="152"/>
                    <a:pt x="126" y="155"/>
                  </a:cubicBezTo>
                  <a:cubicBezTo>
                    <a:pt x="139" y="162"/>
                    <a:pt x="153" y="163"/>
                    <a:pt x="168" y="163"/>
                  </a:cubicBezTo>
                  <a:cubicBezTo>
                    <a:pt x="172" y="163"/>
                    <a:pt x="177" y="163"/>
                    <a:pt x="182" y="164"/>
                  </a:cubicBezTo>
                  <a:cubicBezTo>
                    <a:pt x="200" y="163"/>
                    <a:pt x="218" y="163"/>
                    <a:pt x="236" y="163"/>
                  </a:cubicBezTo>
                  <a:cubicBezTo>
                    <a:pt x="242" y="163"/>
                    <a:pt x="248" y="163"/>
                    <a:pt x="254" y="164"/>
                  </a:cubicBezTo>
                  <a:cubicBezTo>
                    <a:pt x="255" y="164"/>
                    <a:pt x="257" y="164"/>
                    <a:pt x="258" y="164"/>
                  </a:cubicBezTo>
                  <a:cubicBezTo>
                    <a:pt x="265" y="177"/>
                    <a:pt x="280" y="186"/>
                    <a:pt x="296" y="186"/>
                  </a:cubicBezTo>
                  <a:cubicBezTo>
                    <a:pt x="321" y="186"/>
                    <a:pt x="341" y="166"/>
                    <a:pt x="341" y="141"/>
                  </a:cubicBezTo>
                  <a:cubicBezTo>
                    <a:pt x="341" y="116"/>
                    <a:pt x="321" y="96"/>
                    <a:pt x="29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13" name="Freeform 13"/>
            <p:cNvSpPr>
              <a:spLocks noEditPoints="1"/>
            </p:cNvSpPr>
            <p:nvPr/>
          </p:nvSpPr>
          <p:spPr bwMode="gray">
            <a:xfrm>
              <a:off x="1973" y="1045"/>
              <a:ext cx="217" cy="784"/>
            </a:xfrm>
            <a:custGeom>
              <a:avLst/>
              <a:gdLst>
                <a:gd name="T0" fmla="*/ 92 w 92"/>
                <a:gd name="T1" fmla="*/ 44 h 331"/>
                <a:gd name="T2" fmla="*/ 47 w 92"/>
                <a:gd name="T3" fmla="*/ 0 h 331"/>
                <a:gd name="T4" fmla="*/ 3 w 92"/>
                <a:gd name="T5" fmla="*/ 44 h 331"/>
                <a:gd name="T6" fmla="*/ 25 w 92"/>
                <a:gd name="T7" fmla="*/ 83 h 331"/>
                <a:gd name="T8" fmla="*/ 24 w 92"/>
                <a:gd name="T9" fmla="*/ 85 h 331"/>
                <a:gd name="T10" fmla="*/ 24 w 92"/>
                <a:gd name="T11" fmla="*/ 242 h 331"/>
                <a:gd name="T12" fmla="*/ 25 w 92"/>
                <a:gd name="T13" fmla="*/ 245 h 331"/>
                <a:gd name="T14" fmla="*/ 0 w 92"/>
                <a:gd name="T15" fmla="*/ 285 h 331"/>
                <a:gd name="T16" fmla="*/ 46 w 92"/>
                <a:gd name="T17" fmla="*/ 331 h 331"/>
                <a:gd name="T18" fmla="*/ 92 w 92"/>
                <a:gd name="T19" fmla="*/ 285 h 331"/>
                <a:gd name="T20" fmla="*/ 69 w 92"/>
                <a:gd name="T21" fmla="*/ 246 h 331"/>
                <a:gd name="T22" fmla="*/ 70 w 92"/>
                <a:gd name="T23" fmla="*/ 245 h 331"/>
                <a:gd name="T24" fmla="*/ 69 w 92"/>
                <a:gd name="T25" fmla="*/ 83 h 331"/>
                <a:gd name="T26" fmla="*/ 92 w 92"/>
                <a:gd name="T27" fmla="*/ 44 h 331"/>
                <a:gd name="T28" fmla="*/ 73 w 92"/>
                <a:gd name="T29" fmla="*/ 285 h 331"/>
                <a:gd name="T30" fmla="*/ 46 w 92"/>
                <a:gd name="T31" fmla="*/ 312 h 331"/>
                <a:gd name="T32" fmla="*/ 20 w 92"/>
                <a:gd name="T33" fmla="*/ 285 h 331"/>
                <a:gd name="T34" fmla="*/ 46 w 92"/>
                <a:gd name="T35" fmla="*/ 259 h 331"/>
                <a:gd name="T36" fmla="*/ 73 w 92"/>
                <a:gd name="T37" fmla="*/ 285 h 331"/>
                <a:gd name="T38" fmla="*/ 47 w 92"/>
                <a:gd name="T39" fmla="*/ 70 h 331"/>
                <a:gd name="T40" fmla="*/ 22 w 92"/>
                <a:gd name="T41" fmla="*/ 44 h 331"/>
                <a:gd name="T42" fmla="*/ 47 w 92"/>
                <a:gd name="T43" fmla="*/ 19 h 331"/>
                <a:gd name="T44" fmla="*/ 73 w 92"/>
                <a:gd name="T45" fmla="*/ 44 h 331"/>
                <a:gd name="T46" fmla="*/ 47 w 92"/>
                <a:gd name="T47" fmla="*/ 7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331">
                  <a:moveTo>
                    <a:pt x="92" y="44"/>
                  </a:moveTo>
                  <a:cubicBezTo>
                    <a:pt x="92" y="20"/>
                    <a:pt x="72" y="0"/>
                    <a:pt x="47" y="0"/>
                  </a:cubicBezTo>
                  <a:cubicBezTo>
                    <a:pt x="23" y="0"/>
                    <a:pt x="3" y="20"/>
                    <a:pt x="3" y="44"/>
                  </a:cubicBezTo>
                  <a:cubicBezTo>
                    <a:pt x="3" y="61"/>
                    <a:pt x="12" y="75"/>
                    <a:pt x="25" y="83"/>
                  </a:cubicBezTo>
                  <a:cubicBezTo>
                    <a:pt x="25" y="84"/>
                    <a:pt x="25" y="85"/>
                    <a:pt x="24" y="85"/>
                  </a:cubicBezTo>
                  <a:cubicBezTo>
                    <a:pt x="24" y="91"/>
                    <a:pt x="24" y="236"/>
                    <a:pt x="24" y="242"/>
                  </a:cubicBezTo>
                  <a:cubicBezTo>
                    <a:pt x="25" y="243"/>
                    <a:pt x="25" y="244"/>
                    <a:pt x="25" y="245"/>
                  </a:cubicBezTo>
                  <a:cubicBezTo>
                    <a:pt x="10" y="253"/>
                    <a:pt x="0" y="268"/>
                    <a:pt x="0" y="285"/>
                  </a:cubicBezTo>
                  <a:cubicBezTo>
                    <a:pt x="0" y="311"/>
                    <a:pt x="21" y="331"/>
                    <a:pt x="46" y="331"/>
                  </a:cubicBezTo>
                  <a:cubicBezTo>
                    <a:pt x="72" y="331"/>
                    <a:pt x="92" y="311"/>
                    <a:pt x="92" y="285"/>
                  </a:cubicBezTo>
                  <a:cubicBezTo>
                    <a:pt x="92" y="268"/>
                    <a:pt x="83" y="254"/>
                    <a:pt x="69" y="246"/>
                  </a:cubicBezTo>
                  <a:cubicBezTo>
                    <a:pt x="69" y="245"/>
                    <a:pt x="70" y="245"/>
                    <a:pt x="70" y="245"/>
                  </a:cubicBezTo>
                  <a:cubicBezTo>
                    <a:pt x="68" y="227"/>
                    <a:pt x="69" y="91"/>
                    <a:pt x="69" y="83"/>
                  </a:cubicBezTo>
                  <a:cubicBezTo>
                    <a:pt x="83" y="76"/>
                    <a:pt x="92" y="61"/>
                    <a:pt x="92" y="44"/>
                  </a:cubicBezTo>
                  <a:close/>
                  <a:moveTo>
                    <a:pt x="73" y="285"/>
                  </a:moveTo>
                  <a:cubicBezTo>
                    <a:pt x="73" y="300"/>
                    <a:pt x="61" y="312"/>
                    <a:pt x="46" y="312"/>
                  </a:cubicBezTo>
                  <a:cubicBezTo>
                    <a:pt x="32" y="312"/>
                    <a:pt x="20" y="300"/>
                    <a:pt x="20" y="285"/>
                  </a:cubicBezTo>
                  <a:cubicBezTo>
                    <a:pt x="20" y="271"/>
                    <a:pt x="32" y="259"/>
                    <a:pt x="46" y="259"/>
                  </a:cubicBezTo>
                  <a:cubicBezTo>
                    <a:pt x="61" y="259"/>
                    <a:pt x="73" y="271"/>
                    <a:pt x="73" y="285"/>
                  </a:cubicBezTo>
                  <a:close/>
                  <a:moveTo>
                    <a:pt x="47" y="70"/>
                  </a:moveTo>
                  <a:cubicBezTo>
                    <a:pt x="33" y="70"/>
                    <a:pt x="22" y="58"/>
                    <a:pt x="22" y="44"/>
                  </a:cubicBezTo>
                  <a:cubicBezTo>
                    <a:pt x="22" y="30"/>
                    <a:pt x="33" y="19"/>
                    <a:pt x="47" y="19"/>
                  </a:cubicBezTo>
                  <a:cubicBezTo>
                    <a:pt x="61" y="19"/>
                    <a:pt x="73" y="30"/>
                    <a:pt x="73" y="44"/>
                  </a:cubicBezTo>
                  <a:cubicBezTo>
                    <a:pt x="73" y="58"/>
                    <a:pt x="61" y="70"/>
                    <a:pt x="47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714" name="Freeform 14"/>
            <p:cNvSpPr>
              <a:spLocks noEditPoints="1"/>
            </p:cNvSpPr>
            <p:nvPr/>
          </p:nvSpPr>
          <p:spPr bwMode="gray">
            <a:xfrm>
              <a:off x="4195" y="470"/>
              <a:ext cx="350" cy="701"/>
            </a:xfrm>
            <a:custGeom>
              <a:avLst/>
              <a:gdLst>
                <a:gd name="T0" fmla="*/ 45 w 148"/>
                <a:gd name="T1" fmla="*/ 0 h 296"/>
                <a:gd name="T2" fmla="*/ 0 w 148"/>
                <a:gd name="T3" fmla="*/ 45 h 296"/>
                <a:gd name="T4" fmla="*/ 45 w 148"/>
                <a:gd name="T5" fmla="*/ 90 h 296"/>
                <a:gd name="T6" fmla="*/ 58 w 148"/>
                <a:gd name="T7" fmla="*/ 88 h 296"/>
                <a:gd name="T8" fmla="*/ 69 w 148"/>
                <a:gd name="T9" fmla="*/ 100 h 296"/>
                <a:gd name="T10" fmla="*/ 79 w 148"/>
                <a:gd name="T11" fmla="*/ 115 h 296"/>
                <a:gd name="T12" fmla="*/ 79 w 148"/>
                <a:gd name="T13" fmla="*/ 211 h 296"/>
                <a:gd name="T14" fmla="*/ 54 w 148"/>
                <a:gd name="T15" fmla="*/ 251 h 296"/>
                <a:gd name="T16" fmla="*/ 101 w 148"/>
                <a:gd name="T17" fmla="*/ 296 h 296"/>
                <a:gd name="T18" fmla="*/ 148 w 148"/>
                <a:gd name="T19" fmla="*/ 251 h 296"/>
                <a:gd name="T20" fmla="*/ 121 w 148"/>
                <a:gd name="T21" fmla="*/ 211 h 296"/>
                <a:gd name="T22" fmla="*/ 122 w 148"/>
                <a:gd name="T23" fmla="*/ 118 h 296"/>
                <a:gd name="T24" fmla="*/ 111 w 148"/>
                <a:gd name="T25" fmla="*/ 80 h 296"/>
                <a:gd name="T26" fmla="*/ 100 w 148"/>
                <a:gd name="T27" fmla="*/ 69 h 296"/>
                <a:gd name="T28" fmla="*/ 88 w 148"/>
                <a:gd name="T29" fmla="*/ 58 h 296"/>
                <a:gd name="T30" fmla="*/ 90 w 148"/>
                <a:gd name="T31" fmla="*/ 45 h 296"/>
                <a:gd name="T32" fmla="*/ 45 w 148"/>
                <a:gd name="T33" fmla="*/ 0 h 296"/>
                <a:gd name="T34" fmla="*/ 129 w 148"/>
                <a:gd name="T35" fmla="*/ 251 h 296"/>
                <a:gd name="T36" fmla="*/ 101 w 148"/>
                <a:gd name="T37" fmla="*/ 276 h 296"/>
                <a:gd name="T38" fmla="*/ 73 w 148"/>
                <a:gd name="T39" fmla="*/ 251 h 296"/>
                <a:gd name="T40" fmla="*/ 101 w 148"/>
                <a:gd name="T41" fmla="*/ 226 h 296"/>
                <a:gd name="T42" fmla="*/ 129 w 148"/>
                <a:gd name="T43" fmla="*/ 25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8" h="296">
                  <a:moveTo>
                    <a:pt x="45" y="0"/>
                  </a:moveTo>
                  <a:cubicBezTo>
                    <a:pt x="21" y="0"/>
                    <a:pt x="0" y="21"/>
                    <a:pt x="0" y="45"/>
                  </a:cubicBezTo>
                  <a:cubicBezTo>
                    <a:pt x="0" y="70"/>
                    <a:pt x="21" y="90"/>
                    <a:pt x="45" y="90"/>
                  </a:cubicBezTo>
                  <a:cubicBezTo>
                    <a:pt x="50" y="90"/>
                    <a:pt x="54" y="89"/>
                    <a:pt x="58" y="88"/>
                  </a:cubicBezTo>
                  <a:cubicBezTo>
                    <a:pt x="62" y="92"/>
                    <a:pt x="66" y="96"/>
                    <a:pt x="69" y="100"/>
                  </a:cubicBezTo>
                  <a:cubicBezTo>
                    <a:pt x="74" y="104"/>
                    <a:pt x="79" y="107"/>
                    <a:pt x="79" y="115"/>
                  </a:cubicBezTo>
                  <a:cubicBezTo>
                    <a:pt x="78" y="132"/>
                    <a:pt x="79" y="202"/>
                    <a:pt x="79" y="211"/>
                  </a:cubicBezTo>
                  <a:cubicBezTo>
                    <a:pt x="64" y="219"/>
                    <a:pt x="54" y="234"/>
                    <a:pt x="54" y="251"/>
                  </a:cubicBezTo>
                  <a:cubicBezTo>
                    <a:pt x="54" y="276"/>
                    <a:pt x="75" y="296"/>
                    <a:pt x="101" y="296"/>
                  </a:cubicBezTo>
                  <a:cubicBezTo>
                    <a:pt x="127" y="296"/>
                    <a:pt x="148" y="276"/>
                    <a:pt x="148" y="251"/>
                  </a:cubicBezTo>
                  <a:cubicBezTo>
                    <a:pt x="148" y="233"/>
                    <a:pt x="137" y="218"/>
                    <a:pt x="121" y="211"/>
                  </a:cubicBezTo>
                  <a:cubicBezTo>
                    <a:pt x="121" y="206"/>
                    <a:pt x="122" y="124"/>
                    <a:pt x="122" y="118"/>
                  </a:cubicBezTo>
                  <a:cubicBezTo>
                    <a:pt x="122" y="104"/>
                    <a:pt x="117" y="92"/>
                    <a:pt x="111" y="80"/>
                  </a:cubicBezTo>
                  <a:cubicBezTo>
                    <a:pt x="107" y="77"/>
                    <a:pt x="103" y="73"/>
                    <a:pt x="100" y="69"/>
                  </a:cubicBezTo>
                  <a:cubicBezTo>
                    <a:pt x="96" y="66"/>
                    <a:pt x="92" y="62"/>
                    <a:pt x="88" y="58"/>
                  </a:cubicBezTo>
                  <a:cubicBezTo>
                    <a:pt x="89" y="54"/>
                    <a:pt x="90" y="50"/>
                    <a:pt x="90" y="45"/>
                  </a:cubicBezTo>
                  <a:cubicBezTo>
                    <a:pt x="90" y="21"/>
                    <a:pt x="70" y="0"/>
                    <a:pt x="45" y="0"/>
                  </a:cubicBezTo>
                  <a:close/>
                  <a:moveTo>
                    <a:pt x="129" y="251"/>
                  </a:moveTo>
                  <a:cubicBezTo>
                    <a:pt x="129" y="265"/>
                    <a:pt x="116" y="276"/>
                    <a:pt x="101" y="276"/>
                  </a:cubicBezTo>
                  <a:cubicBezTo>
                    <a:pt x="86" y="276"/>
                    <a:pt x="73" y="265"/>
                    <a:pt x="73" y="251"/>
                  </a:cubicBezTo>
                  <a:cubicBezTo>
                    <a:pt x="73" y="237"/>
                    <a:pt x="86" y="226"/>
                    <a:pt x="101" y="226"/>
                  </a:cubicBezTo>
                  <a:cubicBezTo>
                    <a:pt x="116" y="226"/>
                    <a:pt x="129" y="237"/>
                    <a:pt x="129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02" name="Freeform 15"/>
            <p:cNvSpPr>
              <a:spLocks noEditPoints="1"/>
            </p:cNvSpPr>
            <p:nvPr/>
          </p:nvSpPr>
          <p:spPr bwMode="gray">
            <a:xfrm>
              <a:off x="3198" y="203"/>
              <a:ext cx="826" cy="1803"/>
            </a:xfrm>
            <a:custGeom>
              <a:avLst/>
              <a:gdLst>
                <a:gd name="T0" fmla="*/ 192 w 349"/>
                <a:gd name="T1" fmla="*/ 104 h 762"/>
                <a:gd name="T2" fmla="*/ 192 w 349"/>
                <a:gd name="T3" fmla="*/ 173 h 762"/>
                <a:gd name="T4" fmla="*/ 181 w 349"/>
                <a:gd name="T5" fmla="*/ 212 h 762"/>
                <a:gd name="T6" fmla="*/ 19 w 349"/>
                <a:gd name="T7" fmla="*/ 413 h 762"/>
                <a:gd name="T8" fmla="*/ 0 w 349"/>
                <a:gd name="T9" fmla="*/ 717 h 762"/>
                <a:gd name="T10" fmla="*/ 90 w 349"/>
                <a:gd name="T11" fmla="*/ 717 h 762"/>
                <a:gd name="T12" fmla="*/ 63 w 349"/>
                <a:gd name="T13" fmla="*/ 657 h 762"/>
                <a:gd name="T14" fmla="*/ 63 w 349"/>
                <a:gd name="T15" fmla="*/ 588 h 762"/>
                <a:gd name="T16" fmla="*/ 63 w 349"/>
                <a:gd name="T17" fmla="*/ 520 h 762"/>
                <a:gd name="T18" fmla="*/ 63 w 349"/>
                <a:gd name="T19" fmla="*/ 451 h 762"/>
                <a:gd name="T20" fmla="*/ 89 w 349"/>
                <a:gd name="T21" fmla="*/ 363 h 762"/>
                <a:gd name="T22" fmla="*/ 234 w 349"/>
                <a:gd name="T23" fmla="*/ 207 h 762"/>
                <a:gd name="T24" fmla="*/ 235 w 349"/>
                <a:gd name="T25" fmla="*/ 142 h 762"/>
                <a:gd name="T26" fmla="*/ 234 w 349"/>
                <a:gd name="T27" fmla="*/ 93 h 762"/>
                <a:gd name="T28" fmla="*/ 283 w 349"/>
                <a:gd name="T29" fmla="*/ 88 h 762"/>
                <a:gd name="T30" fmla="*/ 283 w 349"/>
                <a:gd name="T31" fmla="*/ 372 h 762"/>
                <a:gd name="T32" fmla="*/ 271 w 349"/>
                <a:gd name="T33" fmla="*/ 457 h 762"/>
                <a:gd name="T34" fmla="*/ 129 w 349"/>
                <a:gd name="T35" fmla="*/ 578 h 762"/>
                <a:gd name="T36" fmla="*/ 129 w 349"/>
                <a:gd name="T37" fmla="*/ 668 h 762"/>
                <a:gd name="T38" fmla="*/ 173 w 349"/>
                <a:gd name="T39" fmla="*/ 614 h 762"/>
                <a:gd name="T40" fmla="*/ 321 w 349"/>
                <a:gd name="T41" fmla="*/ 465 h 762"/>
                <a:gd name="T42" fmla="*/ 326 w 349"/>
                <a:gd name="T43" fmla="*/ 100 h 762"/>
                <a:gd name="T44" fmla="*/ 349 w 349"/>
                <a:gd name="T45" fmla="*/ 47 h 762"/>
                <a:gd name="T46" fmla="*/ 260 w 349"/>
                <a:gd name="T47" fmla="*/ 39 h 762"/>
                <a:gd name="T48" fmla="*/ 172 w 349"/>
                <a:gd name="T49" fmla="*/ 51 h 762"/>
                <a:gd name="T50" fmla="*/ 70 w 349"/>
                <a:gd name="T51" fmla="*/ 717 h 762"/>
                <a:gd name="T52" fmla="*/ 20 w 349"/>
                <a:gd name="T53" fmla="*/ 717 h 762"/>
                <a:gd name="T54" fmla="*/ 70 w 349"/>
                <a:gd name="T55" fmla="*/ 717 h 762"/>
                <a:gd name="T56" fmla="*/ 102 w 349"/>
                <a:gd name="T57" fmla="*/ 623 h 762"/>
                <a:gd name="T58" fmla="*/ 155 w 349"/>
                <a:gd name="T59" fmla="*/ 623 h 762"/>
                <a:gd name="T60" fmla="*/ 217 w 349"/>
                <a:gd name="T61" fmla="*/ 24 h 762"/>
                <a:gd name="T62" fmla="*/ 217 w 349"/>
                <a:gd name="T63" fmla="*/ 77 h 762"/>
                <a:gd name="T64" fmla="*/ 217 w 349"/>
                <a:gd name="T65" fmla="*/ 2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762">
                  <a:moveTo>
                    <a:pt x="192" y="89"/>
                  </a:moveTo>
                  <a:cubicBezTo>
                    <a:pt x="192" y="94"/>
                    <a:pt x="192" y="99"/>
                    <a:pt x="192" y="104"/>
                  </a:cubicBezTo>
                  <a:cubicBezTo>
                    <a:pt x="192" y="110"/>
                    <a:pt x="192" y="115"/>
                    <a:pt x="192" y="121"/>
                  </a:cubicBezTo>
                  <a:cubicBezTo>
                    <a:pt x="192" y="138"/>
                    <a:pt x="192" y="156"/>
                    <a:pt x="192" y="173"/>
                  </a:cubicBezTo>
                  <a:cubicBezTo>
                    <a:pt x="193" y="179"/>
                    <a:pt x="194" y="185"/>
                    <a:pt x="191" y="190"/>
                  </a:cubicBezTo>
                  <a:cubicBezTo>
                    <a:pt x="193" y="200"/>
                    <a:pt x="187" y="206"/>
                    <a:pt x="181" y="212"/>
                  </a:cubicBezTo>
                  <a:cubicBezTo>
                    <a:pt x="138" y="255"/>
                    <a:pt x="96" y="299"/>
                    <a:pt x="51" y="341"/>
                  </a:cubicBezTo>
                  <a:cubicBezTo>
                    <a:pt x="30" y="362"/>
                    <a:pt x="17" y="384"/>
                    <a:pt x="19" y="413"/>
                  </a:cubicBezTo>
                  <a:cubicBezTo>
                    <a:pt x="22" y="419"/>
                    <a:pt x="20" y="666"/>
                    <a:pt x="19" y="681"/>
                  </a:cubicBezTo>
                  <a:cubicBezTo>
                    <a:pt x="8" y="689"/>
                    <a:pt x="0" y="702"/>
                    <a:pt x="0" y="717"/>
                  </a:cubicBezTo>
                  <a:cubicBezTo>
                    <a:pt x="0" y="742"/>
                    <a:pt x="20" y="762"/>
                    <a:pt x="45" y="762"/>
                  </a:cubicBezTo>
                  <a:cubicBezTo>
                    <a:pt x="70" y="762"/>
                    <a:pt x="90" y="742"/>
                    <a:pt x="90" y="717"/>
                  </a:cubicBezTo>
                  <a:cubicBezTo>
                    <a:pt x="90" y="699"/>
                    <a:pt x="79" y="683"/>
                    <a:pt x="62" y="676"/>
                  </a:cubicBezTo>
                  <a:cubicBezTo>
                    <a:pt x="63" y="670"/>
                    <a:pt x="63" y="664"/>
                    <a:pt x="63" y="657"/>
                  </a:cubicBezTo>
                  <a:cubicBezTo>
                    <a:pt x="63" y="652"/>
                    <a:pt x="63" y="646"/>
                    <a:pt x="63" y="640"/>
                  </a:cubicBezTo>
                  <a:cubicBezTo>
                    <a:pt x="63" y="623"/>
                    <a:pt x="63" y="606"/>
                    <a:pt x="63" y="588"/>
                  </a:cubicBezTo>
                  <a:cubicBezTo>
                    <a:pt x="63" y="583"/>
                    <a:pt x="63" y="577"/>
                    <a:pt x="63" y="571"/>
                  </a:cubicBezTo>
                  <a:cubicBezTo>
                    <a:pt x="63" y="554"/>
                    <a:pt x="63" y="537"/>
                    <a:pt x="63" y="520"/>
                  </a:cubicBezTo>
                  <a:cubicBezTo>
                    <a:pt x="63" y="514"/>
                    <a:pt x="63" y="508"/>
                    <a:pt x="63" y="503"/>
                  </a:cubicBezTo>
                  <a:cubicBezTo>
                    <a:pt x="63" y="485"/>
                    <a:pt x="63" y="468"/>
                    <a:pt x="63" y="451"/>
                  </a:cubicBezTo>
                  <a:cubicBezTo>
                    <a:pt x="63" y="446"/>
                    <a:pt x="63" y="440"/>
                    <a:pt x="63" y="434"/>
                  </a:cubicBezTo>
                  <a:cubicBezTo>
                    <a:pt x="58" y="405"/>
                    <a:pt x="66" y="384"/>
                    <a:pt x="89" y="363"/>
                  </a:cubicBezTo>
                  <a:cubicBezTo>
                    <a:pt x="130" y="326"/>
                    <a:pt x="168" y="285"/>
                    <a:pt x="209" y="245"/>
                  </a:cubicBezTo>
                  <a:cubicBezTo>
                    <a:pt x="220" y="234"/>
                    <a:pt x="228" y="222"/>
                    <a:pt x="234" y="207"/>
                  </a:cubicBezTo>
                  <a:cubicBezTo>
                    <a:pt x="234" y="202"/>
                    <a:pt x="234" y="198"/>
                    <a:pt x="235" y="193"/>
                  </a:cubicBezTo>
                  <a:cubicBezTo>
                    <a:pt x="235" y="176"/>
                    <a:pt x="235" y="159"/>
                    <a:pt x="235" y="142"/>
                  </a:cubicBezTo>
                  <a:cubicBezTo>
                    <a:pt x="235" y="136"/>
                    <a:pt x="235" y="130"/>
                    <a:pt x="235" y="125"/>
                  </a:cubicBezTo>
                  <a:cubicBezTo>
                    <a:pt x="235" y="114"/>
                    <a:pt x="234" y="104"/>
                    <a:pt x="234" y="93"/>
                  </a:cubicBezTo>
                  <a:cubicBezTo>
                    <a:pt x="248" y="87"/>
                    <a:pt x="258" y="74"/>
                    <a:pt x="261" y="59"/>
                  </a:cubicBezTo>
                  <a:cubicBezTo>
                    <a:pt x="264" y="72"/>
                    <a:pt x="272" y="82"/>
                    <a:pt x="283" y="88"/>
                  </a:cubicBezTo>
                  <a:cubicBezTo>
                    <a:pt x="283" y="91"/>
                    <a:pt x="283" y="94"/>
                    <a:pt x="283" y="96"/>
                  </a:cubicBezTo>
                  <a:cubicBezTo>
                    <a:pt x="283" y="114"/>
                    <a:pt x="283" y="366"/>
                    <a:pt x="283" y="372"/>
                  </a:cubicBezTo>
                  <a:cubicBezTo>
                    <a:pt x="283" y="390"/>
                    <a:pt x="283" y="407"/>
                    <a:pt x="283" y="424"/>
                  </a:cubicBezTo>
                  <a:cubicBezTo>
                    <a:pt x="286" y="438"/>
                    <a:pt x="280" y="448"/>
                    <a:pt x="271" y="457"/>
                  </a:cubicBezTo>
                  <a:cubicBezTo>
                    <a:pt x="229" y="499"/>
                    <a:pt x="188" y="540"/>
                    <a:pt x="146" y="582"/>
                  </a:cubicBezTo>
                  <a:cubicBezTo>
                    <a:pt x="141" y="580"/>
                    <a:pt x="135" y="578"/>
                    <a:pt x="129" y="578"/>
                  </a:cubicBezTo>
                  <a:cubicBezTo>
                    <a:pt x="103" y="578"/>
                    <a:pt x="83" y="598"/>
                    <a:pt x="83" y="623"/>
                  </a:cubicBezTo>
                  <a:cubicBezTo>
                    <a:pt x="83" y="648"/>
                    <a:pt x="103" y="668"/>
                    <a:pt x="129" y="668"/>
                  </a:cubicBezTo>
                  <a:cubicBezTo>
                    <a:pt x="154" y="668"/>
                    <a:pt x="175" y="648"/>
                    <a:pt x="175" y="623"/>
                  </a:cubicBezTo>
                  <a:cubicBezTo>
                    <a:pt x="175" y="620"/>
                    <a:pt x="174" y="617"/>
                    <a:pt x="173" y="614"/>
                  </a:cubicBezTo>
                  <a:cubicBezTo>
                    <a:pt x="196" y="594"/>
                    <a:pt x="216" y="572"/>
                    <a:pt x="237" y="551"/>
                  </a:cubicBezTo>
                  <a:cubicBezTo>
                    <a:pt x="265" y="523"/>
                    <a:pt x="295" y="496"/>
                    <a:pt x="321" y="465"/>
                  </a:cubicBezTo>
                  <a:cubicBezTo>
                    <a:pt x="323" y="458"/>
                    <a:pt x="325" y="451"/>
                    <a:pt x="326" y="445"/>
                  </a:cubicBezTo>
                  <a:cubicBezTo>
                    <a:pt x="326" y="428"/>
                    <a:pt x="326" y="104"/>
                    <a:pt x="326" y="100"/>
                  </a:cubicBezTo>
                  <a:cubicBezTo>
                    <a:pt x="326" y="96"/>
                    <a:pt x="326" y="92"/>
                    <a:pt x="326" y="88"/>
                  </a:cubicBezTo>
                  <a:cubicBezTo>
                    <a:pt x="339" y="80"/>
                    <a:pt x="349" y="65"/>
                    <a:pt x="349" y="47"/>
                  </a:cubicBezTo>
                  <a:cubicBezTo>
                    <a:pt x="349" y="21"/>
                    <a:pt x="329" y="0"/>
                    <a:pt x="304" y="0"/>
                  </a:cubicBezTo>
                  <a:cubicBezTo>
                    <a:pt x="282" y="0"/>
                    <a:pt x="264" y="17"/>
                    <a:pt x="260" y="39"/>
                  </a:cubicBezTo>
                  <a:cubicBezTo>
                    <a:pt x="255" y="19"/>
                    <a:pt x="238" y="5"/>
                    <a:pt x="217" y="5"/>
                  </a:cubicBezTo>
                  <a:cubicBezTo>
                    <a:pt x="192" y="5"/>
                    <a:pt x="172" y="25"/>
                    <a:pt x="172" y="51"/>
                  </a:cubicBezTo>
                  <a:cubicBezTo>
                    <a:pt x="172" y="66"/>
                    <a:pt x="180" y="81"/>
                    <a:pt x="192" y="89"/>
                  </a:cubicBezTo>
                  <a:close/>
                  <a:moveTo>
                    <a:pt x="70" y="717"/>
                  </a:moveTo>
                  <a:cubicBezTo>
                    <a:pt x="70" y="731"/>
                    <a:pt x="59" y="743"/>
                    <a:pt x="45" y="743"/>
                  </a:cubicBezTo>
                  <a:cubicBezTo>
                    <a:pt x="31" y="743"/>
                    <a:pt x="20" y="731"/>
                    <a:pt x="20" y="717"/>
                  </a:cubicBezTo>
                  <a:cubicBezTo>
                    <a:pt x="20" y="703"/>
                    <a:pt x="31" y="692"/>
                    <a:pt x="45" y="692"/>
                  </a:cubicBezTo>
                  <a:cubicBezTo>
                    <a:pt x="59" y="692"/>
                    <a:pt x="70" y="703"/>
                    <a:pt x="70" y="717"/>
                  </a:cubicBezTo>
                  <a:close/>
                  <a:moveTo>
                    <a:pt x="129" y="648"/>
                  </a:moveTo>
                  <a:cubicBezTo>
                    <a:pt x="114" y="648"/>
                    <a:pt x="102" y="637"/>
                    <a:pt x="102" y="623"/>
                  </a:cubicBezTo>
                  <a:cubicBezTo>
                    <a:pt x="102" y="609"/>
                    <a:pt x="114" y="598"/>
                    <a:pt x="129" y="598"/>
                  </a:cubicBezTo>
                  <a:cubicBezTo>
                    <a:pt x="143" y="598"/>
                    <a:pt x="155" y="609"/>
                    <a:pt x="155" y="623"/>
                  </a:cubicBezTo>
                  <a:cubicBezTo>
                    <a:pt x="155" y="637"/>
                    <a:pt x="143" y="648"/>
                    <a:pt x="129" y="648"/>
                  </a:cubicBezTo>
                  <a:close/>
                  <a:moveTo>
                    <a:pt x="217" y="24"/>
                  </a:moveTo>
                  <a:cubicBezTo>
                    <a:pt x="231" y="24"/>
                    <a:pt x="242" y="36"/>
                    <a:pt x="242" y="51"/>
                  </a:cubicBezTo>
                  <a:cubicBezTo>
                    <a:pt x="242" y="65"/>
                    <a:pt x="231" y="77"/>
                    <a:pt x="217" y="77"/>
                  </a:cubicBezTo>
                  <a:cubicBezTo>
                    <a:pt x="203" y="77"/>
                    <a:pt x="192" y="65"/>
                    <a:pt x="192" y="51"/>
                  </a:cubicBezTo>
                  <a:cubicBezTo>
                    <a:pt x="192" y="36"/>
                    <a:pt x="203" y="24"/>
                    <a:pt x="21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23" name="Freeform 16"/>
            <p:cNvSpPr>
              <a:spLocks noEditPoints="1"/>
            </p:cNvSpPr>
            <p:nvPr/>
          </p:nvSpPr>
          <p:spPr bwMode="gray">
            <a:xfrm>
              <a:off x="5044" y="756"/>
              <a:ext cx="424" cy="952"/>
            </a:xfrm>
            <a:custGeom>
              <a:avLst/>
              <a:gdLst>
                <a:gd name="T0" fmla="*/ 24 w 179"/>
                <a:gd name="T1" fmla="*/ 87 h 402"/>
                <a:gd name="T2" fmla="*/ 24 w 179"/>
                <a:gd name="T3" fmla="*/ 101 h 402"/>
                <a:gd name="T4" fmla="*/ 24 w 179"/>
                <a:gd name="T5" fmla="*/ 153 h 402"/>
                <a:gd name="T6" fmla="*/ 24 w 179"/>
                <a:gd name="T7" fmla="*/ 170 h 402"/>
                <a:gd name="T8" fmla="*/ 24 w 179"/>
                <a:gd name="T9" fmla="*/ 221 h 402"/>
                <a:gd name="T10" fmla="*/ 24 w 179"/>
                <a:gd name="T11" fmla="*/ 238 h 402"/>
                <a:gd name="T12" fmla="*/ 31 w 179"/>
                <a:gd name="T13" fmla="*/ 283 h 402"/>
                <a:gd name="T14" fmla="*/ 41 w 179"/>
                <a:gd name="T15" fmla="*/ 293 h 402"/>
                <a:gd name="T16" fmla="*/ 66 w 179"/>
                <a:gd name="T17" fmla="*/ 320 h 402"/>
                <a:gd name="T18" fmla="*/ 68 w 179"/>
                <a:gd name="T19" fmla="*/ 323 h 402"/>
                <a:gd name="T20" fmla="*/ 91 w 179"/>
                <a:gd name="T21" fmla="*/ 343 h 402"/>
                <a:gd name="T22" fmla="*/ 89 w 179"/>
                <a:gd name="T23" fmla="*/ 356 h 402"/>
                <a:gd name="T24" fmla="*/ 134 w 179"/>
                <a:gd name="T25" fmla="*/ 402 h 402"/>
                <a:gd name="T26" fmla="*/ 179 w 179"/>
                <a:gd name="T27" fmla="*/ 356 h 402"/>
                <a:gd name="T28" fmla="*/ 134 w 179"/>
                <a:gd name="T29" fmla="*/ 310 h 402"/>
                <a:gd name="T30" fmla="*/ 119 w 179"/>
                <a:gd name="T31" fmla="*/ 313 h 402"/>
                <a:gd name="T32" fmla="*/ 102 w 179"/>
                <a:gd name="T33" fmla="*/ 294 h 402"/>
                <a:gd name="T34" fmla="*/ 95 w 179"/>
                <a:gd name="T35" fmla="*/ 287 h 402"/>
                <a:gd name="T36" fmla="*/ 68 w 179"/>
                <a:gd name="T37" fmla="*/ 259 h 402"/>
                <a:gd name="T38" fmla="*/ 68 w 179"/>
                <a:gd name="T39" fmla="*/ 242 h 402"/>
                <a:gd name="T40" fmla="*/ 68 w 179"/>
                <a:gd name="T41" fmla="*/ 190 h 402"/>
                <a:gd name="T42" fmla="*/ 68 w 179"/>
                <a:gd name="T43" fmla="*/ 173 h 402"/>
                <a:gd name="T44" fmla="*/ 68 w 179"/>
                <a:gd name="T45" fmla="*/ 122 h 402"/>
                <a:gd name="T46" fmla="*/ 68 w 179"/>
                <a:gd name="T47" fmla="*/ 104 h 402"/>
                <a:gd name="T48" fmla="*/ 67 w 179"/>
                <a:gd name="T49" fmla="*/ 86 h 402"/>
                <a:gd name="T50" fmla="*/ 89 w 179"/>
                <a:gd name="T51" fmla="*/ 46 h 402"/>
                <a:gd name="T52" fmla="*/ 45 w 179"/>
                <a:gd name="T53" fmla="*/ 0 h 402"/>
                <a:gd name="T54" fmla="*/ 0 w 179"/>
                <a:gd name="T55" fmla="*/ 46 h 402"/>
                <a:gd name="T56" fmla="*/ 24 w 179"/>
                <a:gd name="T57" fmla="*/ 87 h 402"/>
                <a:gd name="T58" fmla="*/ 134 w 179"/>
                <a:gd name="T59" fmla="*/ 330 h 402"/>
                <a:gd name="T60" fmla="*/ 160 w 179"/>
                <a:gd name="T61" fmla="*/ 356 h 402"/>
                <a:gd name="T62" fmla="*/ 134 w 179"/>
                <a:gd name="T63" fmla="*/ 383 h 402"/>
                <a:gd name="T64" fmla="*/ 109 w 179"/>
                <a:gd name="T65" fmla="*/ 356 h 402"/>
                <a:gd name="T66" fmla="*/ 134 w 179"/>
                <a:gd name="T67" fmla="*/ 330 h 402"/>
                <a:gd name="T68" fmla="*/ 45 w 179"/>
                <a:gd name="T69" fmla="*/ 20 h 402"/>
                <a:gd name="T70" fmla="*/ 70 w 179"/>
                <a:gd name="T71" fmla="*/ 46 h 402"/>
                <a:gd name="T72" fmla="*/ 45 w 179"/>
                <a:gd name="T73" fmla="*/ 73 h 402"/>
                <a:gd name="T74" fmla="*/ 19 w 179"/>
                <a:gd name="T75" fmla="*/ 46 h 402"/>
                <a:gd name="T76" fmla="*/ 45 w 179"/>
                <a:gd name="T77" fmla="*/ 2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" h="402">
                  <a:moveTo>
                    <a:pt x="24" y="87"/>
                  </a:moveTo>
                  <a:cubicBezTo>
                    <a:pt x="24" y="92"/>
                    <a:pt x="24" y="96"/>
                    <a:pt x="24" y="101"/>
                  </a:cubicBezTo>
                  <a:cubicBezTo>
                    <a:pt x="24" y="118"/>
                    <a:pt x="24" y="135"/>
                    <a:pt x="24" y="153"/>
                  </a:cubicBezTo>
                  <a:cubicBezTo>
                    <a:pt x="24" y="158"/>
                    <a:pt x="24" y="164"/>
                    <a:pt x="24" y="170"/>
                  </a:cubicBezTo>
                  <a:cubicBezTo>
                    <a:pt x="24" y="186"/>
                    <a:pt x="24" y="204"/>
                    <a:pt x="24" y="221"/>
                  </a:cubicBezTo>
                  <a:cubicBezTo>
                    <a:pt x="24" y="227"/>
                    <a:pt x="24" y="233"/>
                    <a:pt x="24" y="238"/>
                  </a:cubicBezTo>
                  <a:cubicBezTo>
                    <a:pt x="24" y="253"/>
                    <a:pt x="25" y="269"/>
                    <a:pt x="31" y="283"/>
                  </a:cubicBezTo>
                  <a:cubicBezTo>
                    <a:pt x="34" y="287"/>
                    <a:pt x="38" y="289"/>
                    <a:pt x="41" y="293"/>
                  </a:cubicBezTo>
                  <a:cubicBezTo>
                    <a:pt x="49" y="303"/>
                    <a:pt x="57" y="312"/>
                    <a:pt x="66" y="320"/>
                  </a:cubicBezTo>
                  <a:cubicBezTo>
                    <a:pt x="67" y="321"/>
                    <a:pt x="68" y="322"/>
                    <a:pt x="68" y="323"/>
                  </a:cubicBezTo>
                  <a:cubicBezTo>
                    <a:pt x="76" y="329"/>
                    <a:pt x="84" y="336"/>
                    <a:pt x="91" y="343"/>
                  </a:cubicBezTo>
                  <a:cubicBezTo>
                    <a:pt x="90" y="347"/>
                    <a:pt x="89" y="352"/>
                    <a:pt x="89" y="356"/>
                  </a:cubicBezTo>
                  <a:cubicBezTo>
                    <a:pt x="89" y="382"/>
                    <a:pt x="109" y="402"/>
                    <a:pt x="134" y="402"/>
                  </a:cubicBezTo>
                  <a:cubicBezTo>
                    <a:pt x="159" y="402"/>
                    <a:pt x="179" y="382"/>
                    <a:pt x="179" y="356"/>
                  </a:cubicBezTo>
                  <a:cubicBezTo>
                    <a:pt x="179" y="331"/>
                    <a:pt x="159" y="310"/>
                    <a:pt x="134" y="310"/>
                  </a:cubicBezTo>
                  <a:cubicBezTo>
                    <a:pt x="129" y="310"/>
                    <a:pt x="124" y="312"/>
                    <a:pt x="119" y="313"/>
                  </a:cubicBezTo>
                  <a:cubicBezTo>
                    <a:pt x="113" y="307"/>
                    <a:pt x="107" y="300"/>
                    <a:pt x="102" y="294"/>
                  </a:cubicBezTo>
                  <a:cubicBezTo>
                    <a:pt x="99" y="292"/>
                    <a:pt x="97" y="289"/>
                    <a:pt x="95" y="287"/>
                  </a:cubicBezTo>
                  <a:cubicBezTo>
                    <a:pt x="85" y="278"/>
                    <a:pt x="76" y="270"/>
                    <a:pt x="68" y="259"/>
                  </a:cubicBezTo>
                  <a:cubicBezTo>
                    <a:pt x="65" y="253"/>
                    <a:pt x="65" y="248"/>
                    <a:pt x="68" y="242"/>
                  </a:cubicBezTo>
                  <a:cubicBezTo>
                    <a:pt x="68" y="225"/>
                    <a:pt x="68" y="208"/>
                    <a:pt x="68" y="190"/>
                  </a:cubicBezTo>
                  <a:cubicBezTo>
                    <a:pt x="65" y="184"/>
                    <a:pt x="65" y="179"/>
                    <a:pt x="68" y="173"/>
                  </a:cubicBezTo>
                  <a:cubicBezTo>
                    <a:pt x="68" y="156"/>
                    <a:pt x="68" y="139"/>
                    <a:pt x="68" y="122"/>
                  </a:cubicBezTo>
                  <a:cubicBezTo>
                    <a:pt x="65" y="116"/>
                    <a:pt x="65" y="110"/>
                    <a:pt x="68" y="104"/>
                  </a:cubicBezTo>
                  <a:cubicBezTo>
                    <a:pt x="66" y="98"/>
                    <a:pt x="67" y="92"/>
                    <a:pt x="67" y="86"/>
                  </a:cubicBezTo>
                  <a:cubicBezTo>
                    <a:pt x="80" y="78"/>
                    <a:pt x="89" y="63"/>
                    <a:pt x="89" y="46"/>
                  </a:cubicBezTo>
                  <a:cubicBezTo>
                    <a:pt x="89" y="21"/>
                    <a:pt x="69" y="0"/>
                    <a:pt x="45" y="0"/>
                  </a:cubicBezTo>
                  <a:cubicBezTo>
                    <a:pt x="20" y="0"/>
                    <a:pt x="0" y="21"/>
                    <a:pt x="0" y="46"/>
                  </a:cubicBezTo>
                  <a:cubicBezTo>
                    <a:pt x="0" y="64"/>
                    <a:pt x="10" y="79"/>
                    <a:pt x="24" y="87"/>
                  </a:cubicBezTo>
                  <a:close/>
                  <a:moveTo>
                    <a:pt x="134" y="330"/>
                  </a:moveTo>
                  <a:cubicBezTo>
                    <a:pt x="148" y="330"/>
                    <a:pt x="160" y="342"/>
                    <a:pt x="160" y="356"/>
                  </a:cubicBezTo>
                  <a:cubicBezTo>
                    <a:pt x="160" y="371"/>
                    <a:pt x="148" y="383"/>
                    <a:pt x="134" y="383"/>
                  </a:cubicBezTo>
                  <a:cubicBezTo>
                    <a:pt x="120" y="383"/>
                    <a:pt x="109" y="371"/>
                    <a:pt x="109" y="356"/>
                  </a:cubicBezTo>
                  <a:cubicBezTo>
                    <a:pt x="109" y="342"/>
                    <a:pt x="120" y="330"/>
                    <a:pt x="134" y="330"/>
                  </a:cubicBezTo>
                  <a:close/>
                  <a:moveTo>
                    <a:pt x="45" y="20"/>
                  </a:moveTo>
                  <a:cubicBezTo>
                    <a:pt x="59" y="20"/>
                    <a:pt x="70" y="32"/>
                    <a:pt x="70" y="46"/>
                  </a:cubicBezTo>
                  <a:cubicBezTo>
                    <a:pt x="70" y="61"/>
                    <a:pt x="59" y="73"/>
                    <a:pt x="45" y="73"/>
                  </a:cubicBezTo>
                  <a:cubicBezTo>
                    <a:pt x="31" y="73"/>
                    <a:pt x="19" y="61"/>
                    <a:pt x="19" y="46"/>
                  </a:cubicBezTo>
                  <a:cubicBezTo>
                    <a:pt x="19" y="32"/>
                    <a:pt x="31" y="20"/>
                    <a:pt x="4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63" name="Freeform 17"/>
            <p:cNvSpPr>
              <a:spLocks noEditPoints="1"/>
            </p:cNvSpPr>
            <p:nvPr/>
          </p:nvSpPr>
          <p:spPr bwMode="gray">
            <a:xfrm>
              <a:off x="2179" y="747"/>
              <a:ext cx="378" cy="1384"/>
            </a:xfrm>
            <a:custGeom>
              <a:avLst/>
              <a:gdLst>
                <a:gd name="T0" fmla="*/ 115 w 160"/>
                <a:gd name="T1" fmla="*/ 496 h 585"/>
                <a:gd name="T2" fmla="*/ 109 w 160"/>
                <a:gd name="T3" fmla="*/ 497 h 585"/>
                <a:gd name="T4" fmla="*/ 95 w 160"/>
                <a:gd name="T5" fmla="*/ 481 h 585"/>
                <a:gd name="T6" fmla="*/ 88 w 160"/>
                <a:gd name="T7" fmla="*/ 474 h 585"/>
                <a:gd name="T8" fmla="*/ 68 w 160"/>
                <a:gd name="T9" fmla="*/ 440 h 585"/>
                <a:gd name="T10" fmla="*/ 68 w 160"/>
                <a:gd name="T11" fmla="*/ 88 h 585"/>
                <a:gd name="T12" fmla="*/ 92 w 160"/>
                <a:gd name="T13" fmla="*/ 47 h 585"/>
                <a:gd name="T14" fmla="*/ 46 w 160"/>
                <a:gd name="T15" fmla="*/ 0 h 585"/>
                <a:gd name="T16" fmla="*/ 0 w 160"/>
                <a:gd name="T17" fmla="*/ 47 h 585"/>
                <a:gd name="T18" fmla="*/ 25 w 160"/>
                <a:gd name="T19" fmla="*/ 88 h 585"/>
                <a:gd name="T20" fmla="*/ 27 w 160"/>
                <a:gd name="T21" fmla="*/ 466 h 585"/>
                <a:gd name="T22" fmla="*/ 35 w 160"/>
                <a:gd name="T23" fmla="*/ 481 h 585"/>
                <a:gd name="T24" fmla="*/ 57 w 160"/>
                <a:gd name="T25" fmla="*/ 505 h 585"/>
                <a:gd name="T26" fmla="*/ 67 w 160"/>
                <a:gd name="T27" fmla="*/ 515 h 585"/>
                <a:gd name="T28" fmla="*/ 75 w 160"/>
                <a:gd name="T29" fmla="*/ 522 h 585"/>
                <a:gd name="T30" fmla="*/ 71 w 160"/>
                <a:gd name="T31" fmla="*/ 541 h 585"/>
                <a:gd name="T32" fmla="*/ 115 w 160"/>
                <a:gd name="T33" fmla="*/ 585 h 585"/>
                <a:gd name="T34" fmla="*/ 160 w 160"/>
                <a:gd name="T35" fmla="*/ 541 h 585"/>
                <a:gd name="T36" fmla="*/ 115 w 160"/>
                <a:gd name="T37" fmla="*/ 496 h 585"/>
                <a:gd name="T38" fmla="*/ 20 w 160"/>
                <a:gd name="T39" fmla="*/ 47 h 585"/>
                <a:gd name="T40" fmla="*/ 46 w 160"/>
                <a:gd name="T41" fmla="*/ 19 h 585"/>
                <a:gd name="T42" fmla="*/ 73 w 160"/>
                <a:gd name="T43" fmla="*/ 47 h 585"/>
                <a:gd name="T44" fmla="*/ 46 w 160"/>
                <a:gd name="T45" fmla="*/ 75 h 585"/>
                <a:gd name="T46" fmla="*/ 20 w 160"/>
                <a:gd name="T47" fmla="*/ 47 h 585"/>
                <a:gd name="T48" fmla="*/ 115 w 160"/>
                <a:gd name="T49" fmla="*/ 566 h 585"/>
                <a:gd name="T50" fmla="*/ 90 w 160"/>
                <a:gd name="T51" fmla="*/ 541 h 585"/>
                <a:gd name="T52" fmla="*/ 115 w 160"/>
                <a:gd name="T53" fmla="*/ 515 h 585"/>
                <a:gd name="T54" fmla="*/ 141 w 160"/>
                <a:gd name="T55" fmla="*/ 541 h 585"/>
                <a:gd name="T56" fmla="*/ 115 w 160"/>
                <a:gd name="T57" fmla="*/ 566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585">
                  <a:moveTo>
                    <a:pt x="115" y="496"/>
                  </a:moveTo>
                  <a:cubicBezTo>
                    <a:pt x="113" y="496"/>
                    <a:pt x="111" y="496"/>
                    <a:pt x="109" y="497"/>
                  </a:cubicBezTo>
                  <a:cubicBezTo>
                    <a:pt x="104" y="491"/>
                    <a:pt x="100" y="486"/>
                    <a:pt x="95" y="481"/>
                  </a:cubicBezTo>
                  <a:cubicBezTo>
                    <a:pt x="91" y="480"/>
                    <a:pt x="89" y="477"/>
                    <a:pt x="88" y="474"/>
                  </a:cubicBezTo>
                  <a:cubicBezTo>
                    <a:pt x="77" y="465"/>
                    <a:pt x="63" y="457"/>
                    <a:pt x="68" y="440"/>
                  </a:cubicBezTo>
                  <a:cubicBezTo>
                    <a:pt x="67" y="434"/>
                    <a:pt x="68" y="91"/>
                    <a:pt x="68" y="88"/>
                  </a:cubicBezTo>
                  <a:cubicBezTo>
                    <a:pt x="82" y="80"/>
                    <a:pt x="92" y="65"/>
                    <a:pt x="92" y="47"/>
                  </a:cubicBezTo>
                  <a:cubicBezTo>
                    <a:pt x="92" y="21"/>
                    <a:pt x="72" y="0"/>
                    <a:pt x="46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65"/>
                    <a:pt x="10" y="80"/>
                    <a:pt x="25" y="88"/>
                  </a:cubicBezTo>
                  <a:cubicBezTo>
                    <a:pt x="25" y="101"/>
                    <a:pt x="26" y="450"/>
                    <a:pt x="27" y="466"/>
                  </a:cubicBezTo>
                  <a:cubicBezTo>
                    <a:pt x="30" y="471"/>
                    <a:pt x="32" y="476"/>
                    <a:pt x="35" y="481"/>
                  </a:cubicBezTo>
                  <a:cubicBezTo>
                    <a:pt x="42" y="489"/>
                    <a:pt x="49" y="497"/>
                    <a:pt x="57" y="505"/>
                  </a:cubicBezTo>
                  <a:cubicBezTo>
                    <a:pt x="60" y="508"/>
                    <a:pt x="63" y="512"/>
                    <a:pt x="67" y="515"/>
                  </a:cubicBezTo>
                  <a:cubicBezTo>
                    <a:pt x="69" y="518"/>
                    <a:pt x="72" y="520"/>
                    <a:pt x="75" y="522"/>
                  </a:cubicBezTo>
                  <a:cubicBezTo>
                    <a:pt x="72" y="528"/>
                    <a:pt x="71" y="534"/>
                    <a:pt x="71" y="541"/>
                  </a:cubicBezTo>
                  <a:cubicBezTo>
                    <a:pt x="71" y="565"/>
                    <a:pt x="91" y="585"/>
                    <a:pt x="115" y="585"/>
                  </a:cubicBezTo>
                  <a:cubicBezTo>
                    <a:pt x="140" y="585"/>
                    <a:pt x="160" y="565"/>
                    <a:pt x="160" y="541"/>
                  </a:cubicBezTo>
                  <a:cubicBezTo>
                    <a:pt x="160" y="516"/>
                    <a:pt x="140" y="496"/>
                    <a:pt x="115" y="496"/>
                  </a:cubicBezTo>
                  <a:close/>
                  <a:moveTo>
                    <a:pt x="20" y="47"/>
                  </a:moveTo>
                  <a:cubicBezTo>
                    <a:pt x="20" y="32"/>
                    <a:pt x="32" y="19"/>
                    <a:pt x="46" y="19"/>
                  </a:cubicBezTo>
                  <a:cubicBezTo>
                    <a:pt x="61" y="19"/>
                    <a:pt x="73" y="32"/>
                    <a:pt x="73" y="47"/>
                  </a:cubicBezTo>
                  <a:cubicBezTo>
                    <a:pt x="73" y="62"/>
                    <a:pt x="61" y="75"/>
                    <a:pt x="46" y="75"/>
                  </a:cubicBezTo>
                  <a:cubicBezTo>
                    <a:pt x="32" y="75"/>
                    <a:pt x="20" y="62"/>
                    <a:pt x="20" y="47"/>
                  </a:cubicBezTo>
                  <a:close/>
                  <a:moveTo>
                    <a:pt x="115" y="566"/>
                  </a:moveTo>
                  <a:cubicBezTo>
                    <a:pt x="101" y="566"/>
                    <a:pt x="90" y="555"/>
                    <a:pt x="90" y="541"/>
                  </a:cubicBezTo>
                  <a:cubicBezTo>
                    <a:pt x="90" y="527"/>
                    <a:pt x="101" y="515"/>
                    <a:pt x="115" y="515"/>
                  </a:cubicBezTo>
                  <a:cubicBezTo>
                    <a:pt x="129" y="515"/>
                    <a:pt x="141" y="527"/>
                    <a:pt x="141" y="541"/>
                  </a:cubicBezTo>
                  <a:cubicBezTo>
                    <a:pt x="141" y="555"/>
                    <a:pt x="129" y="566"/>
                    <a:pt x="115" y="5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65" name="Freeform 18"/>
            <p:cNvSpPr>
              <a:spLocks noEditPoints="1"/>
            </p:cNvSpPr>
            <p:nvPr/>
          </p:nvSpPr>
          <p:spPr bwMode="gray">
            <a:xfrm>
              <a:off x="2420" y="311"/>
              <a:ext cx="939" cy="1707"/>
            </a:xfrm>
            <a:custGeom>
              <a:avLst/>
              <a:gdLst>
                <a:gd name="T0" fmla="*/ 162 w 397"/>
                <a:gd name="T1" fmla="*/ 675 h 721"/>
                <a:gd name="T2" fmla="*/ 137 w 397"/>
                <a:gd name="T3" fmla="*/ 634 h 721"/>
                <a:gd name="T4" fmla="*/ 137 w 397"/>
                <a:gd name="T5" fmla="*/ 592 h 721"/>
                <a:gd name="T6" fmla="*/ 135 w 397"/>
                <a:gd name="T7" fmla="*/ 580 h 721"/>
                <a:gd name="T8" fmla="*/ 111 w 397"/>
                <a:gd name="T9" fmla="*/ 548 h 721"/>
                <a:gd name="T10" fmla="*/ 104 w 397"/>
                <a:gd name="T11" fmla="*/ 541 h 721"/>
                <a:gd name="T12" fmla="*/ 76 w 397"/>
                <a:gd name="T13" fmla="*/ 513 h 721"/>
                <a:gd name="T14" fmla="*/ 70 w 397"/>
                <a:gd name="T15" fmla="*/ 506 h 721"/>
                <a:gd name="T16" fmla="*/ 46 w 397"/>
                <a:gd name="T17" fmla="*/ 482 h 721"/>
                <a:gd name="T18" fmla="*/ 44 w 397"/>
                <a:gd name="T19" fmla="*/ 460 h 721"/>
                <a:gd name="T20" fmla="*/ 44 w 397"/>
                <a:gd name="T21" fmla="*/ 409 h 721"/>
                <a:gd name="T22" fmla="*/ 44 w 397"/>
                <a:gd name="T23" fmla="*/ 392 h 721"/>
                <a:gd name="T24" fmla="*/ 44 w 397"/>
                <a:gd name="T25" fmla="*/ 340 h 721"/>
                <a:gd name="T26" fmla="*/ 43 w 397"/>
                <a:gd name="T27" fmla="*/ 322 h 721"/>
                <a:gd name="T28" fmla="*/ 43 w 397"/>
                <a:gd name="T29" fmla="*/ 285 h 721"/>
                <a:gd name="T30" fmla="*/ 61 w 397"/>
                <a:gd name="T31" fmla="*/ 267 h 721"/>
                <a:gd name="T32" fmla="*/ 95 w 397"/>
                <a:gd name="T33" fmla="*/ 268 h 721"/>
                <a:gd name="T34" fmla="*/ 112 w 397"/>
                <a:gd name="T35" fmla="*/ 269 h 721"/>
                <a:gd name="T36" fmla="*/ 167 w 397"/>
                <a:gd name="T37" fmla="*/ 261 h 721"/>
                <a:gd name="T38" fmla="*/ 343 w 397"/>
                <a:gd name="T39" fmla="*/ 85 h 721"/>
                <a:gd name="T40" fmla="*/ 353 w 397"/>
                <a:gd name="T41" fmla="*/ 87 h 721"/>
                <a:gd name="T42" fmla="*/ 397 w 397"/>
                <a:gd name="T43" fmla="*/ 43 h 721"/>
                <a:gd name="T44" fmla="*/ 353 w 397"/>
                <a:gd name="T45" fmla="*/ 0 h 721"/>
                <a:gd name="T46" fmla="*/ 310 w 397"/>
                <a:gd name="T47" fmla="*/ 43 h 721"/>
                <a:gd name="T48" fmla="*/ 313 w 397"/>
                <a:gd name="T49" fmla="*/ 59 h 721"/>
                <a:gd name="T50" fmla="*/ 179 w 397"/>
                <a:gd name="T51" fmla="*/ 193 h 721"/>
                <a:gd name="T52" fmla="*/ 91 w 397"/>
                <a:gd name="T53" fmla="*/ 225 h 721"/>
                <a:gd name="T54" fmla="*/ 74 w 397"/>
                <a:gd name="T55" fmla="*/ 225 h 721"/>
                <a:gd name="T56" fmla="*/ 57 w 397"/>
                <a:gd name="T57" fmla="*/ 226 h 721"/>
                <a:gd name="T58" fmla="*/ 1 w 397"/>
                <a:gd name="T59" fmla="*/ 283 h 721"/>
                <a:gd name="T60" fmla="*/ 0 w 397"/>
                <a:gd name="T61" fmla="*/ 301 h 721"/>
                <a:gd name="T62" fmla="*/ 1 w 397"/>
                <a:gd name="T63" fmla="*/ 319 h 721"/>
                <a:gd name="T64" fmla="*/ 0 w 397"/>
                <a:gd name="T65" fmla="*/ 370 h 721"/>
                <a:gd name="T66" fmla="*/ 1 w 397"/>
                <a:gd name="T67" fmla="*/ 388 h 721"/>
                <a:gd name="T68" fmla="*/ 0 w 397"/>
                <a:gd name="T69" fmla="*/ 440 h 721"/>
                <a:gd name="T70" fmla="*/ 1 w 397"/>
                <a:gd name="T71" fmla="*/ 457 h 721"/>
                <a:gd name="T72" fmla="*/ 7 w 397"/>
                <a:gd name="T73" fmla="*/ 502 h 721"/>
                <a:gd name="T74" fmla="*/ 15 w 397"/>
                <a:gd name="T75" fmla="*/ 512 h 721"/>
                <a:gd name="T76" fmla="*/ 36 w 397"/>
                <a:gd name="T77" fmla="*/ 536 h 721"/>
                <a:gd name="T78" fmla="*/ 47 w 397"/>
                <a:gd name="T79" fmla="*/ 546 h 721"/>
                <a:gd name="T80" fmla="*/ 71 w 397"/>
                <a:gd name="T81" fmla="*/ 570 h 721"/>
                <a:gd name="T82" fmla="*/ 82 w 397"/>
                <a:gd name="T83" fmla="*/ 581 h 721"/>
                <a:gd name="T84" fmla="*/ 95 w 397"/>
                <a:gd name="T85" fmla="*/ 608 h 721"/>
                <a:gd name="T86" fmla="*/ 94 w 397"/>
                <a:gd name="T87" fmla="*/ 634 h 721"/>
                <a:gd name="T88" fmla="*/ 68 w 397"/>
                <a:gd name="T89" fmla="*/ 675 h 721"/>
                <a:gd name="T90" fmla="*/ 115 w 397"/>
                <a:gd name="T91" fmla="*/ 721 h 721"/>
                <a:gd name="T92" fmla="*/ 162 w 397"/>
                <a:gd name="T93" fmla="*/ 675 h 721"/>
                <a:gd name="T94" fmla="*/ 353 w 397"/>
                <a:gd name="T95" fmla="*/ 19 h 721"/>
                <a:gd name="T96" fmla="*/ 378 w 397"/>
                <a:gd name="T97" fmla="*/ 43 h 721"/>
                <a:gd name="T98" fmla="*/ 353 w 397"/>
                <a:gd name="T99" fmla="*/ 67 h 721"/>
                <a:gd name="T100" fmla="*/ 329 w 397"/>
                <a:gd name="T101" fmla="*/ 43 h 721"/>
                <a:gd name="T102" fmla="*/ 353 w 397"/>
                <a:gd name="T103" fmla="*/ 19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7" h="721">
                  <a:moveTo>
                    <a:pt x="162" y="675"/>
                  </a:moveTo>
                  <a:cubicBezTo>
                    <a:pt x="162" y="657"/>
                    <a:pt x="152" y="642"/>
                    <a:pt x="137" y="634"/>
                  </a:cubicBezTo>
                  <a:cubicBezTo>
                    <a:pt x="137" y="620"/>
                    <a:pt x="137" y="606"/>
                    <a:pt x="137" y="592"/>
                  </a:cubicBezTo>
                  <a:cubicBezTo>
                    <a:pt x="136" y="587"/>
                    <a:pt x="135" y="584"/>
                    <a:pt x="135" y="580"/>
                  </a:cubicBezTo>
                  <a:cubicBezTo>
                    <a:pt x="129" y="567"/>
                    <a:pt x="120" y="557"/>
                    <a:pt x="111" y="548"/>
                  </a:cubicBezTo>
                  <a:cubicBezTo>
                    <a:pt x="109" y="545"/>
                    <a:pt x="106" y="543"/>
                    <a:pt x="104" y="541"/>
                  </a:cubicBezTo>
                  <a:cubicBezTo>
                    <a:pt x="94" y="533"/>
                    <a:pt x="84" y="523"/>
                    <a:pt x="76" y="513"/>
                  </a:cubicBezTo>
                  <a:cubicBezTo>
                    <a:pt x="74" y="511"/>
                    <a:pt x="72" y="508"/>
                    <a:pt x="70" y="506"/>
                  </a:cubicBezTo>
                  <a:cubicBezTo>
                    <a:pt x="61" y="499"/>
                    <a:pt x="53" y="491"/>
                    <a:pt x="46" y="482"/>
                  </a:cubicBezTo>
                  <a:cubicBezTo>
                    <a:pt x="41" y="475"/>
                    <a:pt x="44" y="468"/>
                    <a:pt x="44" y="460"/>
                  </a:cubicBezTo>
                  <a:cubicBezTo>
                    <a:pt x="44" y="443"/>
                    <a:pt x="44" y="426"/>
                    <a:pt x="44" y="409"/>
                  </a:cubicBezTo>
                  <a:cubicBezTo>
                    <a:pt x="44" y="403"/>
                    <a:pt x="44" y="397"/>
                    <a:pt x="44" y="392"/>
                  </a:cubicBezTo>
                  <a:cubicBezTo>
                    <a:pt x="44" y="374"/>
                    <a:pt x="44" y="357"/>
                    <a:pt x="44" y="340"/>
                  </a:cubicBezTo>
                  <a:cubicBezTo>
                    <a:pt x="44" y="334"/>
                    <a:pt x="44" y="328"/>
                    <a:pt x="43" y="322"/>
                  </a:cubicBezTo>
                  <a:cubicBezTo>
                    <a:pt x="43" y="309"/>
                    <a:pt x="43" y="297"/>
                    <a:pt x="43" y="285"/>
                  </a:cubicBezTo>
                  <a:cubicBezTo>
                    <a:pt x="42" y="272"/>
                    <a:pt x="49" y="267"/>
                    <a:pt x="61" y="267"/>
                  </a:cubicBezTo>
                  <a:cubicBezTo>
                    <a:pt x="72" y="268"/>
                    <a:pt x="83" y="268"/>
                    <a:pt x="95" y="268"/>
                  </a:cubicBezTo>
                  <a:cubicBezTo>
                    <a:pt x="101" y="267"/>
                    <a:pt x="106" y="267"/>
                    <a:pt x="112" y="269"/>
                  </a:cubicBezTo>
                  <a:cubicBezTo>
                    <a:pt x="130" y="266"/>
                    <a:pt x="149" y="271"/>
                    <a:pt x="167" y="261"/>
                  </a:cubicBezTo>
                  <a:cubicBezTo>
                    <a:pt x="226" y="203"/>
                    <a:pt x="284" y="144"/>
                    <a:pt x="343" y="85"/>
                  </a:cubicBezTo>
                  <a:cubicBezTo>
                    <a:pt x="346" y="86"/>
                    <a:pt x="350" y="87"/>
                    <a:pt x="353" y="87"/>
                  </a:cubicBezTo>
                  <a:cubicBezTo>
                    <a:pt x="377" y="87"/>
                    <a:pt x="397" y="67"/>
                    <a:pt x="397" y="43"/>
                  </a:cubicBezTo>
                  <a:cubicBezTo>
                    <a:pt x="397" y="19"/>
                    <a:pt x="377" y="0"/>
                    <a:pt x="353" y="0"/>
                  </a:cubicBezTo>
                  <a:cubicBezTo>
                    <a:pt x="329" y="0"/>
                    <a:pt x="310" y="19"/>
                    <a:pt x="310" y="43"/>
                  </a:cubicBezTo>
                  <a:cubicBezTo>
                    <a:pt x="310" y="49"/>
                    <a:pt x="311" y="54"/>
                    <a:pt x="313" y="59"/>
                  </a:cubicBezTo>
                  <a:cubicBezTo>
                    <a:pt x="268" y="103"/>
                    <a:pt x="221" y="146"/>
                    <a:pt x="179" y="193"/>
                  </a:cubicBezTo>
                  <a:cubicBezTo>
                    <a:pt x="154" y="221"/>
                    <a:pt x="126" y="232"/>
                    <a:pt x="91" y="225"/>
                  </a:cubicBezTo>
                  <a:cubicBezTo>
                    <a:pt x="86" y="225"/>
                    <a:pt x="80" y="225"/>
                    <a:pt x="74" y="225"/>
                  </a:cubicBezTo>
                  <a:cubicBezTo>
                    <a:pt x="68" y="225"/>
                    <a:pt x="62" y="226"/>
                    <a:pt x="57" y="226"/>
                  </a:cubicBezTo>
                  <a:cubicBezTo>
                    <a:pt x="23" y="227"/>
                    <a:pt x="2" y="249"/>
                    <a:pt x="1" y="283"/>
                  </a:cubicBezTo>
                  <a:cubicBezTo>
                    <a:pt x="1" y="289"/>
                    <a:pt x="1" y="295"/>
                    <a:pt x="0" y="301"/>
                  </a:cubicBezTo>
                  <a:cubicBezTo>
                    <a:pt x="1" y="307"/>
                    <a:pt x="1" y="313"/>
                    <a:pt x="1" y="319"/>
                  </a:cubicBezTo>
                  <a:cubicBezTo>
                    <a:pt x="1" y="336"/>
                    <a:pt x="1" y="353"/>
                    <a:pt x="0" y="370"/>
                  </a:cubicBezTo>
                  <a:cubicBezTo>
                    <a:pt x="1" y="376"/>
                    <a:pt x="1" y="382"/>
                    <a:pt x="1" y="388"/>
                  </a:cubicBezTo>
                  <a:cubicBezTo>
                    <a:pt x="1" y="405"/>
                    <a:pt x="1" y="423"/>
                    <a:pt x="0" y="440"/>
                  </a:cubicBezTo>
                  <a:cubicBezTo>
                    <a:pt x="1" y="445"/>
                    <a:pt x="1" y="451"/>
                    <a:pt x="1" y="457"/>
                  </a:cubicBezTo>
                  <a:cubicBezTo>
                    <a:pt x="2" y="472"/>
                    <a:pt x="0" y="487"/>
                    <a:pt x="7" y="502"/>
                  </a:cubicBezTo>
                  <a:cubicBezTo>
                    <a:pt x="9" y="505"/>
                    <a:pt x="12" y="509"/>
                    <a:pt x="15" y="512"/>
                  </a:cubicBezTo>
                  <a:cubicBezTo>
                    <a:pt x="22" y="520"/>
                    <a:pt x="30" y="528"/>
                    <a:pt x="36" y="536"/>
                  </a:cubicBezTo>
                  <a:cubicBezTo>
                    <a:pt x="40" y="539"/>
                    <a:pt x="44" y="542"/>
                    <a:pt x="47" y="546"/>
                  </a:cubicBezTo>
                  <a:cubicBezTo>
                    <a:pt x="55" y="554"/>
                    <a:pt x="63" y="562"/>
                    <a:pt x="71" y="570"/>
                  </a:cubicBezTo>
                  <a:cubicBezTo>
                    <a:pt x="75" y="573"/>
                    <a:pt x="78" y="577"/>
                    <a:pt x="82" y="581"/>
                  </a:cubicBezTo>
                  <a:cubicBezTo>
                    <a:pt x="92" y="587"/>
                    <a:pt x="95" y="596"/>
                    <a:pt x="95" y="608"/>
                  </a:cubicBezTo>
                  <a:cubicBezTo>
                    <a:pt x="94" y="617"/>
                    <a:pt x="94" y="625"/>
                    <a:pt x="94" y="634"/>
                  </a:cubicBezTo>
                  <a:cubicBezTo>
                    <a:pt x="79" y="641"/>
                    <a:pt x="68" y="657"/>
                    <a:pt x="68" y="675"/>
                  </a:cubicBezTo>
                  <a:cubicBezTo>
                    <a:pt x="68" y="700"/>
                    <a:pt x="89" y="721"/>
                    <a:pt x="115" y="721"/>
                  </a:cubicBezTo>
                  <a:cubicBezTo>
                    <a:pt x="141" y="721"/>
                    <a:pt x="162" y="700"/>
                    <a:pt x="162" y="675"/>
                  </a:cubicBezTo>
                  <a:close/>
                  <a:moveTo>
                    <a:pt x="353" y="19"/>
                  </a:moveTo>
                  <a:cubicBezTo>
                    <a:pt x="367" y="19"/>
                    <a:pt x="378" y="30"/>
                    <a:pt x="378" y="43"/>
                  </a:cubicBezTo>
                  <a:cubicBezTo>
                    <a:pt x="378" y="57"/>
                    <a:pt x="367" y="67"/>
                    <a:pt x="353" y="67"/>
                  </a:cubicBezTo>
                  <a:cubicBezTo>
                    <a:pt x="340" y="67"/>
                    <a:pt x="329" y="57"/>
                    <a:pt x="329" y="43"/>
                  </a:cubicBezTo>
                  <a:cubicBezTo>
                    <a:pt x="329" y="30"/>
                    <a:pt x="340" y="19"/>
                    <a:pt x="35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72" name="Freeform 19"/>
            <p:cNvSpPr>
              <a:spLocks noEditPoints="1"/>
            </p:cNvSpPr>
            <p:nvPr/>
          </p:nvSpPr>
          <p:spPr bwMode="gray">
            <a:xfrm>
              <a:off x="2702" y="1279"/>
              <a:ext cx="1471" cy="1106"/>
            </a:xfrm>
            <a:custGeom>
              <a:avLst/>
              <a:gdLst>
                <a:gd name="T0" fmla="*/ 527 w 622"/>
                <a:gd name="T1" fmla="*/ 47 h 467"/>
                <a:gd name="T2" fmla="*/ 554 w 622"/>
                <a:gd name="T3" fmla="*/ 119 h 467"/>
                <a:gd name="T4" fmla="*/ 554 w 622"/>
                <a:gd name="T5" fmla="*/ 185 h 467"/>
                <a:gd name="T6" fmla="*/ 554 w 622"/>
                <a:gd name="T7" fmla="*/ 257 h 467"/>
                <a:gd name="T8" fmla="*/ 535 w 622"/>
                <a:gd name="T9" fmla="*/ 326 h 467"/>
                <a:gd name="T10" fmla="*/ 424 w 622"/>
                <a:gd name="T11" fmla="*/ 402 h 467"/>
                <a:gd name="T12" fmla="*/ 356 w 622"/>
                <a:gd name="T13" fmla="*/ 402 h 467"/>
                <a:gd name="T14" fmla="*/ 287 w 622"/>
                <a:gd name="T15" fmla="*/ 402 h 467"/>
                <a:gd name="T16" fmla="*/ 217 w 622"/>
                <a:gd name="T17" fmla="*/ 402 h 467"/>
                <a:gd name="T18" fmla="*/ 149 w 622"/>
                <a:gd name="T19" fmla="*/ 402 h 467"/>
                <a:gd name="T20" fmla="*/ 127 w 622"/>
                <a:gd name="T21" fmla="*/ 402 h 467"/>
                <a:gd name="T22" fmla="*/ 71 w 622"/>
                <a:gd name="T23" fmla="*/ 383 h 467"/>
                <a:gd name="T24" fmla="*/ 107 w 622"/>
                <a:gd name="T25" fmla="*/ 367 h 467"/>
                <a:gd name="T26" fmla="*/ 176 w 622"/>
                <a:gd name="T27" fmla="*/ 367 h 467"/>
                <a:gd name="T28" fmla="*/ 245 w 622"/>
                <a:gd name="T29" fmla="*/ 367 h 467"/>
                <a:gd name="T30" fmla="*/ 314 w 622"/>
                <a:gd name="T31" fmla="*/ 367 h 467"/>
                <a:gd name="T32" fmla="*/ 378 w 622"/>
                <a:gd name="T33" fmla="*/ 369 h 467"/>
                <a:gd name="T34" fmla="*/ 418 w 622"/>
                <a:gd name="T35" fmla="*/ 343 h 467"/>
                <a:gd name="T36" fmla="*/ 493 w 622"/>
                <a:gd name="T37" fmla="*/ 285 h 467"/>
                <a:gd name="T38" fmla="*/ 493 w 622"/>
                <a:gd name="T39" fmla="*/ 193 h 467"/>
                <a:gd name="T40" fmla="*/ 450 w 622"/>
                <a:gd name="T41" fmla="*/ 252 h 467"/>
                <a:gd name="T42" fmla="*/ 362 w 622"/>
                <a:gd name="T43" fmla="*/ 324 h 467"/>
                <a:gd name="T44" fmla="*/ 293 w 622"/>
                <a:gd name="T45" fmla="*/ 323 h 467"/>
                <a:gd name="T46" fmla="*/ 224 w 622"/>
                <a:gd name="T47" fmla="*/ 324 h 467"/>
                <a:gd name="T48" fmla="*/ 155 w 622"/>
                <a:gd name="T49" fmla="*/ 324 h 467"/>
                <a:gd name="T50" fmla="*/ 86 w 622"/>
                <a:gd name="T51" fmla="*/ 324 h 467"/>
                <a:gd name="T52" fmla="*/ 44 w 622"/>
                <a:gd name="T53" fmla="*/ 300 h 467"/>
                <a:gd name="T54" fmla="*/ 44 w 622"/>
                <a:gd name="T55" fmla="*/ 392 h 467"/>
                <a:gd name="T56" fmla="*/ 41 w 622"/>
                <a:gd name="T57" fmla="*/ 423 h 467"/>
                <a:gd name="T58" fmla="*/ 127 w 622"/>
                <a:gd name="T59" fmla="*/ 444 h 467"/>
                <a:gd name="T60" fmla="*/ 170 w 622"/>
                <a:gd name="T61" fmla="*/ 444 h 467"/>
                <a:gd name="T62" fmla="*/ 238 w 622"/>
                <a:gd name="T63" fmla="*/ 444 h 467"/>
                <a:gd name="T64" fmla="*/ 307 w 622"/>
                <a:gd name="T65" fmla="*/ 444 h 467"/>
                <a:gd name="T66" fmla="*/ 376 w 622"/>
                <a:gd name="T67" fmla="*/ 444 h 467"/>
                <a:gd name="T68" fmla="*/ 445 w 622"/>
                <a:gd name="T69" fmla="*/ 444 h 467"/>
                <a:gd name="T70" fmla="*/ 572 w 622"/>
                <a:gd name="T71" fmla="*/ 348 h 467"/>
                <a:gd name="T72" fmla="*/ 598 w 622"/>
                <a:gd name="T73" fmla="*/ 275 h 467"/>
                <a:gd name="T74" fmla="*/ 598 w 622"/>
                <a:gd name="T75" fmla="*/ 206 h 467"/>
                <a:gd name="T76" fmla="*/ 598 w 622"/>
                <a:gd name="T77" fmla="*/ 137 h 467"/>
                <a:gd name="T78" fmla="*/ 622 w 622"/>
                <a:gd name="T79" fmla="*/ 47 h 467"/>
                <a:gd name="T80" fmla="*/ 44 w 622"/>
                <a:gd name="T81" fmla="*/ 373 h 467"/>
                <a:gd name="T82" fmla="*/ 44 w 622"/>
                <a:gd name="T83" fmla="*/ 319 h 467"/>
                <a:gd name="T84" fmla="*/ 44 w 622"/>
                <a:gd name="T85" fmla="*/ 373 h 467"/>
                <a:gd name="T86" fmla="*/ 547 w 622"/>
                <a:gd name="T87" fmla="*/ 47 h 467"/>
                <a:gd name="T88" fmla="*/ 602 w 622"/>
                <a:gd name="T89" fmla="*/ 4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2" h="467">
                  <a:moveTo>
                    <a:pt x="575" y="0"/>
                  </a:moveTo>
                  <a:cubicBezTo>
                    <a:pt x="549" y="0"/>
                    <a:pt x="527" y="21"/>
                    <a:pt x="527" y="47"/>
                  </a:cubicBezTo>
                  <a:cubicBezTo>
                    <a:pt x="527" y="66"/>
                    <a:pt x="539" y="82"/>
                    <a:pt x="555" y="90"/>
                  </a:cubicBezTo>
                  <a:cubicBezTo>
                    <a:pt x="554" y="99"/>
                    <a:pt x="554" y="109"/>
                    <a:pt x="554" y="119"/>
                  </a:cubicBezTo>
                  <a:cubicBezTo>
                    <a:pt x="554" y="124"/>
                    <a:pt x="554" y="129"/>
                    <a:pt x="554" y="133"/>
                  </a:cubicBezTo>
                  <a:cubicBezTo>
                    <a:pt x="556" y="151"/>
                    <a:pt x="556" y="168"/>
                    <a:pt x="554" y="185"/>
                  </a:cubicBezTo>
                  <a:cubicBezTo>
                    <a:pt x="556" y="191"/>
                    <a:pt x="556" y="197"/>
                    <a:pt x="554" y="203"/>
                  </a:cubicBezTo>
                  <a:cubicBezTo>
                    <a:pt x="555" y="221"/>
                    <a:pt x="556" y="239"/>
                    <a:pt x="554" y="257"/>
                  </a:cubicBezTo>
                  <a:cubicBezTo>
                    <a:pt x="554" y="263"/>
                    <a:pt x="554" y="267"/>
                    <a:pt x="554" y="271"/>
                  </a:cubicBezTo>
                  <a:cubicBezTo>
                    <a:pt x="558" y="294"/>
                    <a:pt x="553" y="311"/>
                    <a:pt x="535" y="326"/>
                  </a:cubicBezTo>
                  <a:cubicBezTo>
                    <a:pt x="514" y="343"/>
                    <a:pt x="496" y="362"/>
                    <a:pt x="479" y="382"/>
                  </a:cubicBezTo>
                  <a:cubicBezTo>
                    <a:pt x="464" y="400"/>
                    <a:pt x="446" y="406"/>
                    <a:pt x="424" y="402"/>
                  </a:cubicBezTo>
                  <a:cubicBezTo>
                    <a:pt x="419" y="402"/>
                    <a:pt x="413" y="403"/>
                    <a:pt x="407" y="401"/>
                  </a:cubicBezTo>
                  <a:cubicBezTo>
                    <a:pt x="389" y="403"/>
                    <a:pt x="372" y="402"/>
                    <a:pt x="356" y="402"/>
                  </a:cubicBezTo>
                  <a:cubicBezTo>
                    <a:pt x="350" y="402"/>
                    <a:pt x="344" y="403"/>
                    <a:pt x="338" y="401"/>
                  </a:cubicBezTo>
                  <a:cubicBezTo>
                    <a:pt x="321" y="403"/>
                    <a:pt x="304" y="402"/>
                    <a:pt x="287" y="402"/>
                  </a:cubicBezTo>
                  <a:cubicBezTo>
                    <a:pt x="281" y="403"/>
                    <a:pt x="275" y="403"/>
                    <a:pt x="269" y="401"/>
                  </a:cubicBezTo>
                  <a:cubicBezTo>
                    <a:pt x="252" y="403"/>
                    <a:pt x="234" y="402"/>
                    <a:pt x="217" y="402"/>
                  </a:cubicBezTo>
                  <a:cubicBezTo>
                    <a:pt x="212" y="403"/>
                    <a:pt x="206" y="403"/>
                    <a:pt x="200" y="401"/>
                  </a:cubicBezTo>
                  <a:cubicBezTo>
                    <a:pt x="183" y="403"/>
                    <a:pt x="166" y="402"/>
                    <a:pt x="149" y="402"/>
                  </a:cubicBezTo>
                  <a:cubicBezTo>
                    <a:pt x="143" y="403"/>
                    <a:pt x="137" y="403"/>
                    <a:pt x="131" y="402"/>
                  </a:cubicBezTo>
                  <a:cubicBezTo>
                    <a:pt x="130" y="402"/>
                    <a:pt x="128" y="402"/>
                    <a:pt x="127" y="402"/>
                  </a:cubicBezTo>
                  <a:cubicBezTo>
                    <a:pt x="119" y="389"/>
                    <a:pt x="104" y="380"/>
                    <a:pt x="87" y="380"/>
                  </a:cubicBezTo>
                  <a:cubicBezTo>
                    <a:pt x="81" y="380"/>
                    <a:pt x="76" y="381"/>
                    <a:pt x="71" y="383"/>
                  </a:cubicBezTo>
                  <a:cubicBezTo>
                    <a:pt x="77" y="378"/>
                    <a:pt x="81" y="373"/>
                    <a:pt x="84" y="367"/>
                  </a:cubicBezTo>
                  <a:cubicBezTo>
                    <a:pt x="92" y="367"/>
                    <a:pt x="99" y="367"/>
                    <a:pt x="107" y="367"/>
                  </a:cubicBezTo>
                  <a:cubicBezTo>
                    <a:pt x="125" y="366"/>
                    <a:pt x="143" y="366"/>
                    <a:pt x="162" y="366"/>
                  </a:cubicBezTo>
                  <a:cubicBezTo>
                    <a:pt x="166" y="366"/>
                    <a:pt x="171" y="366"/>
                    <a:pt x="176" y="367"/>
                  </a:cubicBezTo>
                  <a:cubicBezTo>
                    <a:pt x="193" y="366"/>
                    <a:pt x="210" y="366"/>
                    <a:pt x="227" y="366"/>
                  </a:cubicBezTo>
                  <a:cubicBezTo>
                    <a:pt x="233" y="366"/>
                    <a:pt x="239" y="366"/>
                    <a:pt x="245" y="367"/>
                  </a:cubicBezTo>
                  <a:cubicBezTo>
                    <a:pt x="262" y="366"/>
                    <a:pt x="279" y="366"/>
                    <a:pt x="296" y="366"/>
                  </a:cubicBezTo>
                  <a:cubicBezTo>
                    <a:pt x="302" y="366"/>
                    <a:pt x="308" y="366"/>
                    <a:pt x="314" y="367"/>
                  </a:cubicBezTo>
                  <a:cubicBezTo>
                    <a:pt x="331" y="366"/>
                    <a:pt x="348" y="366"/>
                    <a:pt x="365" y="366"/>
                  </a:cubicBezTo>
                  <a:cubicBezTo>
                    <a:pt x="370" y="368"/>
                    <a:pt x="374" y="370"/>
                    <a:pt x="378" y="369"/>
                  </a:cubicBezTo>
                  <a:cubicBezTo>
                    <a:pt x="380" y="369"/>
                    <a:pt x="381" y="367"/>
                    <a:pt x="382" y="366"/>
                  </a:cubicBezTo>
                  <a:cubicBezTo>
                    <a:pt x="396" y="362"/>
                    <a:pt x="408" y="355"/>
                    <a:pt x="418" y="343"/>
                  </a:cubicBezTo>
                  <a:cubicBezTo>
                    <a:pt x="438" y="323"/>
                    <a:pt x="458" y="303"/>
                    <a:pt x="478" y="283"/>
                  </a:cubicBezTo>
                  <a:cubicBezTo>
                    <a:pt x="483" y="284"/>
                    <a:pt x="488" y="285"/>
                    <a:pt x="493" y="285"/>
                  </a:cubicBezTo>
                  <a:cubicBezTo>
                    <a:pt x="519" y="285"/>
                    <a:pt x="539" y="265"/>
                    <a:pt x="539" y="239"/>
                  </a:cubicBezTo>
                  <a:cubicBezTo>
                    <a:pt x="539" y="214"/>
                    <a:pt x="519" y="193"/>
                    <a:pt x="493" y="193"/>
                  </a:cubicBezTo>
                  <a:cubicBezTo>
                    <a:pt x="468" y="193"/>
                    <a:pt x="448" y="214"/>
                    <a:pt x="448" y="239"/>
                  </a:cubicBezTo>
                  <a:cubicBezTo>
                    <a:pt x="448" y="244"/>
                    <a:pt x="448" y="248"/>
                    <a:pt x="450" y="252"/>
                  </a:cubicBezTo>
                  <a:cubicBezTo>
                    <a:pt x="429" y="273"/>
                    <a:pt x="409" y="292"/>
                    <a:pt x="389" y="314"/>
                  </a:cubicBezTo>
                  <a:cubicBezTo>
                    <a:pt x="381" y="322"/>
                    <a:pt x="373" y="326"/>
                    <a:pt x="362" y="324"/>
                  </a:cubicBezTo>
                  <a:cubicBezTo>
                    <a:pt x="356" y="323"/>
                    <a:pt x="350" y="323"/>
                    <a:pt x="345" y="323"/>
                  </a:cubicBezTo>
                  <a:cubicBezTo>
                    <a:pt x="328" y="323"/>
                    <a:pt x="310" y="323"/>
                    <a:pt x="293" y="323"/>
                  </a:cubicBezTo>
                  <a:cubicBezTo>
                    <a:pt x="287" y="323"/>
                    <a:pt x="281" y="323"/>
                    <a:pt x="275" y="323"/>
                  </a:cubicBezTo>
                  <a:cubicBezTo>
                    <a:pt x="258" y="324"/>
                    <a:pt x="241" y="324"/>
                    <a:pt x="224" y="324"/>
                  </a:cubicBezTo>
                  <a:cubicBezTo>
                    <a:pt x="218" y="324"/>
                    <a:pt x="212" y="324"/>
                    <a:pt x="207" y="324"/>
                  </a:cubicBezTo>
                  <a:cubicBezTo>
                    <a:pt x="190" y="324"/>
                    <a:pt x="172" y="324"/>
                    <a:pt x="155" y="324"/>
                  </a:cubicBezTo>
                  <a:cubicBezTo>
                    <a:pt x="149" y="323"/>
                    <a:pt x="143" y="323"/>
                    <a:pt x="138" y="323"/>
                  </a:cubicBezTo>
                  <a:cubicBezTo>
                    <a:pt x="120" y="323"/>
                    <a:pt x="103" y="323"/>
                    <a:pt x="86" y="324"/>
                  </a:cubicBezTo>
                  <a:cubicBezTo>
                    <a:pt x="85" y="324"/>
                    <a:pt x="85" y="324"/>
                    <a:pt x="84" y="324"/>
                  </a:cubicBezTo>
                  <a:cubicBezTo>
                    <a:pt x="76" y="310"/>
                    <a:pt x="61" y="300"/>
                    <a:pt x="44" y="300"/>
                  </a:cubicBezTo>
                  <a:cubicBezTo>
                    <a:pt x="20" y="300"/>
                    <a:pt x="0" y="321"/>
                    <a:pt x="0" y="346"/>
                  </a:cubicBezTo>
                  <a:cubicBezTo>
                    <a:pt x="0" y="371"/>
                    <a:pt x="20" y="392"/>
                    <a:pt x="44" y="392"/>
                  </a:cubicBezTo>
                  <a:cubicBezTo>
                    <a:pt x="49" y="392"/>
                    <a:pt x="54" y="391"/>
                    <a:pt x="58" y="389"/>
                  </a:cubicBezTo>
                  <a:cubicBezTo>
                    <a:pt x="48" y="397"/>
                    <a:pt x="41" y="410"/>
                    <a:pt x="41" y="423"/>
                  </a:cubicBezTo>
                  <a:cubicBezTo>
                    <a:pt x="41" y="447"/>
                    <a:pt x="61" y="467"/>
                    <a:pt x="87" y="467"/>
                  </a:cubicBezTo>
                  <a:cubicBezTo>
                    <a:pt x="104" y="467"/>
                    <a:pt x="119" y="458"/>
                    <a:pt x="127" y="444"/>
                  </a:cubicBezTo>
                  <a:cubicBezTo>
                    <a:pt x="135" y="444"/>
                    <a:pt x="144" y="444"/>
                    <a:pt x="152" y="444"/>
                  </a:cubicBezTo>
                  <a:cubicBezTo>
                    <a:pt x="158" y="444"/>
                    <a:pt x="164" y="444"/>
                    <a:pt x="170" y="444"/>
                  </a:cubicBezTo>
                  <a:cubicBezTo>
                    <a:pt x="186" y="444"/>
                    <a:pt x="203" y="444"/>
                    <a:pt x="220" y="444"/>
                  </a:cubicBezTo>
                  <a:cubicBezTo>
                    <a:pt x="226" y="444"/>
                    <a:pt x="232" y="444"/>
                    <a:pt x="238" y="444"/>
                  </a:cubicBezTo>
                  <a:cubicBezTo>
                    <a:pt x="255" y="444"/>
                    <a:pt x="273" y="444"/>
                    <a:pt x="290" y="444"/>
                  </a:cubicBezTo>
                  <a:cubicBezTo>
                    <a:pt x="296" y="444"/>
                    <a:pt x="302" y="444"/>
                    <a:pt x="307" y="444"/>
                  </a:cubicBezTo>
                  <a:cubicBezTo>
                    <a:pt x="325" y="444"/>
                    <a:pt x="341" y="444"/>
                    <a:pt x="358" y="444"/>
                  </a:cubicBezTo>
                  <a:cubicBezTo>
                    <a:pt x="364" y="444"/>
                    <a:pt x="370" y="444"/>
                    <a:pt x="376" y="444"/>
                  </a:cubicBezTo>
                  <a:cubicBezTo>
                    <a:pt x="393" y="444"/>
                    <a:pt x="410" y="444"/>
                    <a:pt x="428" y="444"/>
                  </a:cubicBezTo>
                  <a:cubicBezTo>
                    <a:pt x="434" y="444"/>
                    <a:pt x="439" y="444"/>
                    <a:pt x="445" y="444"/>
                  </a:cubicBezTo>
                  <a:cubicBezTo>
                    <a:pt x="468" y="445"/>
                    <a:pt x="485" y="436"/>
                    <a:pt x="501" y="419"/>
                  </a:cubicBezTo>
                  <a:cubicBezTo>
                    <a:pt x="524" y="395"/>
                    <a:pt x="547" y="371"/>
                    <a:pt x="572" y="348"/>
                  </a:cubicBezTo>
                  <a:cubicBezTo>
                    <a:pt x="589" y="333"/>
                    <a:pt x="598" y="315"/>
                    <a:pt x="598" y="292"/>
                  </a:cubicBezTo>
                  <a:cubicBezTo>
                    <a:pt x="598" y="286"/>
                    <a:pt x="598" y="280"/>
                    <a:pt x="598" y="275"/>
                  </a:cubicBezTo>
                  <a:cubicBezTo>
                    <a:pt x="598" y="257"/>
                    <a:pt x="598" y="240"/>
                    <a:pt x="598" y="223"/>
                  </a:cubicBezTo>
                  <a:cubicBezTo>
                    <a:pt x="598" y="218"/>
                    <a:pt x="598" y="212"/>
                    <a:pt x="598" y="206"/>
                  </a:cubicBezTo>
                  <a:cubicBezTo>
                    <a:pt x="598" y="189"/>
                    <a:pt x="598" y="172"/>
                    <a:pt x="598" y="154"/>
                  </a:cubicBezTo>
                  <a:cubicBezTo>
                    <a:pt x="598" y="148"/>
                    <a:pt x="598" y="143"/>
                    <a:pt x="598" y="137"/>
                  </a:cubicBezTo>
                  <a:cubicBezTo>
                    <a:pt x="598" y="120"/>
                    <a:pt x="598" y="104"/>
                    <a:pt x="598" y="88"/>
                  </a:cubicBezTo>
                  <a:cubicBezTo>
                    <a:pt x="612" y="80"/>
                    <a:pt x="622" y="65"/>
                    <a:pt x="622" y="47"/>
                  </a:cubicBezTo>
                  <a:cubicBezTo>
                    <a:pt x="622" y="21"/>
                    <a:pt x="601" y="0"/>
                    <a:pt x="575" y="0"/>
                  </a:cubicBezTo>
                  <a:close/>
                  <a:moveTo>
                    <a:pt x="44" y="373"/>
                  </a:moveTo>
                  <a:cubicBezTo>
                    <a:pt x="30" y="373"/>
                    <a:pt x="19" y="361"/>
                    <a:pt x="19" y="346"/>
                  </a:cubicBezTo>
                  <a:cubicBezTo>
                    <a:pt x="19" y="331"/>
                    <a:pt x="30" y="319"/>
                    <a:pt x="44" y="319"/>
                  </a:cubicBezTo>
                  <a:cubicBezTo>
                    <a:pt x="58" y="319"/>
                    <a:pt x="70" y="331"/>
                    <a:pt x="70" y="346"/>
                  </a:cubicBezTo>
                  <a:cubicBezTo>
                    <a:pt x="70" y="361"/>
                    <a:pt x="58" y="373"/>
                    <a:pt x="44" y="373"/>
                  </a:cubicBezTo>
                  <a:close/>
                  <a:moveTo>
                    <a:pt x="575" y="75"/>
                  </a:moveTo>
                  <a:cubicBezTo>
                    <a:pt x="559" y="75"/>
                    <a:pt x="547" y="62"/>
                    <a:pt x="547" y="47"/>
                  </a:cubicBezTo>
                  <a:cubicBezTo>
                    <a:pt x="547" y="32"/>
                    <a:pt x="559" y="19"/>
                    <a:pt x="575" y="19"/>
                  </a:cubicBezTo>
                  <a:cubicBezTo>
                    <a:pt x="590" y="19"/>
                    <a:pt x="602" y="32"/>
                    <a:pt x="602" y="47"/>
                  </a:cubicBezTo>
                  <a:cubicBezTo>
                    <a:pt x="602" y="62"/>
                    <a:pt x="590" y="75"/>
                    <a:pt x="57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78" name="Freeform 20"/>
            <p:cNvSpPr>
              <a:spLocks noEditPoints="1"/>
            </p:cNvSpPr>
            <p:nvPr/>
          </p:nvSpPr>
          <p:spPr bwMode="gray">
            <a:xfrm>
              <a:off x="2673" y="1005"/>
              <a:ext cx="206" cy="549"/>
            </a:xfrm>
            <a:custGeom>
              <a:avLst/>
              <a:gdLst>
                <a:gd name="T0" fmla="*/ 87 w 87"/>
                <a:gd name="T1" fmla="*/ 46 h 232"/>
                <a:gd name="T2" fmla="*/ 43 w 87"/>
                <a:gd name="T3" fmla="*/ 0 h 232"/>
                <a:gd name="T4" fmla="*/ 0 w 87"/>
                <a:gd name="T5" fmla="*/ 46 h 232"/>
                <a:gd name="T6" fmla="*/ 21 w 87"/>
                <a:gd name="T7" fmla="*/ 85 h 232"/>
                <a:gd name="T8" fmla="*/ 21 w 87"/>
                <a:gd name="T9" fmla="*/ 101 h 232"/>
                <a:gd name="T10" fmla="*/ 23 w 87"/>
                <a:gd name="T11" fmla="*/ 148 h 232"/>
                <a:gd name="T12" fmla="*/ 0 w 87"/>
                <a:gd name="T13" fmla="*/ 187 h 232"/>
                <a:gd name="T14" fmla="*/ 43 w 87"/>
                <a:gd name="T15" fmla="*/ 232 h 232"/>
                <a:gd name="T16" fmla="*/ 87 w 87"/>
                <a:gd name="T17" fmla="*/ 187 h 232"/>
                <a:gd name="T18" fmla="*/ 64 w 87"/>
                <a:gd name="T19" fmla="*/ 148 h 232"/>
                <a:gd name="T20" fmla="*/ 65 w 87"/>
                <a:gd name="T21" fmla="*/ 122 h 232"/>
                <a:gd name="T22" fmla="*/ 65 w 87"/>
                <a:gd name="T23" fmla="*/ 105 h 232"/>
                <a:gd name="T24" fmla="*/ 64 w 87"/>
                <a:gd name="T25" fmla="*/ 86 h 232"/>
                <a:gd name="T26" fmla="*/ 87 w 87"/>
                <a:gd name="T27" fmla="*/ 46 h 232"/>
                <a:gd name="T28" fmla="*/ 67 w 87"/>
                <a:gd name="T29" fmla="*/ 187 h 232"/>
                <a:gd name="T30" fmla="*/ 43 w 87"/>
                <a:gd name="T31" fmla="*/ 213 h 232"/>
                <a:gd name="T32" fmla="*/ 19 w 87"/>
                <a:gd name="T33" fmla="*/ 187 h 232"/>
                <a:gd name="T34" fmla="*/ 43 w 87"/>
                <a:gd name="T35" fmla="*/ 162 h 232"/>
                <a:gd name="T36" fmla="*/ 67 w 87"/>
                <a:gd name="T37" fmla="*/ 187 h 232"/>
                <a:gd name="T38" fmla="*/ 43 w 87"/>
                <a:gd name="T39" fmla="*/ 72 h 232"/>
                <a:gd name="T40" fmla="*/ 19 w 87"/>
                <a:gd name="T41" fmla="*/ 46 h 232"/>
                <a:gd name="T42" fmla="*/ 43 w 87"/>
                <a:gd name="T43" fmla="*/ 19 h 232"/>
                <a:gd name="T44" fmla="*/ 67 w 87"/>
                <a:gd name="T45" fmla="*/ 46 h 232"/>
                <a:gd name="T46" fmla="*/ 43 w 87"/>
                <a:gd name="T47" fmla="*/ 7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7" h="232">
                  <a:moveTo>
                    <a:pt x="87" y="46"/>
                  </a:move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6"/>
                  </a:cubicBezTo>
                  <a:cubicBezTo>
                    <a:pt x="0" y="63"/>
                    <a:pt x="8" y="77"/>
                    <a:pt x="21" y="85"/>
                  </a:cubicBezTo>
                  <a:cubicBezTo>
                    <a:pt x="21" y="91"/>
                    <a:pt x="21" y="96"/>
                    <a:pt x="21" y="101"/>
                  </a:cubicBezTo>
                  <a:cubicBezTo>
                    <a:pt x="22" y="117"/>
                    <a:pt x="22" y="132"/>
                    <a:pt x="23" y="148"/>
                  </a:cubicBezTo>
                  <a:cubicBezTo>
                    <a:pt x="9" y="156"/>
                    <a:pt x="0" y="170"/>
                    <a:pt x="0" y="187"/>
                  </a:cubicBezTo>
                  <a:cubicBezTo>
                    <a:pt x="0" y="212"/>
                    <a:pt x="19" y="232"/>
                    <a:pt x="43" y="232"/>
                  </a:cubicBezTo>
                  <a:cubicBezTo>
                    <a:pt x="67" y="232"/>
                    <a:pt x="87" y="212"/>
                    <a:pt x="87" y="187"/>
                  </a:cubicBezTo>
                  <a:cubicBezTo>
                    <a:pt x="87" y="170"/>
                    <a:pt x="77" y="156"/>
                    <a:pt x="64" y="148"/>
                  </a:cubicBezTo>
                  <a:cubicBezTo>
                    <a:pt x="64" y="139"/>
                    <a:pt x="64" y="130"/>
                    <a:pt x="65" y="122"/>
                  </a:cubicBezTo>
                  <a:cubicBezTo>
                    <a:pt x="63" y="116"/>
                    <a:pt x="63" y="110"/>
                    <a:pt x="65" y="105"/>
                  </a:cubicBezTo>
                  <a:cubicBezTo>
                    <a:pt x="65" y="98"/>
                    <a:pt x="64" y="92"/>
                    <a:pt x="64" y="86"/>
                  </a:cubicBezTo>
                  <a:cubicBezTo>
                    <a:pt x="77" y="78"/>
                    <a:pt x="87" y="63"/>
                    <a:pt x="87" y="46"/>
                  </a:cubicBezTo>
                  <a:close/>
                  <a:moveTo>
                    <a:pt x="67" y="187"/>
                  </a:moveTo>
                  <a:cubicBezTo>
                    <a:pt x="67" y="201"/>
                    <a:pt x="56" y="213"/>
                    <a:pt x="43" y="213"/>
                  </a:cubicBezTo>
                  <a:cubicBezTo>
                    <a:pt x="30" y="213"/>
                    <a:pt x="19" y="201"/>
                    <a:pt x="19" y="187"/>
                  </a:cubicBezTo>
                  <a:cubicBezTo>
                    <a:pt x="19" y="173"/>
                    <a:pt x="30" y="162"/>
                    <a:pt x="43" y="162"/>
                  </a:cubicBezTo>
                  <a:cubicBezTo>
                    <a:pt x="56" y="162"/>
                    <a:pt x="67" y="173"/>
                    <a:pt x="67" y="187"/>
                  </a:cubicBezTo>
                  <a:close/>
                  <a:moveTo>
                    <a:pt x="43" y="72"/>
                  </a:moveTo>
                  <a:cubicBezTo>
                    <a:pt x="30" y="72"/>
                    <a:pt x="19" y="60"/>
                    <a:pt x="19" y="46"/>
                  </a:cubicBezTo>
                  <a:cubicBezTo>
                    <a:pt x="19" y="31"/>
                    <a:pt x="30" y="19"/>
                    <a:pt x="43" y="19"/>
                  </a:cubicBezTo>
                  <a:cubicBezTo>
                    <a:pt x="56" y="19"/>
                    <a:pt x="67" y="31"/>
                    <a:pt x="67" y="46"/>
                  </a:cubicBezTo>
                  <a:cubicBezTo>
                    <a:pt x="67" y="60"/>
                    <a:pt x="56" y="72"/>
                    <a:pt x="43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  <p:sp>
          <p:nvSpPr>
            <p:cNvPr id="979" name="Freeform 21"/>
            <p:cNvSpPr>
              <a:spLocks noEditPoints="1"/>
            </p:cNvSpPr>
            <p:nvPr/>
          </p:nvSpPr>
          <p:spPr bwMode="gray">
            <a:xfrm>
              <a:off x="3371" y="946"/>
              <a:ext cx="459" cy="471"/>
            </a:xfrm>
            <a:custGeom>
              <a:avLst/>
              <a:gdLst>
                <a:gd name="T0" fmla="*/ 46 w 194"/>
                <a:gd name="T1" fmla="*/ 109 h 199"/>
                <a:gd name="T2" fmla="*/ 0 w 194"/>
                <a:gd name="T3" fmla="*/ 154 h 199"/>
                <a:gd name="T4" fmla="*/ 46 w 194"/>
                <a:gd name="T5" fmla="*/ 199 h 199"/>
                <a:gd name="T6" fmla="*/ 92 w 194"/>
                <a:gd name="T7" fmla="*/ 154 h 199"/>
                <a:gd name="T8" fmla="*/ 90 w 194"/>
                <a:gd name="T9" fmla="*/ 141 h 199"/>
                <a:gd name="T10" fmla="*/ 138 w 194"/>
                <a:gd name="T11" fmla="*/ 93 h 199"/>
                <a:gd name="T12" fmla="*/ 149 w 194"/>
                <a:gd name="T13" fmla="*/ 95 h 199"/>
                <a:gd name="T14" fmla="*/ 194 w 194"/>
                <a:gd name="T15" fmla="*/ 48 h 199"/>
                <a:gd name="T16" fmla="*/ 149 w 194"/>
                <a:gd name="T17" fmla="*/ 0 h 199"/>
                <a:gd name="T18" fmla="*/ 104 w 194"/>
                <a:gd name="T19" fmla="*/ 48 h 199"/>
                <a:gd name="T20" fmla="*/ 107 w 194"/>
                <a:gd name="T21" fmla="*/ 65 h 199"/>
                <a:gd name="T22" fmla="*/ 61 w 194"/>
                <a:gd name="T23" fmla="*/ 112 h 199"/>
                <a:gd name="T24" fmla="*/ 46 w 194"/>
                <a:gd name="T25" fmla="*/ 109 h 199"/>
                <a:gd name="T26" fmla="*/ 149 w 194"/>
                <a:gd name="T27" fmla="*/ 20 h 199"/>
                <a:gd name="T28" fmla="*/ 174 w 194"/>
                <a:gd name="T29" fmla="*/ 48 h 199"/>
                <a:gd name="T30" fmla="*/ 149 w 194"/>
                <a:gd name="T31" fmla="*/ 75 h 199"/>
                <a:gd name="T32" fmla="*/ 123 w 194"/>
                <a:gd name="T33" fmla="*/ 48 h 199"/>
                <a:gd name="T34" fmla="*/ 149 w 194"/>
                <a:gd name="T35" fmla="*/ 2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199">
                  <a:moveTo>
                    <a:pt x="46" y="109"/>
                  </a:moveTo>
                  <a:cubicBezTo>
                    <a:pt x="21" y="109"/>
                    <a:pt x="0" y="129"/>
                    <a:pt x="0" y="154"/>
                  </a:cubicBezTo>
                  <a:cubicBezTo>
                    <a:pt x="0" y="179"/>
                    <a:pt x="21" y="199"/>
                    <a:pt x="46" y="199"/>
                  </a:cubicBezTo>
                  <a:cubicBezTo>
                    <a:pt x="71" y="199"/>
                    <a:pt x="92" y="179"/>
                    <a:pt x="92" y="154"/>
                  </a:cubicBezTo>
                  <a:cubicBezTo>
                    <a:pt x="92" y="149"/>
                    <a:pt x="91" y="145"/>
                    <a:pt x="90" y="141"/>
                  </a:cubicBezTo>
                  <a:cubicBezTo>
                    <a:pt x="106" y="125"/>
                    <a:pt x="122" y="109"/>
                    <a:pt x="138" y="93"/>
                  </a:cubicBezTo>
                  <a:cubicBezTo>
                    <a:pt x="142" y="94"/>
                    <a:pt x="145" y="95"/>
                    <a:pt x="149" y="95"/>
                  </a:cubicBezTo>
                  <a:cubicBezTo>
                    <a:pt x="173" y="95"/>
                    <a:pt x="194" y="74"/>
                    <a:pt x="194" y="48"/>
                  </a:cubicBezTo>
                  <a:cubicBezTo>
                    <a:pt x="194" y="22"/>
                    <a:pt x="173" y="0"/>
                    <a:pt x="149" y="0"/>
                  </a:cubicBezTo>
                  <a:cubicBezTo>
                    <a:pt x="124" y="0"/>
                    <a:pt x="104" y="22"/>
                    <a:pt x="104" y="48"/>
                  </a:cubicBezTo>
                  <a:cubicBezTo>
                    <a:pt x="104" y="54"/>
                    <a:pt x="105" y="60"/>
                    <a:pt x="107" y="65"/>
                  </a:cubicBezTo>
                  <a:cubicBezTo>
                    <a:pt x="92" y="81"/>
                    <a:pt x="76" y="96"/>
                    <a:pt x="61" y="112"/>
                  </a:cubicBezTo>
                  <a:cubicBezTo>
                    <a:pt x="56" y="110"/>
                    <a:pt x="51" y="109"/>
                    <a:pt x="46" y="109"/>
                  </a:cubicBezTo>
                  <a:close/>
                  <a:moveTo>
                    <a:pt x="149" y="20"/>
                  </a:moveTo>
                  <a:cubicBezTo>
                    <a:pt x="163" y="20"/>
                    <a:pt x="174" y="32"/>
                    <a:pt x="174" y="48"/>
                  </a:cubicBezTo>
                  <a:cubicBezTo>
                    <a:pt x="174" y="63"/>
                    <a:pt x="163" y="75"/>
                    <a:pt x="149" y="75"/>
                  </a:cubicBezTo>
                  <a:cubicBezTo>
                    <a:pt x="135" y="75"/>
                    <a:pt x="123" y="63"/>
                    <a:pt x="123" y="48"/>
                  </a:cubicBezTo>
                  <a:cubicBezTo>
                    <a:pt x="123" y="32"/>
                    <a:pt x="135" y="20"/>
                    <a:pt x="149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7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i="1" kern="0" dirty="0">
                <a:solidFill>
                  <a:srgbClr val="ADBECB"/>
                </a:solidFill>
              </a:endParaRPr>
            </a:p>
          </p:txBody>
        </p:sp>
      </p:grpSp>
      <p:pic>
        <p:nvPicPr>
          <p:cNvPr id="985" name="Picture 2" descr="Image result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661" y="1557011"/>
            <a:ext cx="2726082" cy="83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7" name="Textfeld 986"/>
          <p:cNvSpPr txBox="1"/>
          <p:nvPr/>
        </p:nvSpPr>
        <p:spPr>
          <a:xfrm>
            <a:off x="-514698" y="7713476"/>
            <a:ext cx="3420381" cy="113962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96675" name="Picture 67" descr="Bildergebnis fÃ¼r here logo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9752" y="865811"/>
            <a:ext cx="474928" cy="432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677" name="Picture 69" descr="Bildergebnis fÃ¼r vodafone logo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030" y="473870"/>
            <a:ext cx="453430" cy="34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109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1" grpId="0" animBg="1"/>
      <p:bldP spid="962" grpId="0" animBg="1"/>
      <p:bldP spid="976" grpId="0" animBg="1"/>
      <p:bldP spid="977" grpId="0" animBg="1"/>
      <p:bldP spid="696" grpId="0" animBg="1"/>
      <p:bldP spid="697" grpId="0" animBg="1"/>
      <p:bldP spid="698" grpId="0" animBg="1"/>
      <p:bldP spid="699" grpId="0" animBg="1"/>
      <p:bldP spid="700" grpId="0" animBg="1"/>
      <p:bldP spid="701" grpId="0" animBg="1"/>
      <p:bldP spid="702" grpId="0" animBg="1"/>
      <p:bldP spid="70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Objekt 10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315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9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Lighthouse project with key customer Transport </a:t>
            </a:r>
            <a:br>
              <a:rPr lang="en-US" dirty="0"/>
            </a:br>
            <a:r>
              <a:rPr lang="en-US" dirty="0"/>
              <a:t>for London – </a:t>
            </a:r>
            <a:r>
              <a:rPr lang="en-US" dirty="0" smtClean="0"/>
              <a:t>“Real </a:t>
            </a:r>
            <a:r>
              <a:rPr lang="en-US" dirty="0"/>
              <a:t>Time </a:t>
            </a:r>
            <a:r>
              <a:rPr lang="en-US" dirty="0" smtClean="0"/>
              <a:t>Optimiser” Project</a:t>
            </a:r>
            <a:endParaRPr lang="en-US" dirty="0"/>
          </a:p>
        </p:txBody>
      </p:sp>
      <p:grpSp>
        <p:nvGrpSpPr>
          <p:cNvPr id="54" name="Gruppieren 53"/>
          <p:cNvGrpSpPr>
            <a:grpSpLocks/>
          </p:cNvGrpSpPr>
          <p:nvPr/>
        </p:nvGrpSpPr>
        <p:grpSpPr bwMode="gray">
          <a:xfrm>
            <a:off x="5777582" y="1443038"/>
            <a:ext cx="2510065" cy="4751387"/>
            <a:chOff x="6243409" y="1443038"/>
            <a:chExt cx="2510065" cy="4751387"/>
          </a:xfrm>
        </p:grpSpPr>
        <p:sp>
          <p:nvSpPr>
            <p:cNvPr id="9" name="cdtRectangle 3 Id114691"/>
            <p:cNvSpPr txBox="1">
              <a:spLocks noChangeArrowheads="1"/>
            </p:cNvSpPr>
            <p:nvPr/>
          </p:nvSpPr>
          <p:spPr bwMode="gray">
            <a:xfrm>
              <a:off x="6243409" y="1443038"/>
              <a:ext cx="2510065" cy="276999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r>
                <a:rPr lang="en-US" sz="1600" b="1" kern="0" dirty="0"/>
                <a:t>RTO work at a glance</a:t>
              </a:r>
            </a:p>
          </p:txBody>
        </p:sp>
        <p:sp>
          <p:nvSpPr>
            <p:cNvPr id="4" name="Rechteck 3"/>
            <p:cNvSpPr>
              <a:spLocks/>
            </p:cNvSpPr>
            <p:nvPr/>
          </p:nvSpPr>
          <p:spPr bwMode="gray">
            <a:xfrm>
              <a:off x="6243409" y="1737289"/>
              <a:ext cx="2510065" cy="90794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Top Level Features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AU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Optimise</a:t>
              </a: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 </a:t>
              </a: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Traffic flow with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adaptive control mechanisms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Ensure efficient monitoring and operation of </a:t>
              </a: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~6,000 intersections</a:t>
              </a:r>
              <a:endParaRPr lang="en-US" sz="1200" dirty="0">
                <a:solidFill>
                  <a:schemeClr val="tx1"/>
                </a:solidFill>
                <a:ea typeface="ＭＳ Ｐゴシック" pitchFamily="34" charset="-128"/>
              </a:endParaRPr>
            </a:p>
          </p:txBody>
        </p:sp>
        <p:sp>
          <p:nvSpPr>
            <p:cNvPr id="6" name="Rechteck 5"/>
            <p:cNvSpPr>
              <a:spLocks/>
            </p:cNvSpPr>
            <p:nvPr/>
          </p:nvSpPr>
          <p:spPr bwMode="gray">
            <a:xfrm>
              <a:off x="6243409" y="5286484"/>
              <a:ext cx="2510065" cy="90794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New Adaptive Algorithm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Integrate new traffic data sources such as floating data and V2X 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Focus on </a:t>
              </a: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people journeys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not vehicle journeys</a:t>
              </a:r>
            </a:p>
          </p:txBody>
        </p:sp>
        <p:sp>
          <p:nvSpPr>
            <p:cNvPr id="7" name="Rechteck 6"/>
            <p:cNvSpPr>
              <a:spLocks/>
            </p:cNvSpPr>
            <p:nvPr/>
          </p:nvSpPr>
          <p:spPr bwMode="gray">
            <a:xfrm>
              <a:off x="6243409" y="4077771"/>
              <a:ext cx="2510065" cy="90794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New Features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Strategy Manager wraps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around core UTC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Monitors network performance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and adapts to suit conditions</a:t>
              </a:r>
            </a:p>
          </p:txBody>
        </p:sp>
        <p:sp>
          <p:nvSpPr>
            <p:cNvPr id="8" name="Rechteck 7"/>
            <p:cNvSpPr>
              <a:spLocks/>
            </p:cNvSpPr>
            <p:nvPr/>
          </p:nvSpPr>
          <p:spPr bwMode="gray">
            <a:xfrm>
              <a:off x="6243409" y="2907530"/>
              <a:ext cx="2510065" cy="741742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Innovations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Develop a new adaptive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system, building on SCOOT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Develop new database structure</a:t>
              </a:r>
            </a:p>
          </p:txBody>
        </p:sp>
        <p:cxnSp>
          <p:nvCxnSpPr>
            <p:cNvPr id="22" name="Gerade Verbindung 21"/>
            <p:cNvCxnSpPr>
              <a:cxnSpLocks/>
            </p:cNvCxnSpPr>
            <p:nvPr/>
          </p:nvCxnSpPr>
          <p:spPr bwMode="gray">
            <a:xfrm>
              <a:off x="6243409" y="2776380"/>
              <a:ext cx="2510065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>
              <a:cxnSpLocks/>
            </p:cNvCxnSpPr>
            <p:nvPr/>
          </p:nvCxnSpPr>
          <p:spPr bwMode="gray">
            <a:xfrm>
              <a:off x="6243409" y="3946621"/>
              <a:ext cx="2510065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>
              <a:cxnSpLocks/>
            </p:cNvCxnSpPr>
            <p:nvPr/>
          </p:nvCxnSpPr>
          <p:spPr bwMode="gray">
            <a:xfrm>
              <a:off x="6243409" y="5155334"/>
              <a:ext cx="2510065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3" name="Gruppieren 52"/>
          <p:cNvGrpSpPr/>
          <p:nvPr/>
        </p:nvGrpSpPr>
        <p:grpSpPr bwMode="gray">
          <a:xfrm>
            <a:off x="9201151" y="1443038"/>
            <a:ext cx="2514599" cy="4546715"/>
            <a:chOff x="9115425" y="1443038"/>
            <a:chExt cx="2514599" cy="4546715"/>
          </a:xfrm>
        </p:grpSpPr>
        <p:sp>
          <p:nvSpPr>
            <p:cNvPr id="10" name="cdtRectangle 3 Id114691"/>
            <p:cNvSpPr txBox="1">
              <a:spLocks noChangeArrowheads="1"/>
            </p:cNvSpPr>
            <p:nvPr/>
          </p:nvSpPr>
          <p:spPr bwMode="gray">
            <a:xfrm>
              <a:off x="9115425" y="1443038"/>
              <a:ext cx="2514599" cy="276999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80000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/>
                <a:defRPr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720000" indent="0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None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r>
                <a:rPr lang="en-US" sz="1600" b="1" kern="0" dirty="0"/>
                <a:t>Future-Roadmap </a:t>
              </a:r>
            </a:p>
          </p:txBody>
        </p:sp>
        <p:sp>
          <p:nvSpPr>
            <p:cNvPr id="13" name="Rechteck 12"/>
            <p:cNvSpPr>
              <a:spLocks/>
            </p:cNvSpPr>
            <p:nvPr/>
          </p:nvSpPr>
          <p:spPr bwMode="gray">
            <a:xfrm>
              <a:off x="9115425" y="1737289"/>
              <a:ext cx="2514599" cy="780214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Automation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Automatic SCOOT validation tool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Predictive profiling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Suggestion engine</a:t>
              </a:r>
            </a:p>
          </p:txBody>
        </p:sp>
        <p:sp>
          <p:nvSpPr>
            <p:cNvPr id="14" name="Rechteck 13"/>
            <p:cNvSpPr>
              <a:spLocks/>
            </p:cNvSpPr>
            <p:nvPr/>
          </p:nvSpPr>
          <p:spPr bwMode="gray">
            <a:xfrm>
              <a:off x="9115425" y="5286484"/>
              <a:ext cx="2514599" cy="703269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Connected Mobility</a:t>
              </a:r>
            </a:p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Leverage real-time data from connected users of the transport </a:t>
              </a: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network</a:t>
              </a:r>
            </a:p>
          </p:txBody>
        </p:sp>
        <p:sp>
          <p:nvSpPr>
            <p:cNvPr id="15" name="Rechteck 14"/>
            <p:cNvSpPr>
              <a:spLocks/>
            </p:cNvSpPr>
            <p:nvPr/>
          </p:nvSpPr>
          <p:spPr bwMode="gray">
            <a:xfrm>
              <a:off x="9115425" y="4116243"/>
              <a:ext cx="2514599" cy="90794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Data </a:t>
              </a:r>
              <a:r>
                <a:rPr lang="en-US" sz="1200" b="1" dirty="0" smtClean="0">
                  <a:solidFill>
                    <a:srgbClr val="41AAAA"/>
                  </a:solidFill>
                  <a:ea typeface="ＭＳ Ｐゴシック" pitchFamily="34" charset="-128"/>
                </a:rPr>
                <a:t>Warehouse </a:t>
              </a: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and Analytics 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Integrate new traffic data sources such as floating </a:t>
              </a: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car data </a:t>
              </a: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and V2X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chemeClr val="tx1"/>
                  </a:solidFill>
                  <a:ea typeface="ＭＳ Ｐゴシック" pitchFamily="34" charset="-128"/>
                </a:rPr>
                <a:t>Making </a:t>
              </a: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full use of many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new data sources</a:t>
              </a:r>
            </a:p>
          </p:txBody>
        </p:sp>
        <p:sp>
          <p:nvSpPr>
            <p:cNvPr id="16" name="Rechteck 15"/>
            <p:cNvSpPr>
              <a:spLocks/>
            </p:cNvSpPr>
            <p:nvPr/>
          </p:nvSpPr>
          <p:spPr bwMode="gray">
            <a:xfrm>
              <a:off x="9115425" y="2907530"/>
              <a:ext cx="2514599" cy="907941"/>
            </a:xfrm>
            <a:prstGeom prst="rect">
              <a:avLst/>
            </a:prstGeom>
            <a:noFill/>
            <a:ln w="9525">
              <a:noFill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</a:pPr>
              <a:r>
                <a:rPr lang="en-US" sz="1200" b="1" dirty="0">
                  <a:solidFill>
                    <a:srgbClr val="41AAAA"/>
                  </a:solidFill>
                  <a:ea typeface="ＭＳ Ｐゴシック" pitchFamily="34" charset="-128"/>
                </a:rPr>
                <a:t>Predictive Capabilities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Predict events and likely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scenarios and manage </a:t>
              </a:r>
              <a:b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</a:b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traffic prior to issues arising</a:t>
              </a:r>
            </a:p>
            <a:p>
              <a:pPr marL="171450" indent="-171450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  <a:ea typeface="ＭＳ Ｐゴシック" pitchFamily="34" charset="-128"/>
                </a:rPr>
                <a:t>Integrate simulation and modeling</a:t>
              </a:r>
            </a:p>
          </p:txBody>
        </p:sp>
        <p:cxnSp>
          <p:nvCxnSpPr>
            <p:cNvPr id="29" name="Gerade Verbindung 28"/>
            <p:cNvCxnSpPr>
              <a:cxnSpLocks/>
            </p:cNvCxnSpPr>
            <p:nvPr/>
          </p:nvCxnSpPr>
          <p:spPr bwMode="gray">
            <a:xfrm>
              <a:off x="9115425" y="2776380"/>
              <a:ext cx="2514599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>
              <a:cxnSpLocks/>
            </p:cNvCxnSpPr>
            <p:nvPr/>
          </p:nvCxnSpPr>
          <p:spPr bwMode="gray">
            <a:xfrm>
              <a:off x="9115425" y="3946621"/>
              <a:ext cx="2514599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>
              <a:cxnSpLocks/>
            </p:cNvCxnSpPr>
            <p:nvPr/>
          </p:nvCxnSpPr>
          <p:spPr bwMode="gray">
            <a:xfrm>
              <a:off x="9115425" y="5155334"/>
              <a:ext cx="2514599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8" name="Gleichschenkliges Dreieck 57"/>
          <p:cNvSpPr>
            <a:spLocks/>
          </p:cNvSpPr>
          <p:nvPr/>
        </p:nvSpPr>
        <p:spPr bwMode="gray">
          <a:xfrm rot="5400000">
            <a:off x="6367186" y="3742019"/>
            <a:ext cx="4754426" cy="150386"/>
          </a:xfrm>
          <a:custGeom>
            <a:avLst/>
            <a:gdLst>
              <a:gd name="connsiteX0" fmla="*/ 0 w 4754426"/>
              <a:gd name="connsiteY0" fmla="*/ 321836 h 413276"/>
              <a:gd name="connsiteX1" fmla="*/ 0 w 4754426"/>
              <a:gd name="connsiteY1" fmla="*/ 150386 h 413276"/>
              <a:gd name="connsiteX2" fmla="*/ 2203855 w 4754426"/>
              <a:gd name="connsiteY2" fmla="*/ 150386 h 413276"/>
              <a:gd name="connsiteX3" fmla="*/ 2377213 w 4754426"/>
              <a:gd name="connsiteY3" fmla="*/ 0 h 413276"/>
              <a:gd name="connsiteX4" fmla="*/ 2550571 w 4754426"/>
              <a:gd name="connsiteY4" fmla="*/ 150386 h 413276"/>
              <a:gd name="connsiteX5" fmla="*/ 4754426 w 4754426"/>
              <a:gd name="connsiteY5" fmla="*/ 150386 h 413276"/>
              <a:gd name="connsiteX6" fmla="*/ 4754426 w 4754426"/>
              <a:gd name="connsiteY6" fmla="*/ 321836 h 413276"/>
              <a:gd name="connsiteX7" fmla="*/ 91440 w 4754426"/>
              <a:gd name="connsiteY7" fmla="*/ 413276 h 413276"/>
              <a:gd name="connsiteX0" fmla="*/ 0 w 4754426"/>
              <a:gd name="connsiteY0" fmla="*/ 150386 h 413276"/>
              <a:gd name="connsiteX1" fmla="*/ 2203855 w 4754426"/>
              <a:gd name="connsiteY1" fmla="*/ 150386 h 413276"/>
              <a:gd name="connsiteX2" fmla="*/ 2377213 w 4754426"/>
              <a:gd name="connsiteY2" fmla="*/ 0 h 413276"/>
              <a:gd name="connsiteX3" fmla="*/ 2550571 w 4754426"/>
              <a:gd name="connsiteY3" fmla="*/ 150386 h 413276"/>
              <a:gd name="connsiteX4" fmla="*/ 4754426 w 4754426"/>
              <a:gd name="connsiteY4" fmla="*/ 150386 h 413276"/>
              <a:gd name="connsiteX5" fmla="*/ 4754426 w 4754426"/>
              <a:gd name="connsiteY5" fmla="*/ 321836 h 413276"/>
              <a:gd name="connsiteX6" fmla="*/ 91440 w 4754426"/>
              <a:gd name="connsiteY6" fmla="*/ 413276 h 413276"/>
              <a:gd name="connsiteX0" fmla="*/ 0 w 4754426"/>
              <a:gd name="connsiteY0" fmla="*/ 150386 h 321836"/>
              <a:gd name="connsiteX1" fmla="*/ 2203855 w 4754426"/>
              <a:gd name="connsiteY1" fmla="*/ 150386 h 321836"/>
              <a:gd name="connsiteX2" fmla="*/ 2377213 w 4754426"/>
              <a:gd name="connsiteY2" fmla="*/ 0 h 321836"/>
              <a:gd name="connsiteX3" fmla="*/ 2550571 w 4754426"/>
              <a:gd name="connsiteY3" fmla="*/ 150386 h 321836"/>
              <a:gd name="connsiteX4" fmla="*/ 4754426 w 4754426"/>
              <a:gd name="connsiteY4" fmla="*/ 150386 h 321836"/>
              <a:gd name="connsiteX5" fmla="*/ 4754426 w 4754426"/>
              <a:gd name="connsiteY5" fmla="*/ 321836 h 321836"/>
              <a:gd name="connsiteX0" fmla="*/ 0 w 4754426"/>
              <a:gd name="connsiteY0" fmla="*/ 150386 h 150386"/>
              <a:gd name="connsiteX1" fmla="*/ 2203855 w 4754426"/>
              <a:gd name="connsiteY1" fmla="*/ 150386 h 150386"/>
              <a:gd name="connsiteX2" fmla="*/ 2377213 w 4754426"/>
              <a:gd name="connsiteY2" fmla="*/ 0 h 150386"/>
              <a:gd name="connsiteX3" fmla="*/ 2550571 w 4754426"/>
              <a:gd name="connsiteY3" fmla="*/ 150386 h 150386"/>
              <a:gd name="connsiteX4" fmla="*/ 4754426 w 4754426"/>
              <a:gd name="connsiteY4" fmla="*/ 150386 h 15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54426" h="150386">
                <a:moveTo>
                  <a:pt x="0" y="150386"/>
                </a:moveTo>
                <a:lnTo>
                  <a:pt x="2203855" y="150386"/>
                </a:lnTo>
                <a:lnTo>
                  <a:pt x="2377213" y="0"/>
                </a:lnTo>
                <a:lnTo>
                  <a:pt x="2550571" y="150386"/>
                </a:lnTo>
                <a:lnTo>
                  <a:pt x="4754426" y="150386"/>
                </a:lnTo>
              </a:path>
            </a:pathLst>
          </a:custGeom>
          <a:noFill/>
          <a:ln w="9525">
            <a:solidFill>
              <a:schemeClr val="accent1"/>
            </a:solidFill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649" name="Gruppieren 648"/>
          <p:cNvGrpSpPr/>
          <p:nvPr/>
        </p:nvGrpSpPr>
        <p:grpSpPr bwMode="gray">
          <a:xfrm>
            <a:off x="715104" y="3134634"/>
            <a:ext cx="4748130" cy="1286442"/>
            <a:chOff x="619347" y="2717929"/>
            <a:chExt cx="5480059" cy="1484748"/>
          </a:xfrm>
        </p:grpSpPr>
        <p:grpSp>
          <p:nvGrpSpPr>
            <p:cNvPr id="382" name="Gruppieren 381"/>
            <p:cNvGrpSpPr/>
            <p:nvPr/>
          </p:nvGrpSpPr>
          <p:grpSpPr bwMode="gray">
            <a:xfrm>
              <a:off x="656702" y="2717929"/>
              <a:ext cx="5442472" cy="1484748"/>
              <a:chOff x="2210865" y="4080154"/>
              <a:chExt cx="6859366" cy="1871288"/>
            </a:xfrm>
          </p:grpSpPr>
          <p:grpSp>
            <p:nvGrpSpPr>
              <p:cNvPr id="383" name="Gruppieren 382"/>
              <p:cNvGrpSpPr/>
              <p:nvPr/>
            </p:nvGrpSpPr>
            <p:grpSpPr bwMode="gray">
              <a:xfrm>
                <a:off x="2384607" y="4080154"/>
                <a:ext cx="6306692" cy="1871288"/>
                <a:chOff x="4891826" y="2565824"/>
                <a:chExt cx="6306692" cy="1871288"/>
              </a:xfrm>
              <a:solidFill>
                <a:srgbClr val="BECDD7"/>
              </a:solidFill>
            </p:grpSpPr>
            <p:sp>
              <p:nvSpPr>
                <p:cNvPr id="488" name="Ellipse 487"/>
                <p:cNvSpPr/>
                <p:nvPr/>
              </p:nvSpPr>
              <p:spPr bwMode="gray">
                <a:xfrm flipV="1">
                  <a:off x="6636853" y="437867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9" name="Ellipse 388"/>
                <p:cNvSpPr/>
                <p:nvPr/>
              </p:nvSpPr>
              <p:spPr bwMode="gray">
                <a:xfrm flipV="1">
                  <a:off x="5424138" y="437867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0" name="Ellipse 389"/>
                <p:cNvSpPr/>
                <p:nvPr/>
              </p:nvSpPr>
              <p:spPr bwMode="gray">
                <a:xfrm flipV="1">
                  <a:off x="9590211" y="437867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1" name="Ellipse 390"/>
                <p:cNvSpPr/>
                <p:nvPr/>
              </p:nvSpPr>
              <p:spPr bwMode="gray">
                <a:xfrm flipV="1">
                  <a:off x="10286296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2" name="Ellipse 391"/>
                <p:cNvSpPr/>
                <p:nvPr/>
              </p:nvSpPr>
              <p:spPr bwMode="gray">
                <a:xfrm flipV="1">
                  <a:off x="10286296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3" name="Ellipse 392"/>
                <p:cNvSpPr/>
                <p:nvPr/>
              </p:nvSpPr>
              <p:spPr bwMode="gray">
                <a:xfrm flipV="1">
                  <a:off x="10286296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4" name="Ellipse 393"/>
                <p:cNvSpPr/>
                <p:nvPr/>
              </p:nvSpPr>
              <p:spPr bwMode="gray">
                <a:xfrm flipV="1">
                  <a:off x="10286296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5" name="Ellipse 394"/>
                <p:cNvSpPr/>
                <p:nvPr/>
              </p:nvSpPr>
              <p:spPr bwMode="gray">
                <a:xfrm flipV="1">
                  <a:off x="10459441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6" name="Ellipse 396"/>
                <p:cNvSpPr/>
                <p:nvPr/>
              </p:nvSpPr>
              <p:spPr bwMode="gray">
                <a:xfrm flipV="1">
                  <a:off x="10459441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7" name="Ellipse 397"/>
                <p:cNvSpPr/>
                <p:nvPr/>
              </p:nvSpPr>
              <p:spPr bwMode="gray">
                <a:xfrm flipV="1">
                  <a:off x="10629483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8" name="Ellipse 398"/>
                <p:cNvSpPr/>
                <p:nvPr/>
              </p:nvSpPr>
              <p:spPr bwMode="gray">
                <a:xfrm flipV="1">
                  <a:off x="10629483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99" name="Ellipse 400"/>
                <p:cNvSpPr/>
                <p:nvPr/>
              </p:nvSpPr>
              <p:spPr bwMode="gray">
                <a:xfrm flipV="1">
                  <a:off x="10114247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0" name="Ellipse 401"/>
                <p:cNvSpPr/>
                <p:nvPr/>
              </p:nvSpPr>
              <p:spPr bwMode="gray">
                <a:xfrm flipV="1">
                  <a:off x="10114247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1" name="Ellipse 406"/>
                <p:cNvSpPr/>
                <p:nvPr/>
              </p:nvSpPr>
              <p:spPr bwMode="gray">
                <a:xfrm flipV="1">
                  <a:off x="11151759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2" name="Ellipse 407"/>
                <p:cNvSpPr/>
                <p:nvPr/>
              </p:nvSpPr>
              <p:spPr bwMode="gray">
                <a:xfrm flipV="1">
                  <a:off x="11151759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3" name="Ellipse 408"/>
                <p:cNvSpPr/>
                <p:nvPr/>
              </p:nvSpPr>
              <p:spPr bwMode="gray">
                <a:xfrm flipV="1">
                  <a:off x="9770012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4" name="Ellipse 411"/>
                <p:cNvSpPr/>
                <p:nvPr/>
              </p:nvSpPr>
              <p:spPr bwMode="gray">
                <a:xfrm flipV="1">
                  <a:off x="10985427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5" name="Ellipse 413"/>
                <p:cNvSpPr/>
                <p:nvPr/>
              </p:nvSpPr>
              <p:spPr bwMode="gray">
                <a:xfrm flipV="1">
                  <a:off x="10629483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6" name="Ellipse 414"/>
                <p:cNvSpPr/>
                <p:nvPr/>
              </p:nvSpPr>
              <p:spPr bwMode="gray">
                <a:xfrm flipV="1">
                  <a:off x="10808050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7" name="Ellipse 415"/>
                <p:cNvSpPr/>
                <p:nvPr/>
              </p:nvSpPr>
              <p:spPr bwMode="gray">
                <a:xfrm flipV="1">
                  <a:off x="10808050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8" name="Ellipse 416"/>
                <p:cNvSpPr/>
                <p:nvPr/>
              </p:nvSpPr>
              <p:spPr bwMode="gray">
                <a:xfrm flipV="1">
                  <a:off x="10808050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09" name="Ellipse 420"/>
                <p:cNvSpPr/>
                <p:nvPr/>
              </p:nvSpPr>
              <p:spPr bwMode="gray">
                <a:xfrm flipV="1">
                  <a:off x="9933307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0" name="Ellipse 421"/>
                <p:cNvSpPr/>
                <p:nvPr/>
              </p:nvSpPr>
              <p:spPr bwMode="gray">
                <a:xfrm flipV="1">
                  <a:off x="9933307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1" name="Ellipse 422"/>
                <p:cNvSpPr/>
                <p:nvPr/>
              </p:nvSpPr>
              <p:spPr bwMode="gray">
                <a:xfrm flipV="1">
                  <a:off x="9933307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2" name="Ellipse 424"/>
                <p:cNvSpPr/>
                <p:nvPr/>
              </p:nvSpPr>
              <p:spPr bwMode="gray">
                <a:xfrm flipV="1">
                  <a:off x="9590211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3" name="Ellipse 425"/>
                <p:cNvSpPr/>
                <p:nvPr/>
              </p:nvSpPr>
              <p:spPr bwMode="gray">
                <a:xfrm flipV="1">
                  <a:off x="9590211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4" name="Ellipse 426"/>
                <p:cNvSpPr/>
                <p:nvPr/>
              </p:nvSpPr>
              <p:spPr bwMode="gray">
                <a:xfrm flipV="1">
                  <a:off x="9590211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5" name="Ellipse 428"/>
                <p:cNvSpPr/>
                <p:nvPr/>
              </p:nvSpPr>
              <p:spPr bwMode="gray">
                <a:xfrm flipV="1">
                  <a:off x="9416060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6" name="Ellipse 429"/>
                <p:cNvSpPr/>
                <p:nvPr/>
              </p:nvSpPr>
              <p:spPr bwMode="gray">
                <a:xfrm flipV="1">
                  <a:off x="9064084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7" name="Ellipse 431"/>
                <p:cNvSpPr/>
                <p:nvPr/>
              </p:nvSpPr>
              <p:spPr bwMode="gray">
                <a:xfrm flipV="1">
                  <a:off x="9064084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8" name="Ellipse 432"/>
                <p:cNvSpPr/>
                <p:nvPr/>
              </p:nvSpPr>
              <p:spPr bwMode="gray">
                <a:xfrm flipV="1">
                  <a:off x="9064084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19" name="Ellipse 434"/>
                <p:cNvSpPr/>
                <p:nvPr/>
              </p:nvSpPr>
              <p:spPr bwMode="gray">
                <a:xfrm flipV="1">
                  <a:off x="9064084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0" name="Ellipse 437"/>
                <p:cNvSpPr/>
                <p:nvPr/>
              </p:nvSpPr>
              <p:spPr bwMode="gray">
                <a:xfrm flipV="1">
                  <a:off x="8893977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1" name="Ellipse 439"/>
                <p:cNvSpPr/>
                <p:nvPr/>
              </p:nvSpPr>
              <p:spPr bwMode="gray">
                <a:xfrm flipV="1">
                  <a:off x="8717685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2" name="Ellipse 440"/>
                <p:cNvSpPr/>
                <p:nvPr/>
              </p:nvSpPr>
              <p:spPr bwMode="gray">
                <a:xfrm flipV="1">
                  <a:off x="8717685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3" name="Ellipse 441"/>
                <p:cNvSpPr/>
                <p:nvPr/>
              </p:nvSpPr>
              <p:spPr bwMode="gray">
                <a:xfrm flipV="1">
                  <a:off x="8717685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4" name="Ellipse 443"/>
                <p:cNvSpPr/>
                <p:nvPr/>
              </p:nvSpPr>
              <p:spPr bwMode="gray">
                <a:xfrm flipV="1">
                  <a:off x="8547529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5" name="Ellipse 444"/>
                <p:cNvSpPr/>
                <p:nvPr/>
              </p:nvSpPr>
              <p:spPr bwMode="gray">
                <a:xfrm flipV="1">
                  <a:off x="8366779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6" name="Ellipse 448"/>
                <p:cNvSpPr/>
                <p:nvPr/>
              </p:nvSpPr>
              <p:spPr bwMode="gray">
                <a:xfrm flipV="1">
                  <a:off x="7331141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7" name="Ellipse 449"/>
                <p:cNvSpPr/>
                <p:nvPr/>
              </p:nvSpPr>
              <p:spPr bwMode="gray">
                <a:xfrm flipV="1">
                  <a:off x="7331141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8" name="Ellipse 450"/>
                <p:cNvSpPr/>
                <p:nvPr/>
              </p:nvSpPr>
              <p:spPr bwMode="gray">
                <a:xfrm flipV="1">
                  <a:off x="7331141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29" name="Ellipse 451"/>
                <p:cNvSpPr/>
                <p:nvPr/>
              </p:nvSpPr>
              <p:spPr bwMode="gray">
                <a:xfrm flipV="1">
                  <a:off x="7153776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0" name="Ellipse 452"/>
                <p:cNvSpPr/>
                <p:nvPr/>
              </p:nvSpPr>
              <p:spPr bwMode="gray">
                <a:xfrm flipV="1">
                  <a:off x="7153776" y="25775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1" name="Ellipse 453"/>
                <p:cNvSpPr/>
                <p:nvPr/>
              </p:nvSpPr>
              <p:spPr bwMode="gray">
                <a:xfrm flipV="1">
                  <a:off x="6986749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2" name="Ellipse 454"/>
                <p:cNvSpPr/>
                <p:nvPr/>
              </p:nvSpPr>
              <p:spPr bwMode="gray">
                <a:xfrm flipV="1">
                  <a:off x="6986749" y="25775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3" name="Ellipse 455"/>
                <p:cNvSpPr/>
                <p:nvPr/>
              </p:nvSpPr>
              <p:spPr bwMode="gray">
                <a:xfrm flipV="1">
                  <a:off x="6986749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4" name="Ellipse 459"/>
                <p:cNvSpPr/>
                <p:nvPr/>
              </p:nvSpPr>
              <p:spPr bwMode="gray">
                <a:xfrm flipV="1">
                  <a:off x="6636853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5" name="Ellipse 460"/>
                <p:cNvSpPr/>
                <p:nvPr/>
              </p:nvSpPr>
              <p:spPr bwMode="gray">
                <a:xfrm flipV="1">
                  <a:off x="6636853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6" name="Ellipse 461"/>
                <p:cNvSpPr/>
                <p:nvPr/>
              </p:nvSpPr>
              <p:spPr bwMode="gray">
                <a:xfrm flipV="1">
                  <a:off x="6636853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7" name="Ellipse 462"/>
                <p:cNvSpPr/>
                <p:nvPr/>
              </p:nvSpPr>
              <p:spPr bwMode="gray">
                <a:xfrm flipV="1">
                  <a:off x="6636853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8" name="Ellipse 465"/>
                <p:cNvSpPr/>
                <p:nvPr/>
              </p:nvSpPr>
              <p:spPr bwMode="gray">
                <a:xfrm flipV="1">
                  <a:off x="6461577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39" name="Ellipse 466"/>
                <p:cNvSpPr/>
                <p:nvPr/>
              </p:nvSpPr>
              <p:spPr bwMode="gray">
                <a:xfrm flipV="1">
                  <a:off x="6290159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0" name="Ellipse 469"/>
                <p:cNvSpPr/>
                <p:nvPr/>
              </p:nvSpPr>
              <p:spPr bwMode="gray">
                <a:xfrm flipV="1">
                  <a:off x="5941368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1" name="Ellipse 471"/>
                <p:cNvSpPr/>
                <p:nvPr/>
              </p:nvSpPr>
              <p:spPr bwMode="gray">
                <a:xfrm flipV="1">
                  <a:off x="6114845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2" name="Ellipse 474"/>
                <p:cNvSpPr/>
                <p:nvPr/>
              </p:nvSpPr>
              <p:spPr bwMode="gray">
                <a:xfrm flipV="1">
                  <a:off x="5775013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3" name="Ellipse 475"/>
                <p:cNvSpPr/>
                <p:nvPr/>
              </p:nvSpPr>
              <p:spPr bwMode="gray">
                <a:xfrm flipV="1">
                  <a:off x="5590811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4" name="Ellipse 476"/>
                <p:cNvSpPr/>
                <p:nvPr/>
              </p:nvSpPr>
              <p:spPr bwMode="gray">
                <a:xfrm flipV="1">
                  <a:off x="5590811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5" name="Ellipse 478"/>
                <p:cNvSpPr/>
                <p:nvPr/>
              </p:nvSpPr>
              <p:spPr bwMode="gray">
                <a:xfrm flipV="1">
                  <a:off x="5424138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6" name="Ellipse 479"/>
                <p:cNvSpPr/>
                <p:nvPr/>
              </p:nvSpPr>
              <p:spPr bwMode="gray">
                <a:xfrm flipV="1">
                  <a:off x="5424138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7" name="Ellipse 480"/>
                <p:cNvSpPr/>
                <p:nvPr/>
              </p:nvSpPr>
              <p:spPr bwMode="gray">
                <a:xfrm flipV="1">
                  <a:off x="5424138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8" name="Ellipse 481"/>
                <p:cNvSpPr/>
                <p:nvPr/>
              </p:nvSpPr>
              <p:spPr bwMode="gray">
                <a:xfrm flipV="1">
                  <a:off x="5244412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49" name="Ellipse 487"/>
                <p:cNvSpPr/>
                <p:nvPr/>
              </p:nvSpPr>
              <p:spPr bwMode="gray">
                <a:xfrm flipV="1">
                  <a:off x="5068119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0" name="Ellipse 490"/>
                <p:cNvSpPr/>
                <p:nvPr/>
              </p:nvSpPr>
              <p:spPr bwMode="gray">
                <a:xfrm flipV="1">
                  <a:off x="4891826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1" name="Ellipse 496"/>
                <p:cNvSpPr/>
                <p:nvPr/>
              </p:nvSpPr>
              <p:spPr bwMode="gray">
                <a:xfrm flipV="1">
                  <a:off x="10796360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2" name="Ellipse 497"/>
                <p:cNvSpPr/>
                <p:nvPr/>
              </p:nvSpPr>
              <p:spPr bwMode="gray">
                <a:xfrm flipV="1">
                  <a:off x="10796360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3" name="Ellipse 499"/>
                <p:cNvSpPr/>
                <p:nvPr/>
              </p:nvSpPr>
              <p:spPr bwMode="gray">
                <a:xfrm flipV="1">
                  <a:off x="10796360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4" name="Ellipse 502"/>
                <p:cNvSpPr/>
                <p:nvPr/>
              </p:nvSpPr>
              <p:spPr bwMode="gray">
                <a:xfrm flipV="1">
                  <a:off x="10447751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5" name="Ellipse 503"/>
                <p:cNvSpPr/>
                <p:nvPr/>
              </p:nvSpPr>
              <p:spPr bwMode="gray">
                <a:xfrm flipV="1">
                  <a:off x="10274606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6" name="Ellipse 505"/>
                <p:cNvSpPr/>
                <p:nvPr/>
              </p:nvSpPr>
              <p:spPr bwMode="gray">
                <a:xfrm flipV="1">
                  <a:off x="10102558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7" name="Ellipse 506"/>
                <p:cNvSpPr/>
                <p:nvPr/>
              </p:nvSpPr>
              <p:spPr bwMode="gray">
                <a:xfrm flipV="1">
                  <a:off x="10102558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8" name="Ellipse 507"/>
                <p:cNvSpPr/>
                <p:nvPr/>
              </p:nvSpPr>
              <p:spPr bwMode="gray">
                <a:xfrm flipV="1">
                  <a:off x="10102558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59" name="Ellipse 508"/>
                <p:cNvSpPr/>
                <p:nvPr/>
              </p:nvSpPr>
              <p:spPr bwMode="gray">
                <a:xfrm flipV="1">
                  <a:off x="10274606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0" name="Ellipse 509"/>
                <p:cNvSpPr/>
                <p:nvPr/>
              </p:nvSpPr>
              <p:spPr bwMode="gray">
                <a:xfrm flipV="1">
                  <a:off x="10447751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1" name="Ellipse 511"/>
                <p:cNvSpPr/>
                <p:nvPr/>
              </p:nvSpPr>
              <p:spPr bwMode="gray">
                <a:xfrm flipV="1">
                  <a:off x="10617794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2" name="Ellipse 512"/>
                <p:cNvSpPr/>
                <p:nvPr/>
              </p:nvSpPr>
              <p:spPr bwMode="gray">
                <a:xfrm flipV="1">
                  <a:off x="10617794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3" name="Ellipse 514"/>
                <p:cNvSpPr/>
                <p:nvPr/>
              </p:nvSpPr>
              <p:spPr bwMode="gray">
                <a:xfrm flipV="1">
                  <a:off x="10973738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4" name="Ellipse 518"/>
                <p:cNvSpPr/>
                <p:nvPr/>
              </p:nvSpPr>
              <p:spPr bwMode="gray">
                <a:xfrm flipV="1">
                  <a:off x="10973738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5" name="Ellipse 519"/>
                <p:cNvSpPr/>
                <p:nvPr/>
              </p:nvSpPr>
              <p:spPr bwMode="gray">
                <a:xfrm flipV="1">
                  <a:off x="10447751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6" name="Ellipse 520"/>
                <p:cNvSpPr/>
                <p:nvPr/>
              </p:nvSpPr>
              <p:spPr bwMode="gray">
                <a:xfrm flipV="1">
                  <a:off x="10447751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7" name="Ellipse 521"/>
                <p:cNvSpPr/>
                <p:nvPr/>
              </p:nvSpPr>
              <p:spPr bwMode="gray">
                <a:xfrm flipV="1">
                  <a:off x="10102558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8" name="Ellipse 522"/>
                <p:cNvSpPr/>
                <p:nvPr/>
              </p:nvSpPr>
              <p:spPr bwMode="gray">
                <a:xfrm flipV="1">
                  <a:off x="10274606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69" name="Ellipse 526"/>
                <p:cNvSpPr/>
                <p:nvPr/>
              </p:nvSpPr>
              <p:spPr bwMode="gray">
                <a:xfrm flipV="1">
                  <a:off x="9921617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0" name="Ellipse 527"/>
                <p:cNvSpPr/>
                <p:nvPr/>
              </p:nvSpPr>
              <p:spPr bwMode="gray">
                <a:xfrm flipV="1">
                  <a:off x="9921617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1" name="Ellipse 528"/>
                <p:cNvSpPr/>
                <p:nvPr/>
              </p:nvSpPr>
              <p:spPr bwMode="gray">
                <a:xfrm flipV="1">
                  <a:off x="9921617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2" name="Ellipse 529"/>
                <p:cNvSpPr/>
                <p:nvPr/>
              </p:nvSpPr>
              <p:spPr bwMode="gray">
                <a:xfrm flipV="1">
                  <a:off x="9921617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3" name="Ellipse 530"/>
                <p:cNvSpPr/>
                <p:nvPr/>
              </p:nvSpPr>
              <p:spPr bwMode="gray">
                <a:xfrm flipV="1">
                  <a:off x="10102558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4" name="Ellipse 531"/>
                <p:cNvSpPr/>
                <p:nvPr/>
              </p:nvSpPr>
              <p:spPr bwMode="gray">
                <a:xfrm flipV="1">
                  <a:off x="10447751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5" name="Ellipse 533"/>
                <p:cNvSpPr/>
                <p:nvPr/>
              </p:nvSpPr>
              <p:spPr bwMode="gray">
                <a:xfrm flipV="1">
                  <a:off x="9758322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6" name="Ellipse 535"/>
                <p:cNvSpPr/>
                <p:nvPr/>
              </p:nvSpPr>
              <p:spPr bwMode="gray">
                <a:xfrm flipV="1">
                  <a:off x="9758322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7" name="Ellipse 536"/>
                <p:cNvSpPr/>
                <p:nvPr/>
              </p:nvSpPr>
              <p:spPr bwMode="gray">
                <a:xfrm flipV="1">
                  <a:off x="9758322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8" name="Ellipse 537"/>
                <p:cNvSpPr/>
                <p:nvPr/>
              </p:nvSpPr>
              <p:spPr bwMode="gray">
                <a:xfrm flipV="1">
                  <a:off x="9758322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79" name="Ellipse 538"/>
                <p:cNvSpPr/>
                <p:nvPr/>
              </p:nvSpPr>
              <p:spPr bwMode="gray">
                <a:xfrm flipV="1">
                  <a:off x="9758322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0" name="Ellipse 540"/>
                <p:cNvSpPr/>
                <p:nvPr/>
              </p:nvSpPr>
              <p:spPr bwMode="gray">
                <a:xfrm flipV="1">
                  <a:off x="9578521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1" name="Ellipse 542"/>
                <p:cNvSpPr/>
                <p:nvPr/>
              </p:nvSpPr>
              <p:spPr bwMode="gray">
                <a:xfrm flipV="1">
                  <a:off x="9578521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2" name="Ellipse 543"/>
                <p:cNvSpPr/>
                <p:nvPr/>
              </p:nvSpPr>
              <p:spPr bwMode="gray">
                <a:xfrm flipV="1">
                  <a:off x="9404371" y="436698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3" name="Ellipse 546"/>
                <p:cNvSpPr/>
                <p:nvPr/>
              </p:nvSpPr>
              <p:spPr bwMode="gray">
                <a:xfrm flipV="1">
                  <a:off x="9404371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4" name="Ellipse 548"/>
                <p:cNvSpPr/>
                <p:nvPr/>
              </p:nvSpPr>
              <p:spPr bwMode="gray">
                <a:xfrm flipV="1">
                  <a:off x="9404371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5" name="Ellipse 549"/>
                <p:cNvSpPr/>
                <p:nvPr/>
              </p:nvSpPr>
              <p:spPr bwMode="gray">
                <a:xfrm flipV="1">
                  <a:off x="9229640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6" name="Ellipse 550"/>
                <p:cNvSpPr/>
                <p:nvPr/>
              </p:nvSpPr>
              <p:spPr bwMode="gray">
                <a:xfrm flipV="1">
                  <a:off x="9229640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7" name="Ellipse 551"/>
                <p:cNvSpPr/>
                <p:nvPr/>
              </p:nvSpPr>
              <p:spPr bwMode="gray">
                <a:xfrm flipV="1">
                  <a:off x="9229640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8" name="Ellipse 552"/>
                <p:cNvSpPr/>
                <p:nvPr/>
              </p:nvSpPr>
              <p:spPr bwMode="gray">
                <a:xfrm flipV="1">
                  <a:off x="9229640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89" name="Ellipse 553"/>
                <p:cNvSpPr/>
                <p:nvPr/>
              </p:nvSpPr>
              <p:spPr bwMode="gray">
                <a:xfrm flipV="1">
                  <a:off x="9229640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0" name="Ellipse 554"/>
                <p:cNvSpPr/>
                <p:nvPr/>
              </p:nvSpPr>
              <p:spPr bwMode="gray">
                <a:xfrm flipV="1">
                  <a:off x="8882288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1" name="Ellipse 555"/>
                <p:cNvSpPr/>
                <p:nvPr/>
              </p:nvSpPr>
              <p:spPr bwMode="gray">
                <a:xfrm flipV="1">
                  <a:off x="8882288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2" name="Ellipse 559"/>
                <p:cNvSpPr/>
                <p:nvPr/>
              </p:nvSpPr>
              <p:spPr bwMode="gray">
                <a:xfrm flipV="1">
                  <a:off x="8015992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3" name="Ellipse 560"/>
                <p:cNvSpPr/>
                <p:nvPr/>
              </p:nvSpPr>
              <p:spPr bwMode="gray">
                <a:xfrm flipV="1">
                  <a:off x="7493331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4" name="Ellipse 561"/>
                <p:cNvSpPr/>
                <p:nvPr/>
              </p:nvSpPr>
              <p:spPr bwMode="gray">
                <a:xfrm flipV="1">
                  <a:off x="7493331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5" name="Ellipse 563"/>
                <p:cNvSpPr/>
                <p:nvPr/>
              </p:nvSpPr>
              <p:spPr bwMode="gray">
                <a:xfrm flipV="1">
                  <a:off x="7674446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6" name="Ellipse 564"/>
                <p:cNvSpPr/>
                <p:nvPr/>
              </p:nvSpPr>
              <p:spPr bwMode="gray">
                <a:xfrm flipV="1">
                  <a:off x="7319452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7" name="Ellipse 566"/>
                <p:cNvSpPr/>
                <p:nvPr/>
              </p:nvSpPr>
              <p:spPr bwMode="gray">
                <a:xfrm flipV="1">
                  <a:off x="7142087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8" name="Ellipse 567"/>
                <p:cNvSpPr/>
                <p:nvPr/>
              </p:nvSpPr>
              <p:spPr bwMode="gray">
                <a:xfrm flipV="1">
                  <a:off x="6975060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599" name="Ellipse 568"/>
                <p:cNvSpPr/>
                <p:nvPr/>
              </p:nvSpPr>
              <p:spPr bwMode="gray">
                <a:xfrm flipV="1">
                  <a:off x="6975060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0" name="Ellipse 569"/>
                <p:cNvSpPr/>
                <p:nvPr/>
              </p:nvSpPr>
              <p:spPr bwMode="gray">
                <a:xfrm flipV="1">
                  <a:off x="6975060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1" name="Ellipse 570"/>
                <p:cNvSpPr/>
                <p:nvPr/>
              </p:nvSpPr>
              <p:spPr bwMode="gray">
                <a:xfrm flipV="1">
                  <a:off x="6801860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2" name="Ellipse 571"/>
                <p:cNvSpPr/>
                <p:nvPr/>
              </p:nvSpPr>
              <p:spPr bwMode="gray">
                <a:xfrm flipV="1">
                  <a:off x="6801860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3" name="Ellipse 573"/>
                <p:cNvSpPr/>
                <p:nvPr/>
              </p:nvSpPr>
              <p:spPr bwMode="gray">
                <a:xfrm flipV="1">
                  <a:off x="6801860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4" name="Ellipse 574"/>
                <p:cNvSpPr/>
                <p:nvPr/>
              </p:nvSpPr>
              <p:spPr bwMode="gray">
                <a:xfrm flipV="1">
                  <a:off x="6801860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5" name="Ellipse 575"/>
                <p:cNvSpPr/>
                <p:nvPr/>
              </p:nvSpPr>
              <p:spPr bwMode="gray">
                <a:xfrm flipV="1">
                  <a:off x="6801860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6" name="Ellipse 576"/>
                <p:cNvSpPr/>
                <p:nvPr/>
              </p:nvSpPr>
              <p:spPr bwMode="gray">
                <a:xfrm flipV="1">
                  <a:off x="6801860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7" name="Ellipse 577"/>
                <p:cNvSpPr/>
                <p:nvPr/>
              </p:nvSpPr>
              <p:spPr bwMode="gray">
                <a:xfrm flipV="1">
                  <a:off x="6801860" y="25658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8" name="Ellipse 578"/>
                <p:cNvSpPr/>
                <p:nvPr/>
              </p:nvSpPr>
              <p:spPr bwMode="gray">
                <a:xfrm flipV="1">
                  <a:off x="6625164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09" name="Ellipse 579"/>
                <p:cNvSpPr/>
                <p:nvPr/>
              </p:nvSpPr>
              <p:spPr bwMode="gray">
                <a:xfrm flipV="1">
                  <a:off x="6625164" y="25658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0" name="Ellipse 580"/>
                <p:cNvSpPr/>
                <p:nvPr/>
              </p:nvSpPr>
              <p:spPr bwMode="gray">
                <a:xfrm flipV="1">
                  <a:off x="6449887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1" name="Ellipse 581"/>
                <p:cNvSpPr/>
                <p:nvPr/>
              </p:nvSpPr>
              <p:spPr bwMode="gray">
                <a:xfrm flipV="1">
                  <a:off x="6625164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2" name="Ellipse 582"/>
                <p:cNvSpPr/>
                <p:nvPr/>
              </p:nvSpPr>
              <p:spPr bwMode="gray">
                <a:xfrm flipV="1">
                  <a:off x="6449887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3" name="Ellipse 583"/>
                <p:cNvSpPr/>
                <p:nvPr/>
              </p:nvSpPr>
              <p:spPr bwMode="gray">
                <a:xfrm flipV="1">
                  <a:off x="6449887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4" name="Ellipse 584"/>
                <p:cNvSpPr/>
                <p:nvPr/>
              </p:nvSpPr>
              <p:spPr bwMode="gray">
                <a:xfrm flipV="1">
                  <a:off x="6449887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5" name="Ellipse 585"/>
                <p:cNvSpPr/>
                <p:nvPr/>
              </p:nvSpPr>
              <p:spPr bwMode="gray">
                <a:xfrm flipV="1">
                  <a:off x="6449887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6" name="Ellipse 586"/>
                <p:cNvSpPr/>
                <p:nvPr/>
              </p:nvSpPr>
              <p:spPr bwMode="gray">
                <a:xfrm flipV="1">
                  <a:off x="6449887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7" name="Ellipse 587"/>
                <p:cNvSpPr/>
                <p:nvPr/>
              </p:nvSpPr>
              <p:spPr bwMode="gray">
                <a:xfrm flipV="1">
                  <a:off x="6278470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8" name="Ellipse 589"/>
                <p:cNvSpPr/>
                <p:nvPr/>
              </p:nvSpPr>
              <p:spPr bwMode="gray">
                <a:xfrm flipV="1">
                  <a:off x="6278470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19" name="Ellipse 590"/>
                <p:cNvSpPr/>
                <p:nvPr/>
              </p:nvSpPr>
              <p:spPr bwMode="gray">
                <a:xfrm flipV="1">
                  <a:off x="6278470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0" name="Ellipse 592"/>
                <p:cNvSpPr/>
                <p:nvPr/>
              </p:nvSpPr>
              <p:spPr bwMode="gray">
                <a:xfrm flipV="1">
                  <a:off x="6278470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1" name="Ellipse 593"/>
                <p:cNvSpPr/>
                <p:nvPr/>
              </p:nvSpPr>
              <p:spPr bwMode="gray">
                <a:xfrm flipV="1">
                  <a:off x="6103155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2" name="Ellipse 595"/>
                <p:cNvSpPr/>
                <p:nvPr/>
              </p:nvSpPr>
              <p:spPr bwMode="gray">
                <a:xfrm flipV="1">
                  <a:off x="6103155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3" name="Ellipse 597"/>
                <p:cNvSpPr/>
                <p:nvPr/>
              </p:nvSpPr>
              <p:spPr bwMode="gray">
                <a:xfrm flipV="1">
                  <a:off x="6103155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4" name="Ellipse 598"/>
                <p:cNvSpPr/>
                <p:nvPr/>
              </p:nvSpPr>
              <p:spPr bwMode="gray">
                <a:xfrm flipV="1">
                  <a:off x="6103155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5" name="Ellipse 599"/>
                <p:cNvSpPr/>
                <p:nvPr/>
              </p:nvSpPr>
              <p:spPr bwMode="gray">
                <a:xfrm flipV="1">
                  <a:off x="6103155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6" name="Ellipse 600"/>
                <p:cNvSpPr/>
                <p:nvPr/>
              </p:nvSpPr>
              <p:spPr bwMode="gray">
                <a:xfrm flipV="1">
                  <a:off x="5929679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7" name="Ellipse 601"/>
                <p:cNvSpPr/>
                <p:nvPr/>
              </p:nvSpPr>
              <p:spPr bwMode="gray">
                <a:xfrm flipV="1">
                  <a:off x="5929679" y="280238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8" name="Ellipse 602"/>
                <p:cNvSpPr/>
                <p:nvPr/>
              </p:nvSpPr>
              <p:spPr bwMode="gray">
                <a:xfrm flipV="1">
                  <a:off x="6278470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29" name="Ellipse 604"/>
                <p:cNvSpPr/>
                <p:nvPr/>
              </p:nvSpPr>
              <p:spPr bwMode="gray">
                <a:xfrm flipV="1">
                  <a:off x="5929679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0" name="Ellipse 606"/>
                <p:cNvSpPr/>
                <p:nvPr/>
              </p:nvSpPr>
              <p:spPr bwMode="gray">
                <a:xfrm flipV="1">
                  <a:off x="5929679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1" name="Ellipse 607"/>
                <p:cNvSpPr/>
                <p:nvPr/>
              </p:nvSpPr>
              <p:spPr bwMode="gray">
                <a:xfrm flipV="1">
                  <a:off x="5929679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2" name="Ellipse 610"/>
                <p:cNvSpPr/>
                <p:nvPr/>
              </p:nvSpPr>
              <p:spPr bwMode="gray">
                <a:xfrm flipV="1">
                  <a:off x="5763323" y="436698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3" name="Ellipse 612"/>
                <p:cNvSpPr/>
                <p:nvPr/>
              </p:nvSpPr>
              <p:spPr bwMode="gray">
                <a:xfrm flipV="1">
                  <a:off x="5763323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4" name="Ellipse 613"/>
                <p:cNvSpPr/>
                <p:nvPr/>
              </p:nvSpPr>
              <p:spPr bwMode="gray">
                <a:xfrm flipV="1">
                  <a:off x="5763323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5" name="Ellipse 614"/>
                <p:cNvSpPr/>
                <p:nvPr/>
              </p:nvSpPr>
              <p:spPr bwMode="gray">
                <a:xfrm flipV="1">
                  <a:off x="5763323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6" name="Ellipse 615"/>
                <p:cNvSpPr/>
                <p:nvPr/>
              </p:nvSpPr>
              <p:spPr bwMode="gray">
                <a:xfrm flipV="1">
                  <a:off x="5763323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7" name="Ellipse 617"/>
                <p:cNvSpPr/>
                <p:nvPr/>
              </p:nvSpPr>
              <p:spPr bwMode="gray">
                <a:xfrm flipV="1">
                  <a:off x="5579122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8" name="Ellipse 618"/>
                <p:cNvSpPr/>
                <p:nvPr/>
              </p:nvSpPr>
              <p:spPr bwMode="gray">
                <a:xfrm flipV="1">
                  <a:off x="5579122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39" name="Ellipse 619"/>
                <p:cNvSpPr/>
                <p:nvPr/>
              </p:nvSpPr>
              <p:spPr bwMode="gray">
                <a:xfrm flipV="1">
                  <a:off x="5579122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0" name="Ellipse 622"/>
                <p:cNvSpPr/>
                <p:nvPr/>
              </p:nvSpPr>
              <p:spPr bwMode="gray">
                <a:xfrm flipV="1">
                  <a:off x="5232722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1" name="Ellipse 623"/>
                <p:cNvSpPr/>
                <p:nvPr/>
              </p:nvSpPr>
              <p:spPr bwMode="gray">
                <a:xfrm flipV="1">
                  <a:off x="5232722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2" name="Ellipse 624"/>
                <p:cNvSpPr/>
                <p:nvPr/>
              </p:nvSpPr>
              <p:spPr bwMode="gray">
                <a:xfrm flipV="1">
                  <a:off x="5232722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3" name="Ellipse 625"/>
                <p:cNvSpPr/>
                <p:nvPr/>
              </p:nvSpPr>
              <p:spPr bwMode="gray">
                <a:xfrm flipV="1">
                  <a:off x="5232722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4" name="Ellipse 626"/>
                <p:cNvSpPr/>
                <p:nvPr/>
              </p:nvSpPr>
              <p:spPr bwMode="gray">
                <a:xfrm flipV="1">
                  <a:off x="5412449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5" name="Ellipse 628"/>
                <p:cNvSpPr/>
                <p:nvPr/>
              </p:nvSpPr>
              <p:spPr bwMode="gray">
                <a:xfrm flipV="1">
                  <a:off x="5412449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6" name="Ellipse 630"/>
                <p:cNvSpPr/>
                <p:nvPr/>
              </p:nvSpPr>
              <p:spPr bwMode="gray">
                <a:xfrm flipV="1">
                  <a:off x="5056430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647" name="Ellipse 632"/>
                <p:cNvSpPr/>
                <p:nvPr/>
              </p:nvSpPr>
              <p:spPr bwMode="gray">
                <a:xfrm flipV="1">
                  <a:off x="5056430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</p:grpSp>
          <p:grpSp>
            <p:nvGrpSpPr>
              <p:cNvPr id="384" name="Gruppieren 384"/>
              <p:cNvGrpSpPr/>
              <p:nvPr/>
            </p:nvGrpSpPr>
            <p:grpSpPr bwMode="gray">
              <a:xfrm>
                <a:off x="2225232" y="4176997"/>
                <a:ext cx="6813553" cy="1752407"/>
                <a:chOff x="5427516" y="2972295"/>
                <a:chExt cx="6230431" cy="1603267"/>
              </a:xfrm>
            </p:grpSpPr>
            <p:sp>
              <p:nvSpPr>
                <p:cNvPr id="473" name="Freihandform 635"/>
                <p:cNvSpPr/>
                <p:nvPr/>
              </p:nvSpPr>
              <p:spPr bwMode="gray">
                <a:xfrm>
                  <a:off x="6224226" y="4079768"/>
                  <a:ext cx="1617707" cy="492263"/>
                </a:xfrm>
                <a:custGeom>
                  <a:avLst/>
                  <a:gdLst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790576 w 1362075"/>
                    <a:gd name="connsiteY4" fmla="*/ 280988 h 414338"/>
                    <a:gd name="connsiteX5" fmla="*/ 914401 w 1362075"/>
                    <a:gd name="connsiteY5" fmla="*/ 404813 h 414338"/>
                    <a:gd name="connsiteX6" fmla="*/ 1362075 w 1362075"/>
                    <a:gd name="connsiteY6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790576 w 1362075"/>
                    <a:gd name="connsiteY4" fmla="*/ 280988 h 414338"/>
                    <a:gd name="connsiteX5" fmla="*/ 914401 w 1362075"/>
                    <a:gd name="connsiteY5" fmla="*/ 404813 h 414338"/>
                    <a:gd name="connsiteX6" fmla="*/ 950119 w 1362075"/>
                    <a:gd name="connsiteY6" fmla="*/ 407194 h 414338"/>
                    <a:gd name="connsiteX7" fmla="*/ 1362075 w 1362075"/>
                    <a:gd name="connsiteY7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821532 w 1362075"/>
                    <a:gd name="connsiteY4" fmla="*/ 273844 h 414338"/>
                    <a:gd name="connsiteX5" fmla="*/ 914401 w 1362075"/>
                    <a:gd name="connsiteY5" fmla="*/ 404813 h 414338"/>
                    <a:gd name="connsiteX6" fmla="*/ 950119 w 1362075"/>
                    <a:gd name="connsiteY6" fmla="*/ 407194 h 414338"/>
                    <a:gd name="connsiteX7" fmla="*/ 1362075 w 1362075"/>
                    <a:gd name="connsiteY7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66751 w 1362075"/>
                    <a:gd name="connsiteY3" fmla="*/ 404813 h 414338"/>
                    <a:gd name="connsiteX4" fmla="*/ 821532 w 1362075"/>
                    <a:gd name="connsiteY4" fmla="*/ 273844 h 414338"/>
                    <a:gd name="connsiteX5" fmla="*/ 950119 w 1362075"/>
                    <a:gd name="connsiteY5" fmla="*/ 407194 h 414338"/>
                    <a:gd name="connsiteX6" fmla="*/ 1362075 w 1362075"/>
                    <a:gd name="connsiteY6" fmla="*/ 0 h 414338"/>
                    <a:gd name="connsiteX0" fmla="*/ 0 w 1362075"/>
                    <a:gd name="connsiteY0" fmla="*/ 414338 h 414338"/>
                    <a:gd name="connsiteX1" fmla="*/ 138113 w 1362075"/>
                    <a:gd name="connsiteY1" fmla="*/ 276225 h 414338"/>
                    <a:gd name="connsiteX2" fmla="*/ 538163 w 1362075"/>
                    <a:gd name="connsiteY2" fmla="*/ 276225 h 414338"/>
                    <a:gd name="connsiteX3" fmla="*/ 673895 w 1362075"/>
                    <a:gd name="connsiteY3" fmla="*/ 409575 h 414338"/>
                    <a:gd name="connsiteX4" fmla="*/ 821532 w 1362075"/>
                    <a:gd name="connsiteY4" fmla="*/ 273844 h 414338"/>
                    <a:gd name="connsiteX5" fmla="*/ 950119 w 1362075"/>
                    <a:gd name="connsiteY5" fmla="*/ 407194 h 414338"/>
                    <a:gd name="connsiteX6" fmla="*/ 1362075 w 1362075"/>
                    <a:gd name="connsiteY6" fmla="*/ 0 h 414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2075" h="414338">
                      <a:moveTo>
                        <a:pt x="0" y="414338"/>
                      </a:moveTo>
                      <a:lnTo>
                        <a:pt x="138113" y="276225"/>
                      </a:lnTo>
                      <a:lnTo>
                        <a:pt x="538163" y="276225"/>
                      </a:lnTo>
                      <a:lnTo>
                        <a:pt x="673895" y="409575"/>
                      </a:lnTo>
                      <a:lnTo>
                        <a:pt x="821532" y="273844"/>
                      </a:lnTo>
                      <a:lnTo>
                        <a:pt x="950119" y="407194"/>
                      </a:lnTo>
                      <a:lnTo>
                        <a:pt x="1362075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4" name="Freihandform 636"/>
                <p:cNvSpPr/>
                <p:nvPr/>
              </p:nvSpPr>
              <p:spPr bwMode="gray">
                <a:xfrm>
                  <a:off x="5427516" y="3934888"/>
                  <a:ext cx="656133" cy="314030"/>
                </a:xfrm>
                <a:custGeom>
                  <a:avLst/>
                  <a:gdLst>
                    <a:gd name="connsiteX0" fmla="*/ 0 w 552450"/>
                    <a:gd name="connsiteY0" fmla="*/ 0 h 264319"/>
                    <a:gd name="connsiteX1" fmla="*/ 138113 w 552450"/>
                    <a:gd name="connsiteY1" fmla="*/ 135732 h 264319"/>
                    <a:gd name="connsiteX2" fmla="*/ 278607 w 552450"/>
                    <a:gd name="connsiteY2" fmla="*/ 135732 h 264319"/>
                    <a:gd name="connsiteX3" fmla="*/ 278607 w 552450"/>
                    <a:gd name="connsiteY3" fmla="*/ 264319 h 264319"/>
                    <a:gd name="connsiteX4" fmla="*/ 552450 w 552450"/>
                    <a:gd name="connsiteY4" fmla="*/ 264319 h 264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52450" h="264319">
                      <a:moveTo>
                        <a:pt x="0" y="0"/>
                      </a:moveTo>
                      <a:lnTo>
                        <a:pt x="138113" y="135732"/>
                      </a:lnTo>
                      <a:lnTo>
                        <a:pt x="278607" y="135732"/>
                      </a:lnTo>
                      <a:lnTo>
                        <a:pt x="278607" y="264319"/>
                      </a:lnTo>
                      <a:lnTo>
                        <a:pt x="552450" y="264319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5" name="Freihandform 637"/>
                <p:cNvSpPr/>
                <p:nvPr/>
              </p:nvSpPr>
              <p:spPr bwMode="gray">
                <a:xfrm>
                  <a:off x="5428938" y="3450412"/>
                  <a:ext cx="325239" cy="319687"/>
                </a:xfrm>
                <a:custGeom>
                  <a:avLst/>
                  <a:gdLst>
                    <a:gd name="connsiteX0" fmla="*/ 0 w 273844"/>
                    <a:gd name="connsiteY0" fmla="*/ 269081 h 269081"/>
                    <a:gd name="connsiteX1" fmla="*/ 142875 w 273844"/>
                    <a:gd name="connsiteY1" fmla="*/ 269081 h 269081"/>
                    <a:gd name="connsiteX2" fmla="*/ 142875 w 273844"/>
                    <a:gd name="connsiteY2" fmla="*/ 133350 h 269081"/>
                    <a:gd name="connsiteX3" fmla="*/ 273844 w 273844"/>
                    <a:gd name="connsiteY3" fmla="*/ 0 h 2690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3844" h="269081">
                      <a:moveTo>
                        <a:pt x="0" y="269081"/>
                      </a:moveTo>
                      <a:lnTo>
                        <a:pt x="142875" y="269081"/>
                      </a:lnTo>
                      <a:lnTo>
                        <a:pt x="142875" y="133350"/>
                      </a:lnTo>
                      <a:lnTo>
                        <a:pt x="273844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6" name="Freihandform 638"/>
                <p:cNvSpPr/>
                <p:nvPr/>
              </p:nvSpPr>
              <p:spPr bwMode="gray">
                <a:xfrm>
                  <a:off x="5739781" y="3148273"/>
                  <a:ext cx="656133" cy="472459"/>
                </a:xfrm>
                <a:custGeom>
                  <a:avLst/>
                  <a:gdLst>
                    <a:gd name="connsiteX0" fmla="*/ 0 w 552450"/>
                    <a:gd name="connsiteY0" fmla="*/ 397669 h 397669"/>
                    <a:gd name="connsiteX1" fmla="*/ 290512 w 552450"/>
                    <a:gd name="connsiteY1" fmla="*/ 116681 h 397669"/>
                    <a:gd name="connsiteX2" fmla="*/ 416718 w 552450"/>
                    <a:gd name="connsiteY2" fmla="*/ 116681 h 397669"/>
                    <a:gd name="connsiteX3" fmla="*/ 552450 w 552450"/>
                    <a:gd name="connsiteY3" fmla="*/ 0 h 397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2450" h="397669">
                      <a:moveTo>
                        <a:pt x="0" y="397669"/>
                      </a:moveTo>
                      <a:lnTo>
                        <a:pt x="290512" y="116681"/>
                      </a:lnTo>
                      <a:lnTo>
                        <a:pt x="416718" y="116681"/>
                      </a:lnTo>
                      <a:lnTo>
                        <a:pt x="552450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7" name="Freihandform 639"/>
                <p:cNvSpPr/>
                <p:nvPr/>
              </p:nvSpPr>
              <p:spPr bwMode="gray">
                <a:xfrm>
                  <a:off x="6400401" y="3456069"/>
                  <a:ext cx="469475" cy="158429"/>
                </a:xfrm>
                <a:custGeom>
                  <a:avLst/>
                  <a:gdLst>
                    <a:gd name="connsiteX0" fmla="*/ 0 w 395288"/>
                    <a:gd name="connsiteY0" fmla="*/ 133350 h 133350"/>
                    <a:gd name="connsiteX1" fmla="*/ 135732 w 395288"/>
                    <a:gd name="connsiteY1" fmla="*/ 133350 h 133350"/>
                    <a:gd name="connsiteX2" fmla="*/ 269082 w 395288"/>
                    <a:gd name="connsiteY2" fmla="*/ 0 h 133350"/>
                    <a:gd name="connsiteX3" fmla="*/ 395288 w 395288"/>
                    <a:gd name="connsiteY3" fmla="*/ 0 h 133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5288" h="133350">
                      <a:moveTo>
                        <a:pt x="0" y="133350"/>
                      </a:moveTo>
                      <a:lnTo>
                        <a:pt x="135732" y="133350"/>
                      </a:lnTo>
                      <a:lnTo>
                        <a:pt x="269082" y="0"/>
                      </a:lnTo>
                      <a:lnTo>
                        <a:pt x="395288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8" name="Freihandform 640"/>
                <p:cNvSpPr/>
                <p:nvPr/>
              </p:nvSpPr>
              <p:spPr bwMode="gray">
                <a:xfrm>
                  <a:off x="5913959" y="3772927"/>
                  <a:ext cx="964403" cy="319689"/>
                </a:xfrm>
                <a:custGeom>
                  <a:avLst/>
                  <a:gdLst>
                    <a:gd name="connsiteX0" fmla="*/ 0 w 812007"/>
                    <a:gd name="connsiteY0" fmla="*/ 0 h 269082"/>
                    <a:gd name="connsiteX1" fmla="*/ 150019 w 812007"/>
                    <a:gd name="connsiteY1" fmla="*/ 0 h 269082"/>
                    <a:gd name="connsiteX2" fmla="*/ 273844 w 812007"/>
                    <a:gd name="connsiteY2" fmla="*/ 140494 h 269082"/>
                    <a:gd name="connsiteX3" fmla="*/ 411957 w 812007"/>
                    <a:gd name="connsiteY3" fmla="*/ 140494 h 269082"/>
                    <a:gd name="connsiteX4" fmla="*/ 538163 w 812007"/>
                    <a:gd name="connsiteY4" fmla="*/ 269082 h 269082"/>
                    <a:gd name="connsiteX5" fmla="*/ 812007 w 812007"/>
                    <a:gd name="connsiteY5" fmla="*/ 269082 h 269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2007" h="269082">
                      <a:moveTo>
                        <a:pt x="0" y="0"/>
                      </a:moveTo>
                      <a:lnTo>
                        <a:pt x="150019" y="0"/>
                      </a:lnTo>
                      <a:lnTo>
                        <a:pt x="273844" y="140494"/>
                      </a:lnTo>
                      <a:lnTo>
                        <a:pt x="411957" y="140494"/>
                      </a:lnTo>
                      <a:lnTo>
                        <a:pt x="538163" y="269082"/>
                      </a:lnTo>
                      <a:lnTo>
                        <a:pt x="812007" y="269082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9" name="Freihandform 641"/>
                <p:cNvSpPr/>
                <p:nvPr/>
              </p:nvSpPr>
              <p:spPr bwMode="gray">
                <a:xfrm>
                  <a:off x="9415219" y="2972295"/>
                  <a:ext cx="1111465" cy="322516"/>
                </a:xfrm>
                <a:custGeom>
                  <a:avLst/>
                  <a:gdLst>
                    <a:gd name="connsiteX0" fmla="*/ 0 w 935831"/>
                    <a:gd name="connsiteY0" fmla="*/ 271462 h 271462"/>
                    <a:gd name="connsiteX1" fmla="*/ 133350 w 935831"/>
                    <a:gd name="connsiteY1" fmla="*/ 130968 h 271462"/>
                    <a:gd name="connsiteX2" fmla="*/ 411956 w 935831"/>
                    <a:gd name="connsiteY2" fmla="*/ 130968 h 271462"/>
                    <a:gd name="connsiteX3" fmla="*/ 535781 w 935831"/>
                    <a:gd name="connsiteY3" fmla="*/ 0 h 271462"/>
                    <a:gd name="connsiteX4" fmla="*/ 671512 w 935831"/>
                    <a:gd name="connsiteY4" fmla="*/ 0 h 271462"/>
                    <a:gd name="connsiteX5" fmla="*/ 807244 w 935831"/>
                    <a:gd name="connsiteY5" fmla="*/ 145256 h 271462"/>
                    <a:gd name="connsiteX6" fmla="*/ 935831 w 935831"/>
                    <a:gd name="connsiteY6" fmla="*/ 4762 h 271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35831" h="271462">
                      <a:moveTo>
                        <a:pt x="0" y="271462"/>
                      </a:moveTo>
                      <a:lnTo>
                        <a:pt x="133350" y="130968"/>
                      </a:lnTo>
                      <a:lnTo>
                        <a:pt x="411956" y="130968"/>
                      </a:lnTo>
                      <a:lnTo>
                        <a:pt x="535781" y="0"/>
                      </a:lnTo>
                      <a:lnTo>
                        <a:pt x="671512" y="0"/>
                      </a:lnTo>
                      <a:lnTo>
                        <a:pt x="807244" y="145256"/>
                      </a:lnTo>
                      <a:lnTo>
                        <a:pt x="935831" y="4762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0" name="Freihandform 642"/>
                <p:cNvSpPr/>
                <p:nvPr/>
              </p:nvSpPr>
              <p:spPr bwMode="gray">
                <a:xfrm>
                  <a:off x="9727484" y="3288324"/>
                  <a:ext cx="486443" cy="164087"/>
                </a:xfrm>
                <a:custGeom>
                  <a:avLst/>
                  <a:gdLst>
                    <a:gd name="connsiteX0" fmla="*/ 0 w 409575"/>
                    <a:gd name="connsiteY0" fmla="*/ 138112 h 138112"/>
                    <a:gd name="connsiteX1" fmla="*/ 140494 w 409575"/>
                    <a:gd name="connsiteY1" fmla="*/ 0 h 138112"/>
                    <a:gd name="connsiteX2" fmla="*/ 409575 w 409575"/>
                    <a:gd name="connsiteY2" fmla="*/ 0 h 13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9575" h="138112">
                      <a:moveTo>
                        <a:pt x="0" y="138112"/>
                      </a:moveTo>
                      <a:lnTo>
                        <a:pt x="140494" y="0"/>
                      </a:lnTo>
                      <a:lnTo>
                        <a:pt x="409575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1" name="Freihandform 643"/>
                <p:cNvSpPr/>
                <p:nvPr/>
              </p:nvSpPr>
              <p:spPr bwMode="gray">
                <a:xfrm>
                  <a:off x="7982409" y="4086128"/>
                  <a:ext cx="2081524" cy="489434"/>
                </a:xfrm>
                <a:custGeom>
                  <a:avLst/>
                  <a:gdLst>
                    <a:gd name="connsiteX0" fmla="*/ 0 w 1752600"/>
                    <a:gd name="connsiteY0" fmla="*/ 138113 h 411957"/>
                    <a:gd name="connsiteX1" fmla="*/ 145256 w 1752600"/>
                    <a:gd name="connsiteY1" fmla="*/ 271463 h 411957"/>
                    <a:gd name="connsiteX2" fmla="*/ 400050 w 1752600"/>
                    <a:gd name="connsiteY2" fmla="*/ 0 h 411957"/>
                    <a:gd name="connsiteX3" fmla="*/ 804862 w 1752600"/>
                    <a:gd name="connsiteY3" fmla="*/ 0 h 411957"/>
                    <a:gd name="connsiteX4" fmla="*/ 938212 w 1752600"/>
                    <a:gd name="connsiteY4" fmla="*/ 140494 h 411957"/>
                    <a:gd name="connsiteX5" fmla="*/ 1202531 w 1752600"/>
                    <a:gd name="connsiteY5" fmla="*/ 140494 h 411957"/>
                    <a:gd name="connsiteX6" fmla="*/ 1335881 w 1752600"/>
                    <a:gd name="connsiteY6" fmla="*/ 273844 h 411957"/>
                    <a:gd name="connsiteX7" fmla="*/ 1469231 w 1752600"/>
                    <a:gd name="connsiteY7" fmla="*/ 130969 h 411957"/>
                    <a:gd name="connsiteX8" fmla="*/ 1752600 w 1752600"/>
                    <a:gd name="connsiteY8" fmla="*/ 411957 h 411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52600" h="411957">
                      <a:moveTo>
                        <a:pt x="0" y="138113"/>
                      </a:moveTo>
                      <a:lnTo>
                        <a:pt x="145256" y="271463"/>
                      </a:lnTo>
                      <a:lnTo>
                        <a:pt x="400050" y="0"/>
                      </a:lnTo>
                      <a:lnTo>
                        <a:pt x="804862" y="0"/>
                      </a:lnTo>
                      <a:lnTo>
                        <a:pt x="938212" y="140494"/>
                      </a:lnTo>
                      <a:lnTo>
                        <a:pt x="1202531" y="140494"/>
                      </a:lnTo>
                      <a:lnTo>
                        <a:pt x="1335881" y="273844"/>
                      </a:lnTo>
                      <a:lnTo>
                        <a:pt x="1469231" y="130969"/>
                      </a:lnTo>
                      <a:lnTo>
                        <a:pt x="1752600" y="411957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2" name="Freihandform 644"/>
                <p:cNvSpPr/>
                <p:nvPr/>
              </p:nvSpPr>
              <p:spPr bwMode="gray">
                <a:xfrm>
                  <a:off x="9729145" y="4086957"/>
                  <a:ext cx="653303" cy="169745"/>
                </a:xfrm>
                <a:custGeom>
                  <a:avLst/>
                  <a:gdLst>
                    <a:gd name="connsiteX0" fmla="*/ 0 w 550068"/>
                    <a:gd name="connsiteY0" fmla="*/ 0 h 142875"/>
                    <a:gd name="connsiteX1" fmla="*/ 278606 w 550068"/>
                    <a:gd name="connsiteY1" fmla="*/ 0 h 142875"/>
                    <a:gd name="connsiteX2" fmla="*/ 402431 w 550068"/>
                    <a:gd name="connsiteY2" fmla="*/ 142875 h 142875"/>
                    <a:gd name="connsiteX3" fmla="*/ 550068 w 550068"/>
                    <a:gd name="connsiteY3" fmla="*/ 142875 h 142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0068" h="142875">
                      <a:moveTo>
                        <a:pt x="0" y="0"/>
                      </a:moveTo>
                      <a:lnTo>
                        <a:pt x="278606" y="0"/>
                      </a:lnTo>
                      <a:lnTo>
                        <a:pt x="402431" y="142875"/>
                      </a:lnTo>
                      <a:lnTo>
                        <a:pt x="550068" y="142875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3" name="Freihandform 645"/>
                <p:cNvSpPr/>
                <p:nvPr/>
              </p:nvSpPr>
              <p:spPr bwMode="gray">
                <a:xfrm>
                  <a:off x="10685061" y="3142041"/>
                  <a:ext cx="967231" cy="469629"/>
                </a:xfrm>
                <a:custGeom>
                  <a:avLst/>
                  <a:gdLst>
                    <a:gd name="connsiteX0" fmla="*/ 0 w 814388"/>
                    <a:gd name="connsiteY0" fmla="*/ 0 h 395287"/>
                    <a:gd name="connsiteX1" fmla="*/ 135731 w 814388"/>
                    <a:gd name="connsiteY1" fmla="*/ 130968 h 395287"/>
                    <a:gd name="connsiteX2" fmla="*/ 273844 w 814388"/>
                    <a:gd name="connsiteY2" fmla="*/ 130968 h 395287"/>
                    <a:gd name="connsiteX3" fmla="*/ 538163 w 814388"/>
                    <a:gd name="connsiteY3" fmla="*/ 395287 h 395287"/>
                    <a:gd name="connsiteX4" fmla="*/ 814388 w 814388"/>
                    <a:gd name="connsiteY4" fmla="*/ 395287 h 3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388" h="395287">
                      <a:moveTo>
                        <a:pt x="0" y="0"/>
                      </a:moveTo>
                      <a:lnTo>
                        <a:pt x="135731" y="130968"/>
                      </a:lnTo>
                      <a:lnTo>
                        <a:pt x="273844" y="130968"/>
                      </a:lnTo>
                      <a:lnTo>
                        <a:pt x="538163" y="395287"/>
                      </a:lnTo>
                      <a:lnTo>
                        <a:pt x="814388" y="395287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4" name="Freihandform 646"/>
                <p:cNvSpPr/>
                <p:nvPr/>
              </p:nvSpPr>
              <p:spPr bwMode="gray">
                <a:xfrm>
                  <a:off x="10834953" y="3934187"/>
                  <a:ext cx="822994" cy="472458"/>
                </a:xfrm>
                <a:custGeom>
                  <a:avLst/>
                  <a:gdLst>
                    <a:gd name="connsiteX0" fmla="*/ 0 w 692944"/>
                    <a:gd name="connsiteY0" fmla="*/ 397668 h 397668"/>
                    <a:gd name="connsiteX1" fmla="*/ 145257 w 692944"/>
                    <a:gd name="connsiteY1" fmla="*/ 397668 h 397668"/>
                    <a:gd name="connsiteX2" fmla="*/ 542925 w 692944"/>
                    <a:gd name="connsiteY2" fmla="*/ 0 h 397668"/>
                    <a:gd name="connsiteX3" fmla="*/ 692944 w 692944"/>
                    <a:gd name="connsiteY3" fmla="*/ 0 h 397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2944" h="397668">
                      <a:moveTo>
                        <a:pt x="0" y="397668"/>
                      </a:moveTo>
                      <a:lnTo>
                        <a:pt x="145257" y="397668"/>
                      </a:lnTo>
                      <a:lnTo>
                        <a:pt x="542925" y="0"/>
                      </a:lnTo>
                      <a:lnTo>
                        <a:pt x="692944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5" name="Freihandform 647"/>
                <p:cNvSpPr/>
                <p:nvPr/>
              </p:nvSpPr>
              <p:spPr bwMode="gray">
                <a:xfrm>
                  <a:off x="10843438" y="3614498"/>
                  <a:ext cx="483615" cy="164088"/>
                </a:xfrm>
                <a:custGeom>
                  <a:avLst/>
                  <a:gdLst>
                    <a:gd name="connsiteX0" fmla="*/ 0 w 407194"/>
                    <a:gd name="connsiteY0" fmla="*/ 0 h 138113"/>
                    <a:gd name="connsiteX1" fmla="*/ 133350 w 407194"/>
                    <a:gd name="connsiteY1" fmla="*/ 0 h 138113"/>
                    <a:gd name="connsiteX2" fmla="*/ 271463 w 407194"/>
                    <a:gd name="connsiteY2" fmla="*/ 138113 h 138113"/>
                    <a:gd name="connsiteX3" fmla="*/ 407194 w 407194"/>
                    <a:gd name="connsiteY3" fmla="*/ 138113 h 138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7194" h="138113">
                      <a:moveTo>
                        <a:pt x="0" y="0"/>
                      </a:moveTo>
                      <a:lnTo>
                        <a:pt x="133350" y="0"/>
                      </a:lnTo>
                      <a:lnTo>
                        <a:pt x="271463" y="138113"/>
                      </a:lnTo>
                      <a:lnTo>
                        <a:pt x="407194" y="138113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6" name="Freihandform 648"/>
                <p:cNvSpPr/>
                <p:nvPr/>
              </p:nvSpPr>
              <p:spPr bwMode="gray">
                <a:xfrm>
                  <a:off x="11171504" y="3770097"/>
                  <a:ext cx="311098" cy="161259"/>
                </a:xfrm>
                <a:custGeom>
                  <a:avLst/>
                  <a:gdLst>
                    <a:gd name="connsiteX0" fmla="*/ 0 w 261938"/>
                    <a:gd name="connsiteY0" fmla="*/ 135732 h 135732"/>
                    <a:gd name="connsiteX1" fmla="*/ 126206 w 261938"/>
                    <a:gd name="connsiteY1" fmla="*/ 135732 h 135732"/>
                    <a:gd name="connsiteX2" fmla="*/ 261938 w 261938"/>
                    <a:gd name="connsiteY2" fmla="*/ 0 h 135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61938" h="135732">
                      <a:moveTo>
                        <a:pt x="0" y="135732"/>
                      </a:moveTo>
                      <a:lnTo>
                        <a:pt x="126206" y="135732"/>
                      </a:lnTo>
                      <a:lnTo>
                        <a:pt x="261938" y="0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87" name="Freihandform 649"/>
                <p:cNvSpPr/>
                <p:nvPr/>
              </p:nvSpPr>
              <p:spPr bwMode="gray">
                <a:xfrm>
                  <a:off x="7027311" y="3611670"/>
                  <a:ext cx="478901" cy="147113"/>
                </a:xfrm>
                <a:custGeom>
                  <a:avLst/>
                  <a:gdLst>
                    <a:gd name="connsiteX0" fmla="*/ 0 w 403225"/>
                    <a:gd name="connsiteY0" fmla="*/ 0 h 123825"/>
                    <a:gd name="connsiteX1" fmla="*/ 279400 w 403225"/>
                    <a:gd name="connsiteY1" fmla="*/ 0 h 123825"/>
                    <a:gd name="connsiteX2" fmla="*/ 403225 w 403225"/>
                    <a:gd name="connsiteY2" fmla="*/ 123825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3225" h="123825">
                      <a:moveTo>
                        <a:pt x="0" y="0"/>
                      </a:moveTo>
                      <a:lnTo>
                        <a:pt x="279400" y="0"/>
                      </a:lnTo>
                      <a:lnTo>
                        <a:pt x="403225" y="123825"/>
                      </a:lnTo>
                    </a:path>
                  </a:pathLst>
                </a:custGeom>
                <a:noFill/>
                <a:ln w="12700">
                  <a:solidFill>
                    <a:srgbClr val="50BED7"/>
                  </a:solidFill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</p:grpSp>
          <p:grpSp>
            <p:nvGrpSpPr>
              <p:cNvPr id="385" name="Gruppieren 384"/>
              <p:cNvGrpSpPr/>
              <p:nvPr/>
            </p:nvGrpSpPr>
            <p:grpSpPr bwMode="gray">
              <a:xfrm>
                <a:off x="2210865" y="4141970"/>
                <a:ext cx="6859366" cy="1809472"/>
                <a:chOff x="4718084" y="2627640"/>
                <a:chExt cx="6859366" cy="1809472"/>
              </a:xfrm>
              <a:solidFill>
                <a:srgbClr val="00646E"/>
              </a:solidFill>
            </p:grpSpPr>
            <p:sp>
              <p:nvSpPr>
                <p:cNvPr id="386" name="Ellipse 386"/>
                <p:cNvSpPr/>
                <p:nvPr/>
              </p:nvSpPr>
              <p:spPr bwMode="gray">
                <a:xfrm flipV="1">
                  <a:off x="6461577" y="437867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87" name="Ellipse 387"/>
                <p:cNvSpPr/>
                <p:nvPr/>
              </p:nvSpPr>
              <p:spPr bwMode="gray">
                <a:xfrm flipV="1">
                  <a:off x="5590811" y="437867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88" name="Ellipse 446"/>
                <p:cNvSpPr/>
                <p:nvPr/>
              </p:nvSpPr>
              <p:spPr bwMode="gray">
                <a:xfrm flipV="1">
                  <a:off x="7850738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89" name="Ellipse 447"/>
                <p:cNvSpPr/>
                <p:nvPr/>
              </p:nvSpPr>
              <p:spPr bwMode="gray">
                <a:xfrm flipV="1">
                  <a:off x="7686136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0" name="Ellipse 456"/>
                <p:cNvSpPr/>
                <p:nvPr/>
              </p:nvSpPr>
              <p:spPr bwMode="gray">
                <a:xfrm flipV="1">
                  <a:off x="6986749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1" name="Ellipse 457"/>
                <p:cNvSpPr/>
                <p:nvPr/>
              </p:nvSpPr>
              <p:spPr bwMode="gray">
                <a:xfrm flipV="1">
                  <a:off x="6813550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2" name="Ellipse 458"/>
                <p:cNvSpPr/>
                <p:nvPr/>
              </p:nvSpPr>
              <p:spPr bwMode="gray">
                <a:xfrm flipV="1">
                  <a:off x="6636853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3" name="Ellipse 463"/>
                <p:cNvSpPr/>
                <p:nvPr/>
              </p:nvSpPr>
              <p:spPr bwMode="gray">
                <a:xfrm flipV="1">
                  <a:off x="6636853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4" name="Ellipse 464"/>
                <p:cNvSpPr/>
                <p:nvPr/>
              </p:nvSpPr>
              <p:spPr bwMode="gray">
                <a:xfrm flipV="1">
                  <a:off x="6461577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5" name="Ellipse 468"/>
                <p:cNvSpPr/>
                <p:nvPr/>
              </p:nvSpPr>
              <p:spPr bwMode="gray">
                <a:xfrm flipV="1">
                  <a:off x="6290159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6" name="Ellipse 470"/>
                <p:cNvSpPr/>
                <p:nvPr/>
              </p:nvSpPr>
              <p:spPr bwMode="gray">
                <a:xfrm flipV="1">
                  <a:off x="6114845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7" name="Ellipse 472"/>
                <p:cNvSpPr/>
                <p:nvPr/>
              </p:nvSpPr>
              <p:spPr bwMode="gray">
                <a:xfrm flipV="1">
                  <a:off x="5775013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8" name="Ellipse 473"/>
                <p:cNvSpPr/>
                <p:nvPr/>
              </p:nvSpPr>
              <p:spPr bwMode="gray">
                <a:xfrm flipV="1">
                  <a:off x="5775013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399" name="Ellipse 477"/>
                <p:cNvSpPr/>
                <p:nvPr/>
              </p:nvSpPr>
              <p:spPr bwMode="gray">
                <a:xfrm flipV="1">
                  <a:off x="5424138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0" name="Ellipse 482"/>
                <p:cNvSpPr/>
                <p:nvPr/>
              </p:nvSpPr>
              <p:spPr bwMode="gray">
                <a:xfrm flipV="1">
                  <a:off x="5244412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1" name="Ellipse 483"/>
                <p:cNvSpPr/>
                <p:nvPr/>
              </p:nvSpPr>
              <p:spPr bwMode="gray">
                <a:xfrm flipV="1">
                  <a:off x="5244412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2" name="Ellipse 484"/>
                <p:cNvSpPr/>
                <p:nvPr/>
              </p:nvSpPr>
              <p:spPr bwMode="gray">
                <a:xfrm flipV="1">
                  <a:off x="5244412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3" name="Ellipse 485"/>
                <p:cNvSpPr/>
                <p:nvPr/>
              </p:nvSpPr>
              <p:spPr bwMode="gray">
                <a:xfrm flipV="1">
                  <a:off x="5068119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4" name="Ellipse 486"/>
                <p:cNvSpPr/>
                <p:nvPr/>
              </p:nvSpPr>
              <p:spPr bwMode="gray">
                <a:xfrm flipV="1">
                  <a:off x="5068119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5" name="Ellipse 488"/>
                <p:cNvSpPr/>
                <p:nvPr/>
              </p:nvSpPr>
              <p:spPr bwMode="gray">
                <a:xfrm flipV="1">
                  <a:off x="4891826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6" name="Ellipse 489"/>
                <p:cNvSpPr/>
                <p:nvPr/>
              </p:nvSpPr>
              <p:spPr bwMode="gray">
                <a:xfrm flipV="1">
                  <a:off x="4891826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7" name="Ellipse 491"/>
                <p:cNvSpPr/>
                <p:nvPr/>
              </p:nvSpPr>
              <p:spPr bwMode="gray">
                <a:xfrm flipV="1">
                  <a:off x="4891826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8" name="Ellipse 492"/>
                <p:cNvSpPr/>
                <p:nvPr/>
              </p:nvSpPr>
              <p:spPr bwMode="gray">
                <a:xfrm flipV="1">
                  <a:off x="4718084" y="3511980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09" name="Ellipse 493"/>
                <p:cNvSpPr/>
                <p:nvPr/>
              </p:nvSpPr>
              <p:spPr bwMode="gray">
                <a:xfrm flipV="1">
                  <a:off x="4718084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0" name="Ellipse 562"/>
                <p:cNvSpPr/>
                <p:nvPr/>
              </p:nvSpPr>
              <p:spPr bwMode="gray">
                <a:xfrm flipV="1">
                  <a:off x="7493331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1" name="Ellipse 565"/>
                <p:cNvSpPr/>
                <p:nvPr/>
              </p:nvSpPr>
              <p:spPr bwMode="gray">
                <a:xfrm flipV="1">
                  <a:off x="7319452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2" name="Ellipse 572"/>
                <p:cNvSpPr/>
                <p:nvPr/>
              </p:nvSpPr>
              <p:spPr bwMode="gray">
                <a:xfrm flipV="1">
                  <a:off x="6801860" y="436698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3" name="Ellipse 588"/>
                <p:cNvSpPr/>
                <p:nvPr/>
              </p:nvSpPr>
              <p:spPr bwMode="gray">
                <a:xfrm flipV="1">
                  <a:off x="6278470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4" name="Ellipse 591"/>
                <p:cNvSpPr/>
                <p:nvPr/>
              </p:nvSpPr>
              <p:spPr bwMode="gray">
                <a:xfrm flipV="1">
                  <a:off x="6278470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5" name="Ellipse 594"/>
                <p:cNvSpPr/>
                <p:nvPr/>
              </p:nvSpPr>
              <p:spPr bwMode="gray">
                <a:xfrm flipV="1">
                  <a:off x="6103155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6" name="Ellipse 596"/>
                <p:cNvSpPr/>
                <p:nvPr/>
              </p:nvSpPr>
              <p:spPr bwMode="gray">
                <a:xfrm flipV="1">
                  <a:off x="6103155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7" name="Ellipse 603"/>
                <p:cNvSpPr/>
                <p:nvPr/>
              </p:nvSpPr>
              <p:spPr bwMode="gray">
                <a:xfrm flipV="1">
                  <a:off x="5929679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8" name="Ellipse 605"/>
                <p:cNvSpPr/>
                <p:nvPr/>
              </p:nvSpPr>
              <p:spPr bwMode="gray">
                <a:xfrm flipV="1">
                  <a:off x="5929679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19" name="Ellipse 608"/>
                <p:cNvSpPr/>
                <p:nvPr/>
              </p:nvSpPr>
              <p:spPr bwMode="gray">
                <a:xfrm flipV="1">
                  <a:off x="5929679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0" name="Ellipse 609"/>
                <p:cNvSpPr/>
                <p:nvPr/>
              </p:nvSpPr>
              <p:spPr bwMode="gray">
                <a:xfrm flipV="1">
                  <a:off x="5763323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1" name="Ellipse 611"/>
                <p:cNvSpPr/>
                <p:nvPr/>
              </p:nvSpPr>
              <p:spPr bwMode="gray">
                <a:xfrm flipV="1">
                  <a:off x="5763323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2" name="Ellipse 616"/>
                <p:cNvSpPr/>
                <p:nvPr/>
              </p:nvSpPr>
              <p:spPr bwMode="gray">
                <a:xfrm flipV="1">
                  <a:off x="5579122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3" name="Ellipse 620"/>
                <p:cNvSpPr/>
                <p:nvPr/>
              </p:nvSpPr>
              <p:spPr bwMode="gray">
                <a:xfrm flipV="1">
                  <a:off x="5579122" y="3675365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4" name="Ellipse 621"/>
                <p:cNvSpPr/>
                <p:nvPr/>
              </p:nvSpPr>
              <p:spPr bwMode="gray">
                <a:xfrm flipV="1">
                  <a:off x="5412449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5" name="Ellipse 627"/>
                <p:cNvSpPr/>
                <p:nvPr/>
              </p:nvSpPr>
              <p:spPr bwMode="gray">
                <a:xfrm flipV="1">
                  <a:off x="5412449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6" name="Ellipse 629"/>
                <p:cNvSpPr/>
                <p:nvPr/>
              </p:nvSpPr>
              <p:spPr bwMode="gray">
                <a:xfrm flipV="1">
                  <a:off x="5056430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7" name="Ellipse 631"/>
                <p:cNvSpPr/>
                <p:nvPr/>
              </p:nvSpPr>
              <p:spPr bwMode="gray">
                <a:xfrm flipV="1">
                  <a:off x="5056430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solidFill>
                      <a:schemeClr val="accent5"/>
                    </a:solidFill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8" name="Ellipse 430"/>
                <p:cNvSpPr/>
                <p:nvPr/>
              </p:nvSpPr>
              <p:spPr bwMode="gray">
                <a:xfrm flipV="1">
                  <a:off x="9064084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29" name="Ellipse 438"/>
                <p:cNvSpPr/>
                <p:nvPr/>
              </p:nvSpPr>
              <p:spPr bwMode="gray">
                <a:xfrm flipV="1">
                  <a:off x="8893977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0" name="Ellipse 442"/>
                <p:cNvSpPr/>
                <p:nvPr/>
              </p:nvSpPr>
              <p:spPr bwMode="gray">
                <a:xfrm flipV="1">
                  <a:off x="8717685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1" name="Ellipse 445"/>
                <p:cNvSpPr/>
                <p:nvPr/>
              </p:nvSpPr>
              <p:spPr bwMode="gray">
                <a:xfrm flipV="1">
                  <a:off x="8027681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2" name="Ellipse 556"/>
                <p:cNvSpPr/>
                <p:nvPr/>
              </p:nvSpPr>
              <p:spPr bwMode="gray">
                <a:xfrm flipV="1">
                  <a:off x="8362598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3" name="Ellipse 557"/>
                <p:cNvSpPr/>
                <p:nvPr/>
              </p:nvSpPr>
              <p:spPr bwMode="gray">
                <a:xfrm flipV="1">
                  <a:off x="8535839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4" name="Ellipse 558"/>
                <p:cNvSpPr/>
                <p:nvPr/>
              </p:nvSpPr>
              <p:spPr bwMode="gray">
                <a:xfrm flipV="1">
                  <a:off x="8189491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5" name="Ellipse 395"/>
                <p:cNvSpPr/>
                <p:nvPr/>
              </p:nvSpPr>
              <p:spPr bwMode="gray">
                <a:xfrm flipV="1">
                  <a:off x="10629483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6" name="Ellipse 399"/>
                <p:cNvSpPr/>
                <p:nvPr/>
              </p:nvSpPr>
              <p:spPr bwMode="gray">
                <a:xfrm flipV="1">
                  <a:off x="10114247" y="4033563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7" name="Ellipse 402"/>
                <p:cNvSpPr/>
                <p:nvPr/>
              </p:nvSpPr>
              <p:spPr bwMode="gray">
                <a:xfrm flipV="1">
                  <a:off x="11151759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8" name="Ellipse 423"/>
                <p:cNvSpPr/>
                <p:nvPr/>
              </p:nvSpPr>
              <p:spPr bwMode="gray">
                <a:xfrm flipV="1">
                  <a:off x="9590211" y="4207408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39" name="Ellipse 427"/>
                <p:cNvSpPr/>
                <p:nvPr/>
              </p:nvSpPr>
              <p:spPr bwMode="gray">
                <a:xfrm flipV="1">
                  <a:off x="9416060" y="386057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0" name="Ellipse 495"/>
                <p:cNvSpPr/>
                <p:nvPr/>
              </p:nvSpPr>
              <p:spPr bwMode="gray">
                <a:xfrm flipV="1">
                  <a:off x="10796360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1" name="Ellipse 517"/>
                <p:cNvSpPr/>
                <p:nvPr/>
              </p:nvSpPr>
              <p:spPr bwMode="gray">
                <a:xfrm flipV="1">
                  <a:off x="11328051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2" name="Ellipse 532"/>
                <p:cNvSpPr/>
                <p:nvPr/>
              </p:nvSpPr>
              <p:spPr bwMode="gray">
                <a:xfrm flipV="1">
                  <a:off x="9758322" y="436698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3" name="Ellipse 534"/>
                <p:cNvSpPr/>
                <p:nvPr/>
              </p:nvSpPr>
              <p:spPr bwMode="gray">
                <a:xfrm flipV="1">
                  <a:off x="9758322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4" name="Ellipse 541"/>
                <p:cNvSpPr/>
                <p:nvPr/>
              </p:nvSpPr>
              <p:spPr bwMode="gray">
                <a:xfrm flipV="1">
                  <a:off x="9578521" y="3848888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5" name="Ellipse 544"/>
                <p:cNvSpPr/>
                <p:nvPr/>
              </p:nvSpPr>
              <p:spPr bwMode="gray">
                <a:xfrm flipV="1">
                  <a:off x="9229640" y="4195721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6" name="Ellipse 545"/>
                <p:cNvSpPr/>
                <p:nvPr/>
              </p:nvSpPr>
              <p:spPr bwMode="gray">
                <a:xfrm flipV="1">
                  <a:off x="9404371" y="4021876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7" name="Ellipse 633"/>
                <p:cNvSpPr/>
                <p:nvPr/>
              </p:nvSpPr>
              <p:spPr bwMode="gray">
                <a:xfrm flipV="1">
                  <a:off x="11530691" y="3686905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8" name="Ellipse 409"/>
                <p:cNvSpPr/>
                <p:nvPr/>
              </p:nvSpPr>
              <p:spPr bwMode="gray">
                <a:xfrm flipV="1">
                  <a:off x="9590211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49" name="Ellipse 410"/>
                <p:cNvSpPr/>
                <p:nvPr/>
              </p:nvSpPr>
              <p:spPr bwMode="gray">
                <a:xfrm flipV="1">
                  <a:off x="9416060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0" name="Ellipse 417"/>
                <p:cNvSpPr/>
                <p:nvPr/>
              </p:nvSpPr>
              <p:spPr bwMode="gray">
                <a:xfrm flipV="1">
                  <a:off x="9590211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1" name="Ellipse 418"/>
                <p:cNvSpPr/>
                <p:nvPr/>
              </p:nvSpPr>
              <p:spPr bwMode="gray">
                <a:xfrm flipV="1">
                  <a:off x="9770012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2" name="Ellipse 419"/>
                <p:cNvSpPr/>
                <p:nvPr/>
              </p:nvSpPr>
              <p:spPr bwMode="gray">
                <a:xfrm flipV="1">
                  <a:off x="9933307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3" name="Ellipse 433"/>
                <p:cNvSpPr/>
                <p:nvPr/>
              </p:nvSpPr>
              <p:spPr bwMode="gray">
                <a:xfrm flipV="1">
                  <a:off x="9064084" y="298679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4" name="Ellipse 435"/>
                <p:cNvSpPr/>
                <p:nvPr/>
              </p:nvSpPr>
              <p:spPr bwMode="gray">
                <a:xfrm flipV="1">
                  <a:off x="9241330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5" name="Ellipse 504"/>
                <p:cNvSpPr/>
                <p:nvPr/>
              </p:nvSpPr>
              <p:spPr bwMode="gray">
                <a:xfrm flipV="1">
                  <a:off x="10459441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6" name="Ellipse 523"/>
                <p:cNvSpPr/>
                <p:nvPr/>
              </p:nvSpPr>
              <p:spPr bwMode="gray">
                <a:xfrm flipV="1">
                  <a:off x="10274606" y="2627640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7" name="Ellipse 524"/>
                <p:cNvSpPr/>
                <p:nvPr/>
              </p:nvSpPr>
              <p:spPr bwMode="gray">
                <a:xfrm flipV="1">
                  <a:off x="10114247" y="281407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8" name="Ellipse 525"/>
                <p:cNvSpPr/>
                <p:nvPr/>
              </p:nvSpPr>
              <p:spPr bwMode="gray">
                <a:xfrm flipV="1">
                  <a:off x="9921617" y="2627640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59" name="Ellipse 539"/>
                <p:cNvSpPr/>
                <p:nvPr/>
              </p:nvSpPr>
              <p:spPr bwMode="gray">
                <a:xfrm flipV="1">
                  <a:off x="9758322" y="2627640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0" name="Ellipse 547"/>
                <p:cNvSpPr/>
                <p:nvPr/>
              </p:nvSpPr>
              <p:spPr bwMode="gray">
                <a:xfrm flipV="1">
                  <a:off x="9404371" y="315216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1" name="Ellipse 403"/>
                <p:cNvSpPr/>
                <p:nvPr/>
              </p:nvSpPr>
              <p:spPr bwMode="gray">
                <a:xfrm flipV="1">
                  <a:off x="11151759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2" name="Ellipse 404"/>
                <p:cNvSpPr/>
                <p:nvPr/>
              </p:nvSpPr>
              <p:spPr bwMode="gray">
                <a:xfrm flipV="1">
                  <a:off x="10985427" y="3687052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3" name="Ellipse 405"/>
                <p:cNvSpPr/>
                <p:nvPr/>
              </p:nvSpPr>
              <p:spPr bwMode="gray">
                <a:xfrm flipV="1">
                  <a:off x="11151759" y="3339411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4" name="Ellipse 412"/>
                <p:cNvSpPr/>
                <p:nvPr/>
              </p:nvSpPr>
              <p:spPr bwMode="gray">
                <a:xfrm flipV="1">
                  <a:off x="10985427" y="3163856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5" name="Ellipse 498"/>
                <p:cNvSpPr/>
                <p:nvPr/>
              </p:nvSpPr>
              <p:spPr bwMode="gray">
                <a:xfrm flipV="1">
                  <a:off x="10796360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6" name="Ellipse 500"/>
                <p:cNvSpPr/>
                <p:nvPr/>
              </p:nvSpPr>
              <p:spPr bwMode="gray">
                <a:xfrm flipV="1">
                  <a:off x="10796360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7" name="Ellipse 501"/>
                <p:cNvSpPr/>
                <p:nvPr/>
              </p:nvSpPr>
              <p:spPr bwMode="gray">
                <a:xfrm flipV="1">
                  <a:off x="10617794" y="2975109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8" name="Ellipse 510"/>
                <p:cNvSpPr/>
                <p:nvPr/>
              </p:nvSpPr>
              <p:spPr bwMode="gray">
                <a:xfrm flipV="1">
                  <a:off x="10617794" y="332772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69" name="Ellipse 513"/>
                <p:cNvSpPr/>
                <p:nvPr/>
              </p:nvSpPr>
              <p:spPr bwMode="gray">
                <a:xfrm flipV="1">
                  <a:off x="10973738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0" name="Ellipse 515"/>
                <p:cNvSpPr/>
                <p:nvPr/>
              </p:nvSpPr>
              <p:spPr bwMode="gray">
                <a:xfrm flipV="1">
                  <a:off x="11140069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1" name="Ellipse 516"/>
                <p:cNvSpPr/>
                <p:nvPr/>
              </p:nvSpPr>
              <p:spPr bwMode="gray">
                <a:xfrm flipV="1">
                  <a:off x="11316361" y="3500294"/>
                  <a:ext cx="70136" cy="70123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  <p:sp>
              <p:nvSpPr>
                <p:cNvPr id="472" name="Ellipse 634"/>
                <p:cNvSpPr/>
                <p:nvPr/>
              </p:nvSpPr>
              <p:spPr bwMode="gray">
                <a:xfrm flipV="1">
                  <a:off x="11530691" y="3339264"/>
                  <a:ext cx="46759" cy="46750"/>
                </a:xfrm>
                <a:prstGeom prst="ellipse">
                  <a:avLst/>
                </a:prstGeom>
                <a:grpFill/>
                <a:ln w="12700">
                  <a:noFill/>
                </a:ln>
                <a:effectLst/>
                <a:extLst/>
              </p:spPr>
              <p:txBody>
                <a:bodyPr wrap="square" lIns="107944" tIns="53972" rIns="107944" bIns="53972" numCol="1" spcCol="72000" rtlCol="0" anchor="ctr">
                  <a:noAutofit/>
                </a:bodyPr>
                <a:lstStyle/>
                <a:p>
                  <a:pPr algn="ctr"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299" b="1" dirty="0">
                    <a:latin typeface="+mj-lt"/>
                    <a:ea typeface="Arial Unicode MS"/>
                  </a:endParaRPr>
                </a:p>
              </p:txBody>
            </p:sp>
          </p:grpSp>
        </p:grpSp>
        <p:sp>
          <p:nvSpPr>
            <p:cNvPr id="648" name="Rechteck 647"/>
            <p:cNvSpPr/>
            <p:nvPr/>
          </p:nvSpPr>
          <p:spPr bwMode="gray">
            <a:xfrm>
              <a:off x="619347" y="2717929"/>
              <a:ext cx="5480059" cy="10046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2" name="cdtRectangle 3 Id114691"/>
          <p:cNvSpPr txBox="1">
            <a:spLocks noChangeArrowheads="1"/>
          </p:cNvSpPr>
          <p:nvPr/>
        </p:nvSpPr>
        <p:spPr bwMode="gray">
          <a:xfrm>
            <a:off x="627064" y="1443038"/>
            <a:ext cx="4558924" cy="2769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b="1" kern="0" dirty="0"/>
              <a:t>Common system design</a:t>
            </a:r>
          </a:p>
        </p:txBody>
      </p:sp>
      <p:sp>
        <p:nvSpPr>
          <p:cNvPr id="66" name="Trapezoid 65">
            <a:hlinkClick r:id="" action="ppaction://noaction"/>
          </p:cNvPr>
          <p:cNvSpPr>
            <a:spLocks/>
          </p:cNvSpPr>
          <p:nvPr/>
        </p:nvSpPr>
        <p:spPr bwMode="gray">
          <a:xfrm>
            <a:off x="696942" y="1868598"/>
            <a:ext cx="4558732" cy="348539"/>
          </a:xfrm>
          <a:prstGeom prst="trapezoid">
            <a:avLst>
              <a:gd name="adj" fmla="val 0"/>
            </a:avLst>
          </a:prstGeom>
          <a:solidFill>
            <a:srgbClr val="41AAAA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t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TfL Common Operational overview</a:t>
            </a:r>
          </a:p>
        </p:txBody>
      </p:sp>
      <p:sp>
        <p:nvSpPr>
          <p:cNvPr id="67" name="Rechteck 66"/>
          <p:cNvSpPr>
            <a:spLocks/>
          </p:cNvSpPr>
          <p:nvPr/>
        </p:nvSpPr>
        <p:spPr bwMode="gray">
          <a:xfrm>
            <a:off x="696941" y="2430437"/>
            <a:ext cx="1049710" cy="14242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  <a:extLst/>
        </p:spPr>
        <p:txBody>
          <a:bodyPr rot="0" spcFirstLastPara="0" vertOverflow="overflow" horzOverflow="overflow" vert="horz" wrap="square" lIns="108000" tIns="180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RTO 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Based on </a:t>
            </a:r>
            <a:r>
              <a:rPr lang="en-US" sz="1000" dirty="0" smtClean="0">
                <a:solidFill>
                  <a:schemeClr val="tx1"/>
                </a:solidFill>
              </a:rPr>
              <a:t>SCOO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231" name="Rechteck 9230"/>
          <p:cNvSpPr>
            <a:spLocks/>
          </p:cNvSpPr>
          <p:nvPr/>
        </p:nvSpPr>
        <p:spPr bwMode="gray">
          <a:xfrm>
            <a:off x="839514" y="2368051"/>
            <a:ext cx="764563" cy="12830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8" name="Rechteck 67"/>
          <p:cNvSpPr>
            <a:spLocks/>
          </p:cNvSpPr>
          <p:nvPr/>
        </p:nvSpPr>
        <p:spPr bwMode="gray">
          <a:xfrm>
            <a:off x="4205964" y="2430437"/>
            <a:ext cx="1049710" cy="14242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  <a:extLst/>
        </p:spPr>
        <p:txBody>
          <a:bodyPr rot="0" spcFirstLastPara="0" vertOverflow="overflow" horzOverflow="overflow" vert="horz" wrap="square" lIns="108000" tIns="180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Data Mgt.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and Analytics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Further City Systems</a:t>
            </a:r>
          </a:p>
        </p:txBody>
      </p:sp>
      <p:sp>
        <p:nvSpPr>
          <p:cNvPr id="69" name="Rechteck 68"/>
          <p:cNvSpPr>
            <a:spLocks/>
          </p:cNvSpPr>
          <p:nvPr/>
        </p:nvSpPr>
        <p:spPr bwMode="gray">
          <a:xfrm>
            <a:off x="3036290" y="2430437"/>
            <a:ext cx="1049710" cy="14242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  <a:extLst/>
        </p:spPr>
        <p:txBody>
          <a:bodyPr rot="0" spcFirstLastPara="0" vertOverflow="overflow" horzOverflow="overflow" vert="horz" wrap="square" lIns="108000" tIns="180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Prediction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Further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City Systems</a:t>
            </a:r>
          </a:p>
        </p:txBody>
      </p:sp>
      <p:sp>
        <p:nvSpPr>
          <p:cNvPr id="70" name="Rechteck 69"/>
          <p:cNvSpPr>
            <a:spLocks/>
          </p:cNvSpPr>
          <p:nvPr/>
        </p:nvSpPr>
        <p:spPr bwMode="gray">
          <a:xfrm>
            <a:off x="1866616" y="2430437"/>
            <a:ext cx="1049710" cy="14242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  <a:extLst/>
        </p:spPr>
        <p:txBody>
          <a:bodyPr rot="0" spcFirstLastPara="0" vertOverflow="overflow" horzOverflow="overflow" vert="horz" wrap="square" lIns="108000" tIns="180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en-US" sz="1000" b="1" dirty="0">
                <a:solidFill>
                  <a:schemeClr val="tx1"/>
                </a:solidFill>
              </a:rPr>
              <a:t>Incidents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Multi Modal Incident Mgt.</a:t>
            </a:r>
          </a:p>
        </p:txBody>
      </p:sp>
      <p:grpSp>
        <p:nvGrpSpPr>
          <p:cNvPr id="9234" name="Gruppieren 9233"/>
          <p:cNvGrpSpPr/>
          <p:nvPr/>
        </p:nvGrpSpPr>
        <p:grpSpPr bwMode="gray">
          <a:xfrm>
            <a:off x="696941" y="4450407"/>
            <a:ext cx="4558733" cy="1171168"/>
            <a:chOff x="627063" y="5008516"/>
            <a:chExt cx="4558733" cy="1171168"/>
          </a:xfrm>
        </p:grpSpPr>
        <p:sp>
          <p:nvSpPr>
            <p:cNvPr id="685" name="Trapezoid 684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627064" y="5008516"/>
              <a:ext cx="4558732" cy="203133"/>
            </a:xfrm>
            <a:prstGeom prst="trapezoid">
              <a:avLst>
                <a:gd name="adj" fmla="val 0"/>
              </a:avLst>
            </a:prstGeom>
            <a:noFill/>
            <a:ln>
              <a:noFill/>
            </a:ln>
            <a:effectLst/>
            <a:ex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>
                  <a:solidFill>
                    <a:srgbClr val="41AAAA"/>
                  </a:solidFill>
                </a:rPr>
                <a:t>TfL field devices</a:t>
              </a:r>
            </a:p>
          </p:txBody>
        </p:sp>
        <p:sp>
          <p:nvSpPr>
            <p:cNvPr id="686" name="Trapezoid 685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627064" y="5283649"/>
              <a:ext cx="2219384" cy="309362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Traffic Control Devices</a:t>
              </a:r>
            </a:p>
          </p:txBody>
        </p:sp>
        <p:sp>
          <p:nvSpPr>
            <p:cNvPr id="688" name="Trapezoid 687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2966412" y="5283649"/>
              <a:ext cx="2219384" cy="309362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Variable Message Signs</a:t>
              </a:r>
            </a:p>
          </p:txBody>
        </p:sp>
        <p:sp>
          <p:nvSpPr>
            <p:cNvPr id="687" name="Trapezoid 686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627063" y="5678796"/>
              <a:ext cx="1079702" cy="500888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Road works</a:t>
              </a:r>
            </a:p>
          </p:txBody>
        </p:sp>
        <p:sp>
          <p:nvSpPr>
            <p:cNvPr id="689" name="Trapezoid 688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4106095" y="5678796"/>
              <a:ext cx="1079701" cy="500888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Parking facilities</a:t>
              </a:r>
            </a:p>
          </p:txBody>
        </p:sp>
        <p:sp>
          <p:nvSpPr>
            <p:cNvPr id="690" name="Trapezoid 689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1766746" y="5678796"/>
              <a:ext cx="1079702" cy="500888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>
                  <a:solidFill>
                    <a:schemeClr val="bg1"/>
                  </a:solidFill>
                </a:rPr>
                <a:t>CCTV</a:t>
              </a:r>
            </a:p>
          </p:txBody>
        </p:sp>
        <p:sp>
          <p:nvSpPr>
            <p:cNvPr id="691" name="Trapezoid 690">
              <a:hlinkClick r:id="" action="ppaction://noaction"/>
            </p:cNvPr>
            <p:cNvSpPr>
              <a:spLocks/>
            </p:cNvSpPr>
            <p:nvPr/>
          </p:nvSpPr>
          <p:spPr bwMode="gray">
            <a:xfrm>
              <a:off x="2966412" y="5678796"/>
              <a:ext cx="1079701" cy="500888"/>
            </a:xfrm>
            <a:prstGeom prst="trapezoid">
              <a:avLst>
                <a:gd name="adj" fmla="val 0"/>
              </a:avLst>
            </a:prstGeom>
            <a:solidFill>
              <a:srgbClr val="41AAAA"/>
            </a:solidFill>
            <a:ln>
              <a:noFill/>
            </a:ln>
            <a:effectLst/>
            <a:extLst/>
          </p:spPr>
          <p:txBody>
            <a:bodyPr wrap="square" lIns="108000" tIns="72000" rIns="108000" bIns="72000" numCol="1" spcCol="72000" rtlCol="0" anchor="ctr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1050" b="1" dirty="0" smtClean="0">
                  <a:solidFill>
                    <a:schemeClr val="bg1"/>
                  </a:solidFill>
                </a:rPr>
                <a:t>Busses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70" name="Gruppieren 669"/>
          <p:cNvGrpSpPr>
            <a:grpSpLocks/>
          </p:cNvGrpSpPr>
          <p:nvPr/>
        </p:nvGrpSpPr>
        <p:grpSpPr bwMode="gray">
          <a:xfrm>
            <a:off x="810479" y="3340746"/>
            <a:ext cx="822633" cy="409821"/>
            <a:chOff x="743732" y="3105175"/>
            <a:chExt cx="1011461" cy="503892"/>
          </a:xfrm>
          <a:solidFill>
            <a:srgbClr val="00646E"/>
          </a:solidFill>
        </p:grpSpPr>
        <p:sp>
          <p:nvSpPr>
            <p:cNvPr id="650" name="SAGD, Siemens, Traffic Light, Ampel, Verkehr"/>
            <p:cNvSpPr>
              <a:spLocks noChangeAspect="1" noEditPoints="1"/>
            </p:cNvSpPr>
            <p:nvPr/>
          </p:nvSpPr>
          <p:spPr bwMode="gray">
            <a:xfrm>
              <a:off x="743732" y="3105175"/>
              <a:ext cx="474148" cy="503892"/>
            </a:xfrm>
            <a:custGeom>
              <a:avLst/>
              <a:gdLst>
                <a:gd name="T0" fmla="*/ 0 w 703"/>
                <a:gd name="T1" fmla="*/ 556 h 749"/>
                <a:gd name="T2" fmla="*/ 159 w 703"/>
                <a:gd name="T3" fmla="*/ 556 h 749"/>
                <a:gd name="T4" fmla="*/ 159 w 703"/>
                <a:gd name="T5" fmla="*/ 692 h 749"/>
                <a:gd name="T6" fmla="*/ 45 w 703"/>
                <a:gd name="T7" fmla="*/ 692 h 749"/>
                <a:gd name="T8" fmla="*/ 0 w 703"/>
                <a:gd name="T9" fmla="*/ 556 h 749"/>
                <a:gd name="T10" fmla="*/ 45 w 703"/>
                <a:gd name="T11" fmla="*/ 442 h 749"/>
                <a:gd name="T12" fmla="*/ 159 w 703"/>
                <a:gd name="T13" fmla="*/ 442 h 749"/>
                <a:gd name="T14" fmla="*/ 159 w 703"/>
                <a:gd name="T15" fmla="*/ 306 h 749"/>
                <a:gd name="T16" fmla="*/ 0 w 703"/>
                <a:gd name="T17" fmla="*/ 306 h 749"/>
                <a:gd name="T18" fmla="*/ 45 w 703"/>
                <a:gd name="T19" fmla="*/ 442 h 749"/>
                <a:gd name="T20" fmla="*/ 45 w 703"/>
                <a:gd name="T21" fmla="*/ 182 h 749"/>
                <a:gd name="T22" fmla="*/ 159 w 703"/>
                <a:gd name="T23" fmla="*/ 182 h 749"/>
                <a:gd name="T24" fmla="*/ 159 w 703"/>
                <a:gd name="T25" fmla="*/ 46 h 749"/>
                <a:gd name="T26" fmla="*/ 0 w 703"/>
                <a:gd name="T27" fmla="*/ 46 h 749"/>
                <a:gd name="T28" fmla="*/ 45 w 703"/>
                <a:gd name="T29" fmla="*/ 182 h 749"/>
                <a:gd name="T30" fmla="*/ 544 w 703"/>
                <a:gd name="T31" fmla="*/ 692 h 749"/>
                <a:gd name="T32" fmla="*/ 658 w 703"/>
                <a:gd name="T33" fmla="*/ 692 h 749"/>
                <a:gd name="T34" fmla="*/ 703 w 703"/>
                <a:gd name="T35" fmla="*/ 556 h 749"/>
                <a:gd name="T36" fmla="*/ 544 w 703"/>
                <a:gd name="T37" fmla="*/ 556 h 749"/>
                <a:gd name="T38" fmla="*/ 544 w 703"/>
                <a:gd name="T39" fmla="*/ 692 h 749"/>
                <a:gd name="T40" fmla="*/ 544 w 703"/>
                <a:gd name="T41" fmla="*/ 442 h 749"/>
                <a:gd name="T42" fmla="*/ 658 w 703"/>
                <a:gd name="T43" fmla="*/ 442 h 749"/>
                <a:gd name="T44" fmla="*/ 703 w 703"/>
                <a:gd name="T45" fmla="*/ 306 h 749"/>
                <a:gd name="T46" fmla="*/ 544 w 703"/>
                <a:gd name="T47" fmla="*/ 306 h 749"/>
                <a:gd name="T48" fmla="*/ 544 w 703"/>
                <a:gd name="T49" fmla="*/ 442 h 749"/>
                <a:gd name="T50" fmla="*/ 703 w 703"/>
                <a:gd name="T51" fmla="*/ 57 h 749"/>
                <a:gd name="T52" fmla="*/ 544 w 703"/>
                <a:gd name="T53" fmla="*/ 57 h 749"/>
                <a:gd name="T54" fmla="*/ 544 w 703"/>
                <a:gd name="T55" fmla="*/ 193 h 749"/>
                <a:gd name="T56" fmla="*/ 658 w 703"/>
                <a:gd name="T57" fmla="*/ 193 h 749"/>
                <a:gd name="T58" fmla="*/ 703 w 703"/>
                <a:gd name="T59" fmla="*/ 57 h 749"/>
                <a:gd name="T60" fmla="*/ 204 w 703"/>
                <a:gd name="T61" fmla="*/ 0 h 749"/>
                <a:gd name="T62" fmla="*/ 499 w 703"/>
                <a:gd name="T63" fmla="*/ 0 h 749"/>
                <a:gd name="T64" fmla="*/ 499 w 703"/>
                <a:gd name="T65" fmla="*/ 749 h 749"/>
                <a:gd name="T66" fmla="*/ 204 w 703"/>
                <a:gd name="T67" fmla="*/ 749 h 749"/>
                <a:gd name="T68" fmla="*/ 204 w 703"/>
                <a:gd name="T69" fmla="*/ 0 h 749"/>
                <a:gd name="T70" fmla="*/ 283 w 703"/>
                <a:gd name="T71" fmla="*/ 126 h 749"/>
                <a:gd name="T72" fmla="*/ 352 w 703"/>
                <a:gd name="T73" fmla="*/ 193 h 749"/>
                <a:gd name="T74" fmla="*/ 420 w 703"/>
                <a:gd name="T75" fmla="*/ 124 h 749"/>
                <a:gd name="T76" fmla="*/ 351 w 703"/>
                <a:gd name="T77" fmla="*/ 57 h 749"/>
                <a:gd name="T78" fmla="*/ 283 w 703"/>
                <a:gd name="T79" fmla="*/ 126 h 749"/>
                <a:gd name="T80" fmla="*/ 283 w 703"/>
                <a:gd name="T81" fmla="*/ 375 h 749"/>
                <a:gd name="T82" fmla="*/ 352 w 703"/>
                <a:gd name="T83" fmla="*/ 442 h 749"/>
                <a:gd name="T84" fmla="*/ 420 w 703"/>
                <a:gd name="T85" fmla="*/ 374 h 749"/>
                <a:gd name="T86" fmla="*/ 351 w 703"/>
                <a:gd name="T87" fmla="*/ 306 h 749"/>
                <a:gd name="T88" fmla="*/ 283 w 703"/>
                <a:gd name="T89" fmla="*/ 375 h 749"/>
                <a:gd name="T90" fmla="*/ 283 w 703"/>
                <a:gd name="T91" fmla="*/ 625 h 749"/>
                <a:gd name="T92" fmla="*/ 352 w 703"/>
                <a:gd name="T93" fmla="*/ 692 h 749"/>
                <a:gd name="T94" fmla="*/ 420 w 703"/>
                <a:gd name="T95" fmla="*/ 623 h 749"/>
                <a:gd name="T96" fmla="*/ 351 w 703"/>
                <a:gd name="T97" fmla="*/ 556 h 749"/>
                <a:gd name="T98" fmla="*/ 283 w 703"/>
                <a:gd name="T99" fmla="*/ 625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03" h="749">
                  <a:moveTo>
                    <a:pt x="0" y="556"/>
                  </a:moveTo>
                  <a:cubicBezTo>
                    <a:pt x="159" y="556"/>
                    <a:pt x="159" y="556"/>
                    <a:pt x="159" y="556"/>
                  </a:cubicBezTo>
                  <a:cubicBezTo>
                    <a:pt x="159" y="692"/>
                    <a:pt x="159" y="692"/>
                    <a:pt x="159" y="692"/>
                  </a:cubicBezTo>
                  <a:cubicBezTo>
                    <a:pt x="45" y="692"/>
                    <a:pt x="45" y="692"/>
                    <a:pt x="45" y="692"/>
                  </a:cubicBezTo>
                  <a:lnTo>
                    <a:pt x="0" y="556"/>
                  </a:lnTo>
                  <a:close/>
                  <a:moveTo>
                    <a:pt x="45" y="442"/>
                  </a:moveTo>
                  <a:cubicBezTo>
                    <a:pt x="159" y="442"/>
                    <a:pt x="159" y="442"/>
                    <a:pt x="159" y="442"/>
                  </a:cubicBezTo>
                  <a:cubicBezTo>
                    <a:pt x="159" y="306"/>
                    <a:pt x="159" y="306"/>
                    <a:pt x="159" y="306"/>
                  </a:cubicBezTo>
                  <a:cubicBezTo>
                    <a:pt x="0" y="306"/>
                    <a:pt x="0" y="306"/>
                    <a:pt x="0" y="306"/>
                  </a:cubicBezTo>
                  <a:lnTo>
                    <a:pt x="45" y="442"/>
                  </a:lnTo>
                  <a:close/>
                  <a:moveTo>
                    <a:pt x="45" y="182"/>
                  </a:moveTo>
                  <a:cubicBezTo>
                    <a:pt x="159" y="182"/>
                    <a:pt x="159" y="182"/>
                    <a:pt x="159" y="182"/>
                  </a:cubicBezTo>
                  <a:cubicBezTo>
                    <a:pt x="159" y="46"/>
                    <a:pt x="159" y="46"/>
                    <a:pt x="159" y="46"/>
                  </a:cubicBezTo>
                  <a:cubicBezTo>
                    <a:pt x="0" y="46"/>
                    <a:pt x="0" y="46"/>
                    <a:pt x="0" y="46"/>
                  </a:cubicBezTo>
                  <a:lnTo>
                    <a:pt x="45" y="182"/>
                  </a:lnTo>
                  <a:close/>
                  <a:moveTo>
                    <a:pt x="544" y="692"/>
                  </a:moveTo>
                  <a:cubicBezTo>
                    <a:pt x="658" y="692"/>
                    <a:pt x="658" y="692"/>
                    <a:pt x="658" y="692"/>
                  </a:cubicBezTo>
                  <a:cubicBezTo>
                    <a:pt x="703" y="556"/>
                    <a:pt x="703" y="556"/>
                    <a:pt x="703" y="556"/>
                  </a:cubicBezTo>
                  <a:cubicBezTo>
                    <a:pt x="544" y="556"/>
                    <a:pt x="544" y="556"/>
                    <a:pt x="544" y="556"/>
                  </a:cubicBezTo>
                  <a:lnTo>
                    <a:pt x="544" y="692"/>
                  </a:lnTo>
                  <a:close/>
                  <a:moveTo>
                    <a:pt x="544" y="442"/>
                  </a:moveTo>
                  <a:cubicBezTo>
                    <a:pt x="658" y="442"/>
                    <a:pt x="658" y="442"/>
                    <a:pt x="658" y="442"/>
                  </a:cubicBezTo>
                  <a:cubicBezTo>
                    <a:pt x="703" y="306"/>
                    <a:pt x="703" y="306"/>
                    <a:pt x="703" y="306"/>
                  </a:cubicBezTo>
                  <a:cubicBezTo>
                    <a:pt x="544" y="306"/>
                    <a:pt x="544" y="306"/>
                    <a:pt x="544" y="306"/>
                  </a:cubicBezTo>
                  <a:lnTo>
                    <a:pt x="544" y="442"/>
                  </a:lnTo>
                  <a:close/>
                  <a:moveTo>
                    <a:pt x="703" y="57"/>
                  </a:moveTo>
                  <a:cubicBezTo>
                    <a:pt x="544" y="57"/>
                    <a:pt x="544" y="57"/>
                    <a:pt x="544" y="57"/>
                  </a:cubicBezTo>
                  <a:cubicBezTo>
                    <a:pt x="544" y="193"/>
                    <a:pt x="544" y="193"/>
                    <a:pt x="544" y="193"/>
                  </a:cubicBezTo>
                  <a:cubicBezTo>
                    <a:pt x="658" y="193"/>
                    <a:pt x="658" y="193"/>
                    <a:pt x="658" y="193"/>
                  </a:cubicBezTo>
                  <a:lnTo>
                    <a:pt x="703" y="57"/>
                  </a:lnTo>
                  <a:close/>
                  <a:moveTo>
                    <a:pt x="204" y="0"/>
                  </a:moveTo>
                  <a:cubicBezTo>
                    <a:pt x="499" y="0"/>
                    <a:pt x="499" y="0"/>
                    <a:pt x="499" y="0"/>
                  </a:cubicBezTo>
                  <a:cubicBezTo>
                    <a:pt x="499" y="749"/>
                    <a:pt x="499" y="749"/>
                    <a:pt x="499" y="749"/>
                  </a:cubicBezTo>
                  <a:cubicBezTo>
                    <a:pt x="204" y="749"/>
                    <a:pt x="204" y="749"/>
                    <a:pt x="204" y="749"/>
                  </a:cubicBezTo>
                  <a:lnTo>
                    <a:pt x="204" y="0"/>
                  </a:lnTo>
                  <a:close/>
                  <a:moveTo>
                    <a:pt x="283" y="126"/>
                  </a:moveTo>
                  <a:cubicBezTo>
                    <a:pt x="284" y="163"/>
                    <a:pt x="315" y="193"/>
                    <a:pt x="352" y="193"/>
                  </a:cubicBezTo>
                  <a:cubicBezTo>
                    <a:pt x="390" y="193"/>
                    <a:pt x="420" y="162"/>
                    <a:pt x="420" y="124"/>
                  </a:cubicBezTo>
                  <a:cubicBezTo>
                    <a:pt x="419" y="87"/>
                    <a:pt x="388" y="56"/>
                    <a:pt x="351" y="57"/>
                  </a:cubicBezTo>
                  <a:cubicBezTo>
                    <a:pt x="313" y="57"/>
                    <a:pt x="283" y="88"/>
                    <a:pt x="283" y="126"/>
                  </a:cubicBezTo>
                  <a:close/>
                  <a:moveTo>
                    <a:pt x="283" y="375"/>
                  </a:moveTo>
                  <a:cubicBezTo>
                    <a:pt x="284" y="413"/>
                    <a:pt x="315" y="443"/>
                    <a:pt x="352" y="442"/>
                  </a:cubicBezTo>
                  <a:cubicBezTo>
                    <a:pt x="390" y="442"/>
                    <a:pt x="420" y="411"/>
                    <a:pt x="420" y="374"/>
                  </a:cubicBezTo>
                  <a:cubicBezTo>
                    <a:pt x="419" y="336"/>
                    <a:pt x="388" y="306"/>
                    <a:pt x="351" y="306"/>
                  </a:cubicBezTo>
                  <a:cubicBezTo>
                    <a:pt x="313" y="307"/>
                    <a:pt x="283" y="338"/>
                    <a:pt x="283" y="375"/>
                  </a:cubicBezTo>
                  <a:close/>
                  <a:moveTo>
                    <a:pt x="283" y="625"/>
                  </a:moveTo>
                  <a:cubicBezTo>
                    <a:pt x="284" y="662"/>
                    <a:pt x="315" y="692"/>
                    <a:pt x="352" y="692"/>
                  </a:cubicBezTo>
                  <a:cubicBezTo>
                    <a:pt x="390" y="691"/>
                    <a:pt x="420" y="661"/>
                    <a:pt x="420" y="623"/>
                  </a:cubicBezTo>
                  <a:cubicBezTo>
                    <a:pt x="419" y="585"/>
                    <a:pt x="388" y="555"/>
                    <a:pt x="351" y="556"/>
                  </a:cubicBezTo>
                  <a:cubicBezTo>
                    <a:pt x="313" y="556"/>
                    <a:pt x="283" y="587"/>
                    <a:pt x="283" y="62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51" name="SAGD, Siemens, uhr, zeit, time, clock, timer, stoppuhr"/>
            <p:cNvGrpSpPr>
              <a:grpSpLocks/>
            </p:cNvGrpSpPr>
            <p:nvPr/>
          </p:nvGrpSpPr>
          <p:grpSpPr bwMode="gray">
            <a:xfrm>
              <a:off x="1361880" y="3131608"/>
              <a:ext cx="393313" cy="451025"/>
              <a:chOff x="-31208663" y="-9248776"/>
              <a:chExt cx="1287463" cy="1476375"/>
            </a:xfrm>
            <a:grpFill/>
          </p:grpSpPr>
          <p:sp>
            <p:nvSpPr>
              <p:cNvPr id="652" name="Rectangle 104"/>
              <p:cNvSpPr>
                <a:spLocks noChangeArrowheads="1"/>
              </p:cNvSpPr>
              <p:nvPr/>
            </p:nvSpPr>
            <p:spPr bwMode="gray">
              <a:xfrm>
                <a:off x="-30605413" y="-9136063"/>
                <a:ext cx="227013" cy="1524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3" name="Rectangle 105"/>
              <p:cNvSpPr>
                <a:spLocks noChangeArrowheads="1"/>
              </p:cNvSpPr>
              <p:nvPr/>
            </p:nvSpPr>
            <p:spPr bwMode="gray">
              <a:xfrm>
                <a:off x="-30680025" y="-9248776"/>
                <a:ext cx="379413" cy="1127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4" name="Freeform 106"/>
              <p:cNvSpPr>
                <a:spLocks/>
              </p:cNvSpPr>
              <p:nvPr/>
            </p:nvSpPr>
            <p:spPr bwMode="gray">
              <a:xfrm>
                <a:off x="-31208663" y="-8909051"/>
                <a:ext cx="227013" cy="265113"/>
              </a:xfrm>
              <a:custGeom>
                <a:avLst/>
                <a:gdLst>
                  <a:gd name="T0" fmla="*/ 71 w 143"/>
                  <a:gd name="T1" fmla="*/ 167 h 167"/>
                  <a:gd name="T2" fmla="*/ 0 w 143"/>
                  <a:gd name="T3" fmla="*/ 72 h 167"/>
                  <a:gd name="T4" fmla="*/ 71 w 143"/>
                  <a:gd name="T5" fmla="*/ 0 h 167"/>
                  <a:gd name="T6" fmla="*/ 143 w 143"/>
                  <a:gd name="T7" fmla="*/ 96 h 167"/>
                  <a:gd name="T8" fmla="*/ 71 w 143"/>
                  <a:gd name="T9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67">
                    <a:moveTo>
                      <a:pt x="71" y="167"/>
                    </a:moveTo>
                    <a:lnTo>
                      <a:pt x="0" y="72"/>
                    </a:lnTo>
                    <a:lnTo>
                      <a:pt x="71" y="0"/>
                    </a:lnTo>
                    <a:lnTo>
                      <a:pt x="143" y="96"/>
                    </a:lnTo>
                    <a:lnTo>
                      <a:pt x="71" y="1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5" name="Freeform 107"/>
              <p:cNvSpPr>
                <a:spLocks/>
              </p:cNvSpPr>
              <p:nvPr/>
            </p:nvSpPr>
            <p:spPr bwMode="gray">
              <a:xfrm>
                <a:off x="-31021338" y="-9097963"/>
                <a:ext cx="227013" cy="265113"/>
              </a:xfrm>
              <a:custGeom>
                <a:avLst/>
                <a:gdLst>
                  <a:gd name="T0" fmla="*/ 72 w 143"/>
                  <a:gd name="T1" fmla="*/ 167 h 167"/>
                  <a:gd name="T2" fmla="*/ 0 w 143"/>
                  <a:gd name="T3" fmla="*/ 72 h 167"/>
                  <a:gd name="T4" fmla="*/ 72 w 143"/>
                  <a:gd name="T5" fmla="*/ 0 h 167"/>
                  <a:gd name="T6" fmla="*/ 143 w 143"/>
                  <a:gd name="T7" fmla="*/ 96 h 167"/>
                  <a:gd name="T8" fmla="*/ 72 w 143"/>
                  <a:gd name="T9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67">
                    <a:moveTo>
                      <a:pt x="72" y="167"/>
                    </a:moveTo>
                    <a:lnTo>
                      <a:pt x="0" y="72"/>
                    </a:lnTo>
                    <a:lnTo>
                      <a:pt x="72" y="0"/>
                    </a:lnTo>
                    <a:lnTo>
                      <a:pt x="143" y="96"/>
                    </a:lnTo>
                    <a:lnTo>
                      <a:pt x="72" y="1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6" name="Freeform 108"/>
              <p:cNvSpPr>
                <a:spLocks/>
              </p:cNvSpPr>
              <p:nvPr/>
            </p:nvSpPr>
            <p:spPr bwMode="gray">
              <a:xfrm>
                <a:off x="-30527625" y="-8643938"/>
                <a:ext cx="244475" cy="530225"/>
              </a:xfrm>
              <a:custGeom>
                <a:avLst/>
                <a:gdLst>
                  <a:gd name="T0" fmla="*/ 154 w 154"/>
                  <a:gd name="T1" fmla="*/ 298 h 334"/>
                  <a:gd name="T2" fmla="*/ 119 w 154"/>
                  <a:gd name="T3" fmla="*/ 334 h 334"/>
                  <a:gd name="T4" fmla="*/ 0 w 154"/>
                  <a:gd name="T5" fmla="*/ 215 h 334"/>
                  <a:gd name="T6" fmla="*/ 0 w 154"/>
                  <a:gd name="T7" fmla="*/ 0 h 334"/>
                  <a:gd name="T8" fmla="*/ 47 w 154"/>
                  <a:gd name="T9" fmla="*/ 0 h 334"/>
                  <a:gd name="T10" fmla="*/ 47 w 154"/>
                  <a:gd name="T11" fmla="*/ 191 h 334"/>
                  <a:gd name="T12" fmla="*/ 154 w 154"/>
                  <a:gd name="T13" fmla="*/ 29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4" h="334">
                    <a:moveTo>
                      <a:pt x="154" y="298"/>
                    </a:moveTo>
                    <a:lnTo>
                      <a:pt x="119" y="334"/>
                    </a:lnTo>
                    <a:lnTo>
                      <a:pt x="0" y="215"/>
                    </a:lnTo>
                    <a:lnTo>
                      <a:pt x="0" y="0"/>
                    </a:lnTo>
                    <a:lnTo>
                      <a:pt x="47" y="0"/>
                    </a:lnTo>
                    <a:lnTo>
                      <a:pt x="47" y="191"/>
                    </a:lnTo>
                    <a:lnTo>
                      <a:pt x="154" y="2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7" name="Freeform 109"/>
              <p:cNvSpPr>
                <a:spLocks noEditPoints="1"/>
              </p:cNvSpPr>
              <p:nvPr/>
            </p:nvSpPr>
            <p:spPr bwMode="gray">
              <a:xfrm>
                <a:off x="-31059438" y="-8909051"/>
                <a:ext cx="1138238" cy="1136650"/>
              </a:xfrm>
              <a:custGeom>
                <a:avLst/>
                <a:gdLst>
                  <a:gd name="T0" fmla="*/ 340 w 681"/>
                  <a:gd name="T1" fmla="*/ 0 h 681"/>
                  <a:gd name="T2" fmla="*/ 0 w 681"/>
                  <a:gd name="T3" fmla="*/ 340 h 681"/>
                  <a:gd name="T4" fmla="*/ 340 w 681"/>
                  <a:gd name="T5" fmla="*/ 681 h 681"/>
                  <a:gd name="T6" fmla="*/ 681 w 681"/>
                  <a:gd name="T7" fmla="*/ 340 h 681"/>
                  <a:gd name="T8" fmla="*/ 340 w 681"/>
                  <a:gd name="T9" fmla="*/ 0 h 681"/>
                  <a:gd name="T10" fmla="*/ 340 w 681"/>
                  <a:gd name="T11" fmla="*/ 612 h 681"/>
                  <a:gd name="T12" fmla="*/ 68 w 681"/>
                  <a:gd name="T13" fmla="*/ 340 h 681"/>
                  <a:gd name="T14" fmla="*/ 340 w 681"/>
                  <a:gd name="T15" fmla="*/ 68 h 681"/>
                  <a:gd name="T16" fmla="*/ 613 w 681"/>
                  <a:gd name="T17" fmla="*/ 340 h 681"/>
                  <a:gd name="T18" fmla="*/ 340 w 681"/>
                  <a:gd name="T19" fmla="*/ 612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1" h="681">
                    <a:moveTo>
                      <a:pt x="340" y="0"/>
                    </a:moveTo>
                    <a:cubicBezTo>
                      <a:pt x="153" y="0"/>
                      <a:pt x="0" y="152"/>
                      <a:pt x="0" y="340"/>
                    </a:cubicBezTo>
                    <a:cubicBezTo>
                      <a:pt x="0" y="528"/>
                      <a:pt x="153" y="681"/>
                      <a:pt x="340" y="681"/>
                    </a:cubicBezTo>
                    <a:cubicBezTo>
                      <a:pt x="528" y="681"/>
                      <a:pt x="681" y="528"/>
                      <a:pt x="681" y="340"/>
                    </a:cubicBezTo>
                    <a:cubicBezTo>
                      <a:pt x="681" y="152"/>
                      <a:pt x="528" y="0"/>
                      <a:pt x="340" y="0"/>
                    </a:cubicBezTo>
                    <a:close/>
                    <a:moveTo>
                      <a:pt x="340" y="612"/>
                    </a:moveTo>
                    <a:cubicBezTo>
                      <a:pt x="190" y="612"/>
                      <a:pt x="68" y="491"/>
                      <a:pt x="68" y="340"/>
                    </a:cubicBezTo>
                    <a:cubicBezTo>
                      <a:pt x="68" y="190"/>
                      <a:pt x="190" y="68"/>
                      <a:pt x="340" y="68"/>
                    </a:cubicBezTo>
                    <a:cubicBezTo>
                      <a:pt x="491" y="68"/>
                      <a:pt x="613" y="190"/>
                      <a:pt x="613" y="340"/>
                    </a:cubicBezTo>
                    <a:cubicBezTo>
                      <a:pt x="613" y="491"/>
                      <a:pt x="491" y="612"/>
                      <a:pt x="340" y="6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59" name="SAGD, Siemens, Location, Karte, Ort, Markierung, pin, map, route"/>
          <p:cNvSpPr>
            <a:spLocks noChangeAspect="1" noEditPoints="1"/>
          </p:cNvSpPr>
          <p:nvPr/>
        </p:nvSpPr>
        <p:spPr bwMode="gray">
          <a:xfrm>
            <a:off x="3306429" y="3336086"/>
            <a:ext cx="509431" cy="421917"/>
          </a:xfrm>
          <a:custGeom>
            <a:avLst/>
            <a:gdLst>
              <a:gd name="T0" fmla="*/ 402 w 930"/>
              <a:gd name="T1" fmla="*/ 363 h 771"/>
              <a:gd name="T2" fmla="*/ 509 w 930"/>
              <a:gd name="T3" fmla="*/ 189 h 771"/>
              <a:gd name="T4" fmla="*/ 527 w 930"/>
              <a:gd name="T5" fmla="*/ 125 h 771"/>
              <a:gd name="T6" fmla="*/ 402 w 930"/>
              <a:gd name="T7" fmla="*/ 0 h 771"/>
              <a:gd name="T8" fmla="*/ 277 w 930"/>
              <a:gd name="T9" fmla="*/ 125 h 771"/>
              <a:gd name="T10" fmla="*/ 296 w 930"/>
              <a:gd name="T11" fmla="*/ 189 h 771"/>
              <a:gd name="T12" fmla="*/ 402 w 930"/>
              <a:gd name="T13" fmla="*/ 363 h 771"/>
              <a:gd name="T14" fmla="*/ 402 w 930"/>
              <a:gd name="T15" fmla="*/ 68 h 771"/>
              <a:gd name="T16" fmla="*/ 459 w 930"/>
              <a:gd name="T17" fmla="*/ 125 h 771"/>
              <a:gd name="T18" fmla="*/ 402 w 930"/>
              <a:gd name="T19" fmla="*/ 181 h 771"/>
              <a:gd name="T20" fmla="*/ 346 w 930"/>
              <a:gd name="T21" fmla="*/ 125 h 771"/>
              <a:gd name="T22" fmla="*/ 402 w 930"/>
              <a:gd name="T23" fmla="*/ 68 h 771"/>
              <a:gd name="T24" fmla="*/ 157 w 930"/>
              <a:gd name="T25" fmla="*/ 344 h 771"/>
              <a:gd name="T26" fmla="*/ 404 w 930"/>
              <a:gd name="T27" fmla="*/ 640 h 771"/>
              <a:gd name="T28" fmla="*/ 248 w 930"/>
              <a:gd name="T29" fmla="*/ 771 h 771"/>
              <a:gd name="T30" fmla="*/ 0 w 930"/>
              <a:gd name="T31" fmla="*/ 476 h 771"/>
              <a:gd name="T32" fmla="*/ 157 w 930"/>
              <a:gd name="T33" fmla="*/ 344 h 771"/>
              <a:gd name="T34" fmla="*/ 467 w 930"/>
              <a:gd name="T35" fmla="*/ 344 h 771"/>
              <a:gd name="T36" fmla="*/ 715 w 930"/>
              <a:gd name="T37" fmla="*/ 640 h 771"/>
              <a:gd name="T38" fmla="*/ 464 w 930"/>
              <a:gd name="T39" fmla="*/ 640 h 771"/>
              <a:gd name="T40" fmla="*/ 216 w 930"/>
              <a:gd name="T41" fmla="*/ 344 h 771"/>
              <a:gd name="T42" fmla="*/ 338 w 930"/>
              <a:gd name="T43" fmla="*/ 344 h 771"/>
              <a:gd name="T44" fmla="*/ 402 w 930"/>
              <a:gd name="T45" fmla="*/ 449 h 771"/>
              <a:gd name="T46" fmla="*/ 467 w 930"/>
              <a:gd name="T47" fmla="*/ 344 h 771"/>
              <a:gd name="T48" fmla="*/ 930 w 930"/>
              <a:gd name="T49" fmla="*/ 508 h 771"/>
              <a:gd name="T50" fmla="*/ 774 w 930"/>
              <a:gd name="T51" fmla="*/ 640 h 771"/>
              <a:gd name="T52" fmla="*/ 526 w 930"/>
              <a:gd name="T53" fmla="*/ 344 h 771"/>
              <a:gd name="T54" fmla="*/ 682 w 930"/>
              <a:gd name="T55" fmla="*/ 213 h 771"/>
              <a:gd name="T56" fmla="*/ 930 w 930"/>
              <a:gd name="T57" fmla="*/ 508 h 7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30" h="771">
                <a:moveTo>
                  <a:pt x="402" y="363"/>
                </a:moveTo>
                <a:cubicBezTo>
                  <a:pt x="509" y="189"/>
                  <a:pt x="509" y="189"/>
                  <a:pt x="509" y="189"/>
                </a:cubicBezTo>
                <a:cubicBezTo>
                  <a:pt x="520" y="170"/>
                  <a:pt x="527" y="148"/>
                  <a:pt x="527" y="125"/>
                </a:cubicBezTo>
                <a:cubicBezTo>
                  <a:pt x="527" y="56"/>
                  <a:pt x="471" y="0"/>
                  <a:pt x="402" y="0"/>
                </a:cubicBezTo>
                <a:cubicBezTo>
                  <a:pt x="333" y="0"/>
                  <a:pt x="277" y="56"/>
                  <a:pt x="277" y="125"/>
                </a:cubicBezTo>
                <a:cubicBezTo>
                  <a:pt x="277" y="148"/>
                  <a:pt x="284" y="170"/>
                  <a:pt x="296" y="189"/>
                </a:cubicBezTo>
                <a:lnTo>
                  <a:pt x="402" y="363"/>
                </a:lnTo>
                <a:close/>
                <a:moveTo>
                  <a:pt x="402" y="68"/>
                </a:moveTo>
                <a:cubicBezTo>
                  <a:pt x="434" y="68"/>
                  <a:pt x="459" y="93"/>
                  <a:pt x="459" y="125"/>
                </a:cubicBezTo>
                <a:cubicBezTo>
                  <a:pt x="459" y="156"/>
                  <a:pt x="434" y="181"/>
                  <a:pt x="402" y="181"/>
                </a:cubicBezTo>
                <a:cubicBezTo>
                  <a:pt x="371" y="181"/>
                  <a:pt x="346" y="156"/>
                  <a:pt x="346" y="125"/>
                </a:cubicBezTo>
                <a:cubicBezTo>
                  <a:pt x="346" y="93"/>
                  <a:pt x="371" y="68"/>
                  <a:pt x="402" y="68"/>
                </a:cubicBezTo>
                <a:close/>
                <a:moveTo>
                  <a:pt x="157" y="344"/>
                </a:moveTo>
                <a:cubicBezTo>
                  <a:pt x="404" y="640"/>
                  <a:pt x="404" y="640"/>
                  <a:pt x="404" y="640"/>
                </a:cubicBezTo>
                <a:cubicBezTo>
                  <a:pt x="248" y="771"/>
                  <a:pt x="248" y="771"/>
                  <a:pt x="248" y="771"/>
                </a:cubicBezTo>
                <a:cubicBezTo>
                  <a:pt x="0" y="476"/>
                  <a:pt x="0" y="476"/>
                  <a:pt x="0" y="476"/>
                </a:cubicBezTo>
                <a:lnTo>
                  <a:pt x="157" y="344"/>
                </a:lnTo>
                <a:close/>
                <a:moveTo>
                  <a:pt x="467" y="344"/>
                </a:moveTo>
                <a:cubicBezTo>
                  <a:pt x="715" y="640"/>
                  <a:pt x="715" y="640"/>
                  <a:pt x="715" y="640"/>
                </a:cubicBezTo>
                <a:cubicBezTo>
                  <a:pt x="464" y="640"/>
                  <a:pt x="464" y="640"/>
                  <a:pt x="464" y="640"/>
                </a:cubicBezTo>
                <a:cubicBezTo>
                  <a:pt x="216" y="344"/>
                  <a:pt x="216" y="344"/>
                  <a:pt x="216" y="344"/>
                </a:cubicBezTo>
                <a:cubicBezTo>
                  <a:pt x="338" y="344"/>
                  <a:pt x="338" y="344"/>
                  <a:pt x="338" y="344"/>
                </a:cubicBezTo>
                <a:cubicBezTo>
                  <a:pt x="402" y="449"/>
                  <a:pt x="402" y="449"/>
                  <a:pt x="402" y="449"/>
                </a:cubicBezTo>
                <a:lnTo>
                  <a:pt x="467" y="344"/>
                </a:lnTo>
                <a:close/>
                <a:moveTo>
                  <a:pt x="930" y="508"/>
                </a:moveTo>
                <a:cubicBezTo>
                  <a:pt x="774" y="640"/>
                  <a:pt x="774" y="640"/>
                  <a:pt x="774" y="640"/>
                </a:cubicBezTo>
                <a:cubicBezTo>
                  <a:pt x="526" y="344"/>
                  <a:pt x="526" y="344"/>
                  <a:pt x="526" y="344"/>
                </a:cubicBezTo>
                <a:cubicBezTo>
                  <a:pt x="682" y="213"/>
                  <a:pt x="682" y="213"/>
                  <a:pt x="682" y="213"/>
                </a:cubicBezTo>
                <a:lnTo>
                  <a:pt x="930" y="508"/>
                </a:lnTo>
                <a:close/>
              </a:path>
            </a:pathLst>
          </a:custGeom>
          <a:solidFill>
            <a:srgbClr val="00646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60" name="SAGD, Siemens, diagramm, diagram, graph, chart, pie, kreisdiagramm"/>
          <p:cNvGrpSpPr>
            <a:grpSpLocks/>
          </p:cNvGrpSpPr>
          <p:nvPr/>
        </p:nvGrpSpPr>
        <p:grpSpPr bwMode="gray">
          <a:xfrm>
            <a:off x="4500668" y="3399682"/>
            <a:ext cx="460302" cy="256834"/>
            <a:chOff x="10225088" y="6392863"/>
            <a:chExt cx="876300" cy="488949"/>
          </a:xfrm>
          <a:solidFill>
            <a:srgbClr val="00646E"/>
          </a:solidFill>
        </p:grpSpPr>
        <p:sp>
          <p:nvSpPr>
            <p:cNvPr id="661" name="Freeform 71"/>
            <p:cNvSpPr>
              <a:spLocks/>
            </p:cNvSpPr>
            <p:nvPr/>
          </p:nvSpPr>
          <p:spPr bwMode="gray">
            <a:xfrm>
              <a:off x="10225088" y="6432550"/>
              <a:ext cx="366712" cy="368300"/>
            </a:xfrm>
            <a:custGeom>
              <a:avLst/>
              <a:gdLst>
                <a:gd name="T0" fmla="*/ 408 w 408"/>
                <a:gd name="T1" fmla="*/ 205 h 409"/>
                <a:gd name="T2" fmla="*/ 204 w 408"/>
                <a:gd name="T3" fmla="*/ 409 h 409"/>
                <a:gd name="T4" fmla="*/ 0 w 408"/>
                <a:gd name="T5" fmla="*/ 205 h 409"/>
                <a:gd name="T6" fmla="*/ 204 w 408"/>
                <a:gd name="T7" fmla="*/ 0 h 409"/>
                <a:gd name="T8" fmla="*/ 204 w 408"/>
                <a:gd name="T9" fmla="*/ 205 h 409"/>
                <a:gd name="T10" fmla="*/ 408 w 408"/>
                <a:gd name="T11" fmla="*/ 20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8" h="409">
                  <a:moveTo>
                    <a:pt x="408" y="205"/>
                  </a:moveTo>
                  <a:cubicBezTo>
                    <a:pt x="408" y="317"/>
                    <a:pt x="317" y="409"/>
                    <a:pt x="204" y="409"/>
                  </a:cubicBezTo>
                  <a:cubicBezTo>
                    <a:pt x="91" y="409"/>
                    <a:pt x="0" y="317"/>
                    <a:pt x="0" y="205"/>
                  </a:cubicBezTo>
                  <a:cubicBezTo>
                    <a:pt x="0" y="92"/>
                    <a:pt x="91" y="0"/>
                    <a:pt x="204" y="0"/>
                  </a:cubicBezTo>
                  <a:cubicBezTo>
                    <a:pt x="204" y="205"/>
                    <a:pt x="204" y="205"/>
                    <a:pt x="204" y="205"/>
                  </a:cubicBezTo>
                  <a:lnTo>
                    <a:pt x="408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2" name="Freeform 84"/>
            <p:cNvSpPr>
              <a:spLocks/>
            </p:cNvSpPr>
            <p:nvPr/>
          </p:nvSpPr>
          <p:spPr bwMode="gray">
            <a:xfrm>
              <a:off x="10714038" y="6657975"/>
              <a:ext cx="39687" cy="39687"/>
            </a:xfrm>
            <a:custGeom>
              <a:avLst/>
              <a:gdLst>
                <a:gd name="T0" fmla="*/ 0 w 45"/>
                <a:gd name="T1" fmla="*/ 0 h 45"/>
                <a:gd name="T2" fmla="*/ 45 w 45"/>
                <a:gd name="T3" fmla="*/ 0 h 45"/>
                <a:gd name="T4" fmla="*/ 45 w 45"/>
                <a:gd name="T5" fmla="*/ 45 h 45"/>
                <a:gd name="T6" fmla="*/ 0 w 45"/>
                <a:gd name="T7" fmla="*/ 45 h 45"/>
                <a:gd name="T8" fmla="*/ 0 w 45"/>
                <a:gd name="T9" fmla="*/ 0 h 45"/>
                <a:gd name="T10" fmla="*/ 0 w 45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5">
                  <a:moveTo>
                    <a:pt x="0" y="0"/>
                  </a:moveTo>
                  <a:cubicBezTo>
                    <a:pt x="0" y="0"/>
                    <a:pt x="0" y="0"/>
                    <a:pt x="45" y="0"/>
                  </a:cubicBezTo>
                  <a:cubicBezTo>
                    <a:pt x="45" y="0"/>
                    <a:pt x="45" y="10"/>
                    <a:pt x="45" y="45"/>
                  </a:cubicBezTo>
                  <a:cubicBezTo>
                    <a:pt x="45" y="45"/>
                    <a:pt x="45" y="45"/>
                    <a:pt x="0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3" name="Freeform 85"/>
            <p:cNvSpPr>
              <a:spLocks/>
            </p:cNvSpPr>
            <p:nvPr/>
          </p:nvSpPr>
          <p:spPr bwMode="gray">
            <a:xfrm>
              <a:off x="10795000" y="6657975"/>
              <a:ext cx="266700" cy="39687"/>
            </a:xfrm>
            <a:custGeom>
              <a:avLst/>
              <a:gdLst>
                <a:gd name="T0" fmla="*/ 0 w 295"/>
                <a:gd name="T1" fmla="*/ 0 h 45"/>
                <a:gd name="T2" fmla="*/ 295 w 295"/>
                <a:gd name="T3" fmla="*/ 0 h 45"/>
                <a:gd name="T4" fmla="*/ 295 w 295"/>
                <a:gd name="T5" fmla="*/ 45 h 45"/>
                <a:gd name="T6" fmla="*/ 0 w 295"/>
                <a:gd name="T7" fmla="*/ 45 h 45"/>
                <a:gd name="T8" fmla="*/ 0 w 295"/>
                <a:gd name="T9" fmla="*/ 0 h 45"/>
                <a:gd name="T10" fmla="*/ 0 w 295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5" h="45">
                  <a:moveTo>
                    <a:pt x="0" y="0"/>
                  </a:moveTo>
                  <a:cubicBezTo>
                    <a:pt x="0" y="0"/>
                    <a:pt x="0" y="0"/>
                    <a:pt x="295" y="0"/>
                  </a:cubicBezTo>
                  <a:cubicBezTo>
                    <a:pt x="295" y="0"/>
                    <a:pt x="295" y="0"/>
                    <a:pt x="295" y="45"/>
                  </a:cubicBezTo>
                  <a:cubicBezTo>
                    <a:pt x="295" y="45"/>
                    <a:pt x="295" y="45"/>
                    <a:pt x="0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4" name="Freeform 86"/>
            <p:cNvSpPr>
              <a:spLocks/>
            </p:cNvSpPr>
            <p:nvPr/>
          </p:nvSpPr>
          <p:spPr bwMode="gray">
            <a:xfrm>
              <a:off x="10795000" y="6494463"/>
              <a:ext cx="266700" cy="41275"/>
            </a:xfrm>
            <a:custGeom>
              <a:avLst/>
              <a:gdLst>
                <a:gd name="T0" fmla="*/ 295 w 295"/>
                <a:gd name="T1" fmla="*/ 0 h 45"/>
                <a:gd name="T2" fmla="*/ 295 w 295"/>
                <a:gd name="T3" fmla="*/ 45 h 45"/>
                <a:gd name="T4" fmla="*/ 0 w 295"/>
                <a:gd name="T5" fmla="*/ 45 h 45"/>
                <a:gd name="T6" fmla="*/ 0 w 295"/>
                <a:gd name="T7" fmla="*/ 0 h 45"/>
                <a:gd name="T8" fmla="*/ 295 w 295"/>
                <a:gd name="T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5" h="45">
                  <a:moveTo>
                    <a:pt x="295" y="0"/>
                  </a:moveTo>
                  <a:cubicBezTo>
                    <a:pt x="295" y="0"/>
                    <a:pt x="295" y="0"/>
                    <a:pt x="295" y="45"/>
                  </a:cubicBezTo>
                  <a:cubicBezTo>
                    <a:pt x="295" y="45"/>
                    <a:pt x="295" y="45"/>
                    <a:pt x="0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2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5" name="Freeform 87"/>
            <p:cNvSpPr>
              <a:spLocks/>
            </p:cNvSpPr>
            <p:nvPr/>
          </p:nvSpPr>
          <p:spPr bwMode="gray">
            <a:xfrm>
              <a:off x="10795000" y="6575425"/>
              <a:ext cx="266700" cy="41275"/>
            </a:xfrm>
            <a:custGeom>
              <a:avLst/>
              <a:gdLst>
                <a:gd name="T0" fmla="*/ 295 w 295"/>
                <a:gd name="T1" fmla="*/ 0 h 46"/>
                <a:gd name="T2" fmla="*/ 295 w 295"/>
                <a:gd name="T3" fmla="*/ 46 h 46"/>
                <a:gd name="T4" fmla="*/ 0 w 295"/>
                <a:gd name="T5" fmla="*/ 46 h 46"/>
                <a:gd name="T6" fmla="*/ 0 w 295"/>
                <a:gd name="T7" fmla="*/ 0 h 46"/>
                <a:gd name="T8" fmla="*/ 295 w 295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5" h="46">
                  <a:moveTo>
                    <a:pt x="295" y="0"/>
                  </a:moveTo>
                  <a:cubicBezTo>
                    <a:pt x="295" y="0"/>
                    <a:pt x="295" y="0"/>
                    <a:pt x="295" y="46"/>
                  </a:cubicBezTo>
                  <a:cubicBezTo>
                    <a:pt x="295" y="46"/>
                    <a:pt x="295" y="46"/>
                    <a:pt x="0" y="4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2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6" name="Freeform 88"/>
            <p:cNvSpPr>
              <a:spLocks/>
            </p:cNvSpPr>
            <p:nvPr/>
          </p:nvSpPr>
          <p:spPr bwMode="gray">
            <a:xfrm>
              <a:off x="10225088" y="6842125"/>
              <a:ext cx="876300" cy="39687"/>
            </a:xfrm>
            <a:custGeom>
              <a:avLst/>
              <a:gdLst>
                <a:gd name="T0" fmla="*/ 0 w 552"/>
                <a:gd name="T1" fmla="*/ 0 h 25"/>
                <a:gd name="T2" fmla="*/ 552 w 552"/>
                <a:gd name="T3" fmla="*/ 0 h 25"/>
                <a:gd name="T4" fmla="*/ 552 w 552"/>
                <a:gd name="T5" fmla="*/ 25 h 25"/>
                <a:gd name="T6" fmla="*/ 0 w 552"/>
                <a:gd name="T7" fmla="*/ 25 h 25"/>
                <a:gd name="T8" fmla="*/ 0 w 552"/>
                <a:gd name="T9" fmla="*/ 0 h 25"/>
                <a:gd name="T10" fmla="*/ 0 w 55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2" h="25">
                  <a:moveTo>
                    <a:pt x="0" y="0"/>
                  </a:moveTo>
                  <a:lnTo>
                    <a:pt x="552" y="0"/>
                  </a:lnTo>
                  <a:lnTo>
                    <a:pt x="552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7" name="Rectangle 89"/>
            <p:cNvSpPr>
              <a:spLocks noChangeArrowheads="1"/>
            </p:cNvSpPr>
            <p:nvPr/>
          </p:nvSpPr>
          <p:spPr bwMode="gray">
            <a:xfrm>
              <a:off x="10714038" y="6494463"/>
              <a:ext cx="39687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8" name="Rectangle 90"/>
            <p:cNvSpPr>
              <a:spLocks noChangeArrowheads="1"/>
            </p:cNvSpPr>
            <p:nvPr/>
          </p:nvSpPr>
          <p:spPr bwMode="gray">
            <a:xfrm>
              <a:off x="10714038" y="6575425"/>
              <a:ext cx="39687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9" name="Freeform 91"/>
            <p:cNvSpPr>
              <a:spLocks/>
            </p:cNvSpPr>
            <p:nvPr/>
          </p:nvSpPr>
          <p:spPr bwMode="gray">
            <a:xfrm>
              <a:off x="10448925" y="6392863"/>
              <a:ext cx="182562" cy="182562"/>
            </a:xfrm>
            <a:custGeom>
              <a:avLst/>
              <a:gdLst>
                <a:gd name="T0" fmla="*/ 204 w 204"/>
                <a:gd name="T1" fmla="*/ 204 h 204"/>
                <a:gd name="T2" fmla="*/ 0 w 204"/>
                <a:gd name="T3" fmla="*/ 204 h 204"/>
                <a:gd name="T4" fmla="*/ 0 w 204"/>
                <a:gd name="T5" fmla="*/ 0 h 204"/>
                <a:gd name="T6" fmla="*/ 204 w 204"/>
                <a:gd name="T7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204">
                  <a:moveTo>
                    <a:pt x="204" y="204"/>
                  </a:moveTo>
                  <a:cubicBezTo>
                    <a:pt x="0" y="204"/>
                    <a:pt x="0" y="204"/>
                    <a:pt x="0" y="20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3" y="0"/>
                    <a:pt x="204" y="92"/>
                    <a:pt x="204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23" name="Group 16"/>
          <p:cNvGrpSpPr>
            <a:grpSpLocks noChangeAspect="1"/>
          </p:cNvGrpSpPr>
          <p:nvPr/>
        </p:nvGrpSpPr>
        <p:grpSpPr bwMode="gray">
          <a:xfrm>
            <a:off x="2068643" y="3355768"/>
            <a:ext cx="645656" cy="370828"/>
            <a:chOff x="1389" y="2586"/>
            <a:chExt cx="1715" cy="985"/>
          </a:xfrm>
          <a:solidFill>
            <a:srgbClr val="00646E"/>
          </a:solidFill>
        </p:grpSpPr>
        <p:sp>
          <p:nvSpPr>
            <p:cNvPr id="9225" name="Freeform 17"/>
            <p:cNvSpPr>
              <a:spLocks noEditPoints="1"/>
            </p:cNvSpPr>
            <p:nvPr/>
          </p:nvSpPr>
          <p:spPr bwMode="gray">
            <a:xfrm>
              <a:off x="2114" y="2586"/>
              <a:ext cx="990" cy="985"/>
            </a:xfrm>
            <a:custGeom>
              <a:avLst/>
              <a:gdLst>
                <a:gd name="T0" fmla="*/ 374 w 419"/>
                <a:gd name="T1" fmla="*/ 232 h 417"/>
                <a:gd name="T2" fmla="*/ 371 w 419"/>
                <a:gd name="T3" fmla="*/ 131 h 417"/>
                <a:gd name="T4" fmla="*/ 347 w 419"/>
                <a:gd name="T5" fmla="*/ 92 h 417"/>
                <a:gd name="T6" fmla="*/ 185 w 419"/>
                <a:gd name="T7" fmla="*/ 9 h 417"/>
                <a:gd name="T8" fmla="*/ 139 w 419"/>
                <a:gd name="T9" fmla="*/ 12 h 417"/>
                <a:gd name="T10" fmla="*/ 55 w 419"/>
                <a:gd name="T11" fmla="*/ 69 h 417"/>
                <a:gd name="T12" fmla="*/ 9 w 419"/>
                <a:gd name="T13" fmla="*/ 45 h 417"/>
                <a:gd name="T14" fmla="*/ 0 w 419"/>
                <a:gd name="T15" fmla="*/ 63 h 417"/>
                <a:gd name="T16" fmla="*/ 6 w 419"/>
                <a:gd name="T17" fmla="*/ 73 h 417"/>
                <a:gd name="T18" fmla="*/ 15 w 419"/>
                <a:gd name="T19" fmla="*/ 73 h 417"/>
                <a:gd name="T20" fmla="*/ 75 w 419"/>
                <a:gd name="T21" fmla="*/ 109 h 417"/>
                <a:gd name="T22" fmla="*/ 117 w 419"/>
                <a:gd name="T23" fmla="*/ 185 h 417"/>
                <a:gd name="T24" fmla="*/ 154 w 419"/>
                <a:gd name="T25" fmla="*/ 185 h 417"/>
                <a:gd name="T26" fmla="*/ 178 w 419"/>
                <a:gd name="T27" fmla="*/ 209 h 417"/>
                <a:gd name="T28" fmla="*/ 178 w 419"/>
                <a:gd name="T29" fmla="*/ 230 h 417"/>
                <a:gd name="T30" fmla="*/ 166 w 419"/>
                <a:gd name="T31" fmla="*/ 251 h 417"/>
                <a:gd name="T32" fmla="*/ 146 w 419"/>
                <a:gd name="T33" fmla="*/ 262 h 417"/>
                <a:gd name="T34" fmla="*/ 147 w 419"/>
                <a:gd name="T35" fmla="*/ 289 h 417"/>
                <a:gd name="T36" fmla="*/ 258 w 419"/>
                <a:gd name="T37" fmla="*/ 346 h 417"/>
                <a:gd name="T38" fmla="*/ 245 w 419"/>
                <a:gd name="T39" fmla="*/ 370 h 417"/>
                <a:gd name="T40" fmla="*/ 253 w 419"/>
                <a:gd name="T41" fmla="*/ 401 h 417"/>
                <a:gd name="T42" fmla="*/ 274 w 419"/>
                <a:gd name="T43" fmla="*/ 412 h 417"/>
                <a:gd name="T44" fmla="*/ 302 w 419"/>
                <a:gd name="T45" fmla="*/ 403 h 417"/>
                <a:gd name="T46" fmla="*/ 350 w 419"/>
                <a:gd name="T47" fmla="*/ 324 h 417"/>
                <a:gd name="T48" fmla="*/ 368 w 419"/>
                <a:gd name="T49" fmla="*/ 276 h 417"/>
                <a:gd name="T50" fmla="*/ 410 w 419"/>
                <a:gd name="T51" fmla="*/ 274 h 417"/>
                <a:gd name="T52" fmla="*/ 419 w 419"/>
                <a:gd name="T53" fmla="*/ 256 h 417"/>
                <a:gd name="T54" fmla="*/ 374 w 419"/>
                <a:gd name="T55" fmla="*/ 232 h 417"/>
                <a:gd name="T56" fmla="*/ 312 w 419"/>
                <a:gd name="T57" fmla="*/ 330 h 417"/>
                <a:gd name="T58" fmla="*/ 246 w 419"/>
                <a:gd name="T59" fmla="*/ 297 h 417"/>
                <a:gd name="T60" fmla="*/ 249 w 419"/>
                <a:gd name="T61" fmla="*/ 290 h 417"/>
                <a:gd name="T62" fmla="*/ 285 w 419"/>
                <a:gd name="T63" fmla="*/ 275 h 417"/>
                <a:gd name="T64" fmla="*/ 333 w 419"/>
                <a:gd name="T65" fmla="*/ 295 h 417"/>
                <a:gd name="T66" fmla="*/ 312 w 419"/>
                <a:gd name="T67" fmla="*/ 330 h 417"/>
                <a:gd name="T68" fmla="*/ 209 w 419"/>
                <a:gd name="T69" fmla="*/ 160 h 417"/>
                <a:gd name="T70" fmla="*/ 86 w 419"/>
                <a:gd name="T71" fmla="*/ 85 h 417"/>
                <a:gd name="T72" fmla="*/ 156 w 419"/>
                <a:gd name="T73" fmla="*/ 37 h 417"/>
                <a:gd name="T74" fmla="*/ 170 w 419"/>
                <a:gd name="T75" fmla="*/ 36 h 417"/>
                <a:gd name="T76" fmla="*/ 333 w 419"/>
                <a:gd name="T77" fmla="*/ 120 h 417"/>
                <a:gd name="T78" fmla="*/ 340 w 419"/>
                <a:gd name="T79" fmla="*/ 132 h 417"/>
                <a:gd name="T80" fmla="*/ 343 w 419"/>
                <a:gd name="T81" fmla="*/ 217 h 417"/>
                <a:gd name="T82" fmla="*/ 209 w 419"/>
                <a:gd name="T83" fmla="*/ 16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9" h="417">
                  <a:moveTo>
                    <a:pt x="374" y="232"/>
                  </a:moveTo>
                  <a:cubicBezTo>
                    <a:pt x="371" y="131"/>
                    <a:pt x="371" y="131"/>
                    <a:pt x="371" y="131"/>
                  </a:cubicBezTo>
                  <a:cubicBezTo>
                    <a:pt x="370" y="112"/>
                    <a:pt x="364" y="101"/>
                    <a:pt x="347" y="92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68" y="0"/>
                    <a:pt x="155" y="1"/>
                    <a:pt x="139" y="12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43" y="73"/>
                    <a:pt x="62" y="84"/>
                    <a:pt x="75" y="109"/>
                  </a:cubicBezTo>
                  <a:cubicBezTo>
                    <a:pt x="117" y="185"/>
                    <a:pt x="117" y="185"/>
                    <a:pt x="117" y="185"/>
                  </a:cubicBezTo>
                  <a:cubicBezTo>
                    <a:pt x="154" y="185"/>
                    <a:pt x="154" y="185"/>
                    <a:pt x="154" y="185"/>
                  </a:cubicBezTo>
                  <a:cubicBezTo>
                    <a:pt x="168" y="185"/>
                    <a:pt x="178" y="196"/>
                    <a:pt x="178" y="209"/>
                  </a:cubicBezTo>
                  <a:cubicBezTo>
                    <a:pt x="178" y="230"/>
                    <a:pt x="178" y="230"/>
                    <a:pt x="178" y="230"/>
                  </a:cubicBezTo>
                  <a:cubicBezTo>
                    <a:pt x="178" y="238"/>
                    <a:pt x="174" y="246"/>
                    <a:pt x="166" y="251"/>
                  </a:cubicBezTo>
                  <a:cubicBezTo>
                    <a:pt x="146" y="262"/>
                    <a:pt x="146" y="262"/>
                    <a:pt x="146" y="262"/>
                  </a:cubicBezTo>
                  <a:cubicBezTo>
                    <a:pt x="147" y="271"/>
                    <a:pt x="147" y="278"/>
                    <a:pt x="147" y="289"/>
                  </a:cubicBezTo>
                  <a:cubicBezTo>
                    <a:pt x="258" y="346"/>
                    <a:pt x="258" y="346"/>
                    <a:pt x="258" y="346"/>
                  </a:cubicBezTo>
                  <a:cubicBezTo>
                    <a:pt x="245" y="370"/>
                    <a:pt x="245" y="370"/>
                    <a:pt x="245" y="370"/>
                  </a:cubicBezTo>
                  <a:cubicBezTo>
                    <a:pt x="239" y="383"/>
                    <a:pt x="242" y="395"/>
                    <a:pt x="253" y="401"/>
                  </a:cubicBezTo>
                  <a:cubicBezTo>
                    <a:pt x="274" y="412"/>
                    <a:pt x="274" y="412"/>
                    <a:pt x="274" y="412"/>
                  </a:cubicBezTo>
                  <a:cubicBezTo>
                    <a:pt x="284" y="417"/>
                    <a:pt x="295" y="413"/>
                    <a:pt x="302" y="403"/>
                  </a:cubicBezTo>
                  <a:cubicBezTo>
                    <a:pt x="350" y="324"/>
                    <a:pt x="350" y="324"/>
                    <a:pt x="350" y="324"/>
                  </a:cubicBezTo>
                  <a:cubicBezTo>
                    <a:pt x="362" y="300"/>
                    <a:pt x="365" y="294"/>
                    <a:pt x="368" y="276"/>
                  </a:cubicBezTo>
                  <a:cubicBezTo>
                    <a:pt x="410" y="274"/>
                    <a:pt x="410" y="274"/>
                    <a:pt x="410" y="274"/>
                  </a:cubicBezTo>
                  <a:cubicBezTo>
                    <a:pt x="419" y="256"/>
                    <a:pt x="419" y="256"/>
                    <a:pt x="419" y="256"/>
                  </a:cubicBezTo>
                  <a:lnTo>
                    <a:pt x="374" y="232"/>
                  </a:lnTo>
                  <a:close/>
                  <a:moveTo>
                    <a:pt x="312" y="330"/>
                  </a:moveTo>
                  <a:cubicBezTo>
                    <a:pt x="246" y="297"/>
                    <a:pt x="246" y="297"/>
                    <a:pt x="246" y="297"/>
                  </a:cubicBezTo>
                  <a:cubicBezTo>
                    <a:pt x="249" y="290"/>
                    <a:pt x="249" y="290"/>
                    <a:pt x="249" y="290"/>
                  </a:cubicBezTo>
                  <a:cubicBezTo>
                    <a:pt x="257" y="274"/>
                    <a:pt x="272" y="268"/>
                    <a:pt x="285" y="275"/>
                  </a:cubicBezTo>
                  <a:cubicBezTo>
                    <a:pt x="333" y="295"/>
                    <a:pt x="333" y="295"/>
                    <a:pt x="333" y="295"/>
                  </a:cubicBezTo>
                  <a:lnTo>
                    <a:pt x="312" y="330"/>
                  </a:lnTo>
                  <a:close/>
                  <a:moveTo>
                    <a:pt x="209" y="160"/>
                  </a:moveTo>
                  <a:cubicBezTo>
                    <a:pt x="86" y="85"/>
                    <a:pt x="86" y="85"/>
                    <a:pt x="86" y="85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63" y="33"/>
                    <a:pt x="163" y="33"/>
                    <a:pt x="170" y="36"/>
                  </a:cubicBezTo>
                  <a:cubicBezTo>
                    <a:pt x="333" y="120"/>
                    <a:pt x="333" y="120"/>
                    <a:pt x="333" y="120"/>
                  </a:cubicBezTo>
                  <a:cubicBezTo>
                    <a:pt x="340" y="123"/>
                    <a:pt x="340" y="124"/>
                    <a:pt x="340" y="132"/>
                  </a:cubicBezTo>
                  <a:cubicBezTo>
                    <a:pt x="343" y="217"/>
                    <a:pt x="343" y="217"/>
                    <a:pt x="343" y="217"/>
                  </a:cubicBezTo>
                  <a:lnTo>
                    <a:pt x="209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26" name="Freeform 18"/>
            <p:cNvSpPr>
              <a:spLocks noEditPoints="1"/>
            </p:cNvSpPr>
            <p:nvPr/>
          </p:nvSpPr>
          <p:spPr bwMode="gray">
            <a:xfrm>
              <a:off x="1389" y="2815"/>
              <a:ext cx="1089" cy="749"/>
            </a:xfrm>
            <a:custGeom>
              <a:avLst/>
              <a:gdLst>
                <a:gd name="T0" fmla="*/ 461 w 461"/>
                <a:gd name="T1" fmla="*/ 133 h 317"/>
                <a:gd name="T2" fmla="*/ 461 w 461"/>
                <a:gd name="T3" fmla="*/ 112 h 317"/>
                <a:gd name="T4" fmla="*/ 410 w 461"/>
                <a:gd name="T5" fmla="*/ 112 h 317"/>
                <a:gd name="T6" fmla="*/ 361 w 461"/>
                <a:gd name="T7" fmla="*/ 23 h 317"/>
                <a:gd name="T8" fmla="*/ 322 w 461"/>
                <a:gd name="T9" fmla="*/ 0 h 317"/>
                <a:gd name="T10" fmla="*/ 140 w 461"/>
                <a:gd name="T11" fmla="*/ 0 h 317"/>
                <a:gd name="T12" fmla="*/ 101 w 461"/>
                <a:gd name="T13" fmla="*/ 23 h 317"/>
                <a:gd name="T14" fmla="*/ 52 w 461"/>
                <a:gd name="T15" fmla="*/ 112 h 317"/>
                <a:gd name="T16" fmla="*/ 0 w 461"/>
                <a:gd name="T17" fmla="*/ 112 h 317"/>
                <a:gd name="T18" fmla="*/ 0 w 461"/>
                <a:gd name="T19" fmla="*/ 133 h 317"/>
                <a:gd name="T20" fmla="*/ 36 w 461"/>
                <a:gd name="T21" fmla="*/ 153 h 317"/>
                <a:gd name="T22" fmla="*/ 31 w 461"/>
                <a:gd name="T23" fmla="*/ 204 h 317"/>
                <a:gd name="T24" fmla="*/ 38 w 461"/>
                <a:gd name="T25" fmla="*/ 297 h 317"/>
                <a:gd name="T26" fmla="*/ 58 w 461"/>
                <a:gd name="T27" fmla="*/ 317 h 317"/>
                <a:gd name="T28" fmla="*/ 82 w 461"/>
                <a:gd name="T29" fmla="*/ 317 h 317"/>
                <a:gd name="T30" fmla="*/ 103 w 461"/>
                <a:gd name="T31" fmla="*/ 294 h 317"/>
                <a:gd name="T32" fmla="*/ 103 w 461"/>
                <a:gd name="T33" fmla="*/ 266 h 317"/>
                <a:gd name="T34" fmla="*/ 359 w 461"/>
                <a:gd name="T35" fmla="*/ 266 h 317"/>
                <a:gd name="T36" fmla="*/ 359 w 461"/>
                <a:gd name="T37" fmla="*/ 294 h 317"/>
                <a:gd name="T38" fmla="*/ 379 w 461"/>
                <a:gd name="T39" fmla="*/ 317 h 317"/>
                <a:gd name="T40" fmla="*/ 404 w 461"/>
                <a:gd name="T41" fmla="*/ 317 h 317"/>
                <a:gd name="T42" fmla="*/ 424 w 461"/>
                <a:gd name="T43" fmla="*/ 297 h 317"/>
                <a:gd name="T44" fmla="*/ 431 w 461"/>
                <a:gd name="T45" fmla="*/ 204 h 317"/>
                <a:gd name="T46" fmla="*/ 425 w 461"/>
                <a:gd name="T47" fmla="*/ 153 h 317"/>
                <a:gd name="T48" fmla="*/ 461 w 461"/>
                <a:gd name="T49" fmla="*/ 133 h 317"/>
                <a:gd name="T50" fmla="*/ 136 w 461"/>
                <a:gd name="T51" fmla="*/ 228 h 317"/>
                <a:gd name="T52" fmla="*/ 62 w 461"/>
                <a:gd name="T53" fmla="*/ 228 h 317"/>
                <a:gd name="T54" fmla="*/ 59 w 461"/>
                <a:gd name="T55" fmla="*/ 187 h 317"/>
                <a:gd name="T56" fmla="*/ 111 w 461"/>
                <a:gd name="T57" fmla="*/ 190 h 317"/>
                <a:gd name="T58" fmla="*/ 136 w 461"/>
                <a:gd name="T59" fmla="*/ 220 h 317"/>
                <a:gd name="T60" fmla="*/ 136 w 461"/>
                <a:gd name="T61" fmla="*/ 228 h 317"/>
                <a:gd name="T62" fmla="*/ 87 w 461"/>
                <a:gd name="T63" fmla="*/ 112 h 317"/>
                <a:gd name="T64" fmla="*/ 127 w 461"/>
                <a:gd name="T65" fmla="*/ 38 h 317"/>
                <a:gd name="T66" fmla="*/ 140 w 461"/>
                <a:gd name="T67" fmla="*/ 31 h 317"/>
                <a:gd name="T68" fmla="*/ 322 w 461"/>
                <a:gd name="T69" fmla="*/ 31 h 317"/>
                <a:gd name="T70" fmla="*/ 334 w 461"/>
                <a:gd name="T71" fmla="*/ 38 h 317"/>
                <a:gd name="T72" fmla="*/ 375 w 461"/>
                <a:gd name="T73" fmla="*/ 112 h 317"/>
                <a:gd name="T74" fmla="*/ 375 w 461"/>
                <a:gd name="T75" fmla="*/ 112 h 317"/>
                <a:gd name="T76" fmla="*/ 231 w 461"/>
                <a:gd name="T77" fmla="*/ 123 h 317"/>
                <a:gd name="T78" fmla="*/ 87 w 461"/>
                <a:gd name="T79" fmla="*/ 112 h 317"/>
                <a:gd name="T80" fmla="*/ 400 w 461"/>
                <a:gd name="T81" fmla="*/ 228 h 317"/>
                <a:gd name="T82" fmla="*/ 326 w 461"/>
                <a:gd name="T83" fmla="*/ 228 h 317"/>
                <a:gd name="T84" fmla="*/ 326 w 461"/>
                <a:gd name="T85" fmla="*/ 220 h 317"/>
                <a:gd name="T86" fmla="*/ 351 w 461"/>
                <a:gd name="T87" fmla="*/ 190 h 317"/>
                <a:gd name="T88" fmla="*/ 403 w 461"/>
                <a:gd name="T89" fmla="*/ 187 h 317"/>
                <a:gd name="T90" fmla="*/ 400 w 461"/>
                <a:gd name="T91" fmla="*/ 22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1" h="317">
                  <a:moveTo>
                    <a:pt x="461" y="133"/>
                  </a:moveTo>
                  <a:cubicBezTo>
                    <a:pt x="461" y="112"/>
                    <a:pt x="461" y="112"/>
                    <a:pt x="461" y="112"/>
                  </a:cubicBezTo>
                  <a:cubicBezTo>
                    <a:pt x="410" y="112"/>
                    <a:pt x="410" y="112"/>
                    <a:pt x="410" y="112"/>
                  </a:cubicBezTo>
                  <a:cubicBezTo>
                    <a:pt x="361" y="23"/>
                    <a:pt x="361" y="23"/>
                    <a:pt x="361" y="23"/>
                  </a:cubicBezTo>
                  <a:cubicBezTo>
                    <a:pt x="352" y="6"/>
                    <a:pt x="341" y="0"/>
                    <a:pt x="322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21" y="0"/>
                    <a:pt x="109" y="6"/>
                    <a:pt x="101" y="23"/>
                  </a:cubicBezTo>
                  <a:cubicBezTo>
                    <a:pt x="52" y="112"/>
                    <a:pt x="52" y="112"/>
                    <a:pt x="52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36" y="153"/>
                    <a:pt x="36" y="153"/>
                    <a:pt x="36" y="153"/>
                  </a:cubicBezTo>
                  <a:cubicBezTo>
                    <a:pt x="32" y="171"/>
                    <a:pt x="31" y="178"/>
                    <a:pt x="31" y="204"/>
                  </a:cubicBezTo>
                  <a:cubicBezTo>
                    <a:pt x="38" y="297"/>
                    <a:pt x="38" y="297"/>
                    <a:pt x="38" y="297"/>
                  </a:cubicBezTo>
                  <a:cubicBezTo>
                    <a:pt x="39" y="309"/>
                    <a:pt x="47" y="317"/>
                    <a:pt x="58" y="317"/>
                  </a:cubicBezTo>
                  <a:cubicBezTo>
                    <a:pt x="82" y="317"/>
                    <a:pt x="82" y="317"/>
                    <a:pt x="82" y="317"/>
                  </a:cubicBezTo>
                  <a:cubicBezTo>
                    <a:pt x="95" y="317"/>
                    <a:pt x="103" y="308"/>
                    <a:pt x="103" y="294"/>
                  </a:cubicBezTo>
                  <a:cubicBezTo>
                    <a:pt x="103" y="266"/>
                    <a:pt x="103" y="266"/>
                    <a:pt x="103" y="266"/>
                  </a:cubicBezTo>
                  <a:cubicBezTo>
                    <a:pt x="359" y="266"/>
                    <a:pt x="359" y="266"/>
                    <a:pt x="359" y="266"/>
                  </a:cubicBezTo>
                  <a:cubicBezTo>
                    <a:pt x="359" y="294"/>
                    <a:pt x="359" y="294"/>
                    <a:pt x="359" y="294"/>
                  </a:cubicBezTo>
                  <a:cubicBezTo>
                    <a:pt x="359" y="308"/>
                    <a:pt x="367" y="317"/>
                    <a:pt x="379" y="317"/>
                  </a:cubicBezTo>
                  <a:cubicBezTo>
                    <a:pt x="404" y="317"/>
                    <a:pt x="404" y="317"/>
                    <a:pt x="404" y="317"/>
                  </a:cubicBezTo>
                  <a:cubicBezTo>
                    <a:pt x="415" y="317"/>
                    <a:pt x="423" y="309"/>
                    <a:pt x="424" y="297"/>
                  </a:cubicBezTo>
                  <a:cubicBezTo>
                    <a:pt x="431" y="204"/>
                    <a:pt x="431" y="204"/>
                    <a:pt x="431" y="204"/>
                  </a:cubicBezTo>
                  <a:cubicBezTo>
                    <a:pt x="431" y="178"/>
                    <a:pt x="430" y="171"/>
                    <a:pt x="425" y="153"/>
                  </a:cubicBezTo>
                  <a:lnTo>
                    <a:pt x="461" y="133"/>
                  </a:lnTo>
                  <a:close/>
                  <a:moveTo>
                    <a:pt x="136" y="228"/>
                  </a:moveTo>
                  <a:cubicBezTo>
                    <a:pt x="62" y="228"/>
                    <a:pt x="62" y="228"/>
                    <a:pt x="62" y="228"/>
                  </a:cubicBezTo>
                  <a:cubicBezTo>
                    <a:pt x="59" y="187"/>
                    <a:pt x="59" y="187"/>
                    <a:pt x="59" y="187"/>
                  </a:cubicBezTo>
                  <a:cubicBezTo>
                    <a:pt x="111" y="190"/>
                    <a:pt x="111" y="190"/>
                    <a:pt x="111" y="190"/>
                  </a:cubicBezTo>
                  <a:cubicBezTo>
                    <a:pt x="126" y="191"/>
                    <a:pt x="136" y="203"/>
                    <a:pt x="136" y="220"/>
                  </a:cubicBezTo>
                  <a:lnTo>
                    <a:pt x="136" y="228"/>
                  </a:lnTo>
                  <a:close/>
                  <a:moveTo>
                    <a:pt x="87" y="112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31" y="31"/>
                    <a:pt x="132" y="31"/>
                    <a:pt x="140" y="31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30" y="31"/>
                    <a:pt x="331" y="31"/>
                    <a:pt x="334" y="38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231" y="123"/>
                    <a:pt x="231" y="123"/>
                    <a:pt x="231" y="123"/>
                  </a:cubicBezTo>
                  <a:lnTo>
                    <a:pt x="87" y="112"/>
                  </a:lnTo>
                  <a:close/>
                  <a:moveTo>
                    <a:pt x="400" y="228"/>
                  </a:moveTo>
                  <a:cubicBezTo>
                    <a:pt x="326" y="228"/>
                    <a:pt x="326" y="228"/>
                    <a:pt x="326" y="228"/>
                  </a:cubicBezTo>
                  <a:cubicBezTo>
                    <a:pt x="326" y="220"/>
                    <a:pt x="326" y="220"/>
                    <a:pt x="326" y="220"/>
                  </a:cubicBezTo>
                  <a:cubicBezTo>
                    <a:pt x="326" y="203"/>
                    <a:pt x="336" y="191"/>
                    <a:pt x="351" y="190"/>
                  </a:cubicBezTo>
                  <a:cubicBezTo>
                    <a:pt x="403" y="187"/>
                    <a:pt x="403" y="187"/>
                    <a:pt x="403" y="187"/>
                  </a:cubicBezTo>
                  <a:lnTo>
                    <a:pt x="400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18" name="Gerade Verbindung 17"/>
          <p:cNvCxnSpPr>
            <a:cxnSpLocks/>
          </p:cNvCxnSpPr>
          <p:nvPr/>
        </p:nvCxnSpPr>
        <p:spPr bwMode="auto">
          <a:xfrm>
            <a:off x="5676179" y="1439999"/>
            <a:ext cx="0" cy="4781414"/>
          </a:xfrm>
          <a:prstGeom prst="line">
            <a:avLst/>
          </a:prstGeom>
          <a:noFill/>
          <a:ln w="19050">
            <a:solidFill>
              <a:srgbClr val="AF235F"/>
            </a:solidFill>
            <a:prstDash val="sysDot"/>
          </a:ln>
          <a:effectLst/>
          <a:extLst/>
        </p:spPr>
      </p:cxnSp>
      <p:sp>
        <p:nvSpPr>
          <p:cNvPr id="5" name="Rechteck 4"/>
          <p:cNvSpPr/>
          <p:nvPr/>
        </p:nvSpPr>
        <p:spPr bwMode="auto">
          <a:xfrm>
            <a:off x="627065" y="1825466"/>
            <a:ext cx="4682525" cy="2093908"/>
          </a:xfrm>
          <a:custGeom>
            <a:avLst/>
            <a:gdLst/>
            <a:ahLst/>
            <a:cxnLst/>
            <a:rect l="l" t="t" r="r" b="b"/>
            <a:pathLst>
              <a:path w="4682525" h="2093908">
                <a:moveTo>
                  <a:pt x="0" y="0"/>
                </a:moveTo>
                <a:lnTo>
                  <a:pt x="4682525" y="0"/>
                </a:lnTo>
                <a:lnTo>
                  <a:pt x="4682525" y="443279"/>
                </a:lnTo>
                <a:lnTo>
                  <a:pt x="1179569" y="443279"/>
                </a:lnTo>
                <a:lnTo>
                  <a:pt x="1179569" y="2093908"/>
                </a:lnTo>
                <a:lnTo>
                  <a:pt x="0" y="2093908"/>
                </a:lnTo>
                <a:lnTo>
                  <a:pt x="0" y="443279"/>
                </a:lnTo>
                <a:lnTo>
                  <a:pt x="0" y="374418"/>
                </a:lnTo>
                <a:close/>
              </a:path>
            </a:pathLst>
          </a:custGeom>
          <a:noFill/>
          <a:ln w="19050">
            <a:solidFill>
              <a:srgbClr val="AF235F"/>
            </a:solidFill>
            <a:prstDash val="sysDot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/>
          </a:p>
        </p:txBody>
      </p:sp>
      <p:cxnSp>
        <p:nvCxnSpPr>
          <p:cNvPr id="33" name="Gerade Verbindung 32"/>
          <p:cNvCxnSpPr/>
          <p:nvPr/>
        </p:nvCxnSpPr>
        <p:spPr bwMode="auto">
          <a:xfrm>
            <a:off x="5323725" y="2042867"/>
            <a:ext cx="352454" cy="0"/>
          </a:xfrm>
          <a:prstGeom prst="line">
            <a:avLst/>
          </a:prstGeom>
          <a:noFill/>
          <a:ln w="19050">
            <a:solidFill>
              <a:srgbClr val="AF235F"/>
            </a:solidFill>
            <a:prstDash val="sysDot"/>
          </a:ln>
          <a:effectLst/>
          <a:extLst/>
        </p:spPr>
      </p:cxnSp>
      <p:grpSp>
        <p:nvGrpSpPr>
          <p:cNvPr id="34" name="Gruppieren 33"/>
          <p:cNvGrpSpPr>
            <a:grpSpLocks/>
          </p:cNvGrpSpPr>
          <p:nvPr/>
        </p:nvGrpSpPr>
        <p:grpSpPr>
          <a:xfrm>
            <a:off x="878768" y="2377790"/>
            <a:ext cx="686054" cy="108826"/>
            <a:chOff x="-1931988" y="2904447"/>
            <a:chExt cx="1481138" cy="234950"/>
          </a:xfrm>
        </p:grpSpPr>
        <p:sp>
          <p:nvSpPr>
            <p:cNvPr id="373" name="Freeform 52"/>
            <p:cNvSpPr>
              <a:spLocks/>
            </p:cNvSpPr>
            <p:nvPr userDrawn="1"/>
          </p:nvSpPr>
          <p:spPr bwMode="gray">
            <a:xfrm>
              <a:off x="-1931988" y="2904447"/>
              <a:ext cx="173038" cy="234950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4" name="Freeform 53"/>
            <p:cNvSpPr>
              <a:spLocks/>
            </p:cNvSpPr>
            <p:nvPr userDrawn="1"/>
          </p:nvSpPr>
          <p:spPr bwMode="gray">
            <a:xfrm>
              <a:off x="-1722438" y="2909209"/>
              <a:ext cx="61913" cy="225425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5" name="Freeform 54"/>
            <p:cNvSpPr>
              <a:spLocks/>
            </p:cNvSpPr>
            <p:nvPr userDrawn="1"/>
          </p:nvSpPr>
          <p:spPr bwMode="gray">
            <a:xfrm>
              <a:off x="-1722438" y="2909209"/>
              <a:ext cx="61913" cy="69850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6" name="Freeform 55"/>
            <p:cNvSpPr>
              <a:spLocks/>
            </p:cNvSpPr>
            <p:nvPr userDrawn="1"/>
          </p:nvSpPr>
          <p:spPr bwMode="gray">
            <a:xfrm>
              <a:off x="-1601788" y="2909209"/>
              <a:ext cx="163513" cy="225425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7" name="Freeform 56"/>
            <p:cNvSpPr>
              <a:spLocks/>
            </p:cNvSpPr>
            <p:nvPr userDrawn="1"/>
          </p:nvSpPr>
          <p:spPr bwMode="gray">
            <a:xfrm>
              <a:off x="-1397000" y="2909209"/>
              <a:ext cx="274638" cy="22701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8" name="Freeform 57"/>
            <p:cNvSpPr>
              <a:spLocks/>
            </p:cNvSpPr>
            <p:nvPr userDrawn="1"/>
          </p:nvSpPr>
          <p:spPr bwMode="gray">
            <a:xfrm>
              <a:off x="-1065213" y="2909209"/>
              <a:ext cx="165100" cy="225425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9" name="Freeform 58"/>
            <p:cNvSpPr>
              <a:spLocks/>
            </p:cNvSpPr>
            <p:nvPr userDrawn="1"/>
          </p:nvSpPr>
          <p:spPr bwMode="gray">
            <a:xfrm>
              <a:off x="-858838" y="2909209"/>
              <a:ext cx="195263" cy="225425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0" name="Freeform 59"/>
            <p:cNvSpPr>
              <a:spLocks/>
            </p:cNvSpPr>
            <p:nvPr userDrawn="1"/>
          </p:nvSpPr>
          <p:spPr bwMode="gray">
            <a:xfrm>
              <a:off x="-623888" y="2904447"/>
              <a:ext cx="173038" cy="234950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170155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1" name="Objekt 2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989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5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0" name="Rectangle 2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400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grpSp>
        <p:nvGrpSpPr>
          <p:cNvPr id="3" name="Gruppieren 137"/>
          <p:cNvGrpSpPr/>
          <p:nvPr>
            <p:custDataLst>
              <p:tags r:id="rId4"/>
            </p:custDataLst>
          </p:nvPr>
        </p:nvGrpSpPr>
        <p:grpSpPr bwMode="gray">
          <a:xfrm>
            <a:off x="4395064" y="2885172"/>
            <a:ext cx="3391770" cy="3391770"/>
            <a:chOff x="4403290" y="1889581"/>
            <a:chExt cx="3391770" cy="3391770"/>
          </a:xfrm>
        </p:grpSpPr>
        <p:sp>
          <p:nvSpPr>
            <p:cNvPr id="165" name="Textfeld 164"/>
            <p:cNvSpPr txBox="1">
              <a:spLocks/>
            </p:cNvSpPr>
            <p:nvPr/>
          </p:nvSpPr>
          <p:spPr bwMode="gray">
            <a:xfrm>
              <a:off x="4535153" y="2021444"/>
              <a:ext cx="3128044" cy="31280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>
              <a:prstTxWarp prst="textCircle">
                <a:avLst>
                  <a:gd name="adj" fmla="val 13694565"/>
                </a:avLst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800" b="1" spc="30" dirty="0" smtClean="0">
                  <a:solidFill>
                    <a:schemeClr val="bg1"/>
                  </a:solidFill>
                  <a:latin typeface="Siemens Slab" pitchFamily="2" charset="0"/>
                </a:rPr>
                <a:t>100010110110101010101101011011010101011011010100101001011010011011001001101010110110001101</a:t>
              </a:r>
            </a:p>
          </p:txBody>
        </p:sp>
        <p:sp>
          <p:nvSpPr>
            <p:cNvPr id="166" name="Textfeld 165"/>
            <p:cNvSpPr txBox="1">
              <a:spLocks/>
            </p:cNvSpPr>
            <p:nvPr/>
          </p:nvSpPr>
          <p:spPr bwMode="gray">
            <a:xfrm>
              <a:off x="4729422" y="2215713"/>
              <a:ext cx="2739506" cy="27395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>
              <a:prstTxWarp prst="textCircle">
                <a:avLst>
                  <a:gd name="adj" fmla="val 1590816"/>
                </a:avLst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600" b="1" spc="30" dirty="0" smtClean="0">
                  <a:solidFill>
                    <a:schemeClr val="bg1"/>
                  </a:solidFill>
                  <a:latin typeface="Siemens Slab" pitchFamily="2" charset="0"/>
                </a:rPr>
                <a:t>010110010110101011100101101101010101001011011010100101101001010110101101</a:t>
              </a:r>
            </a:p>
          </p:txBody>
        </p:sp>
        <p:sp>
          <p:nvSpPr>
            <p:cNvPr id="167" name="Textfeld 166"/>
            <p:cNvSpPr txBox="1">
              <a:spLocks/>
            </p:cNvSpPr>
            <p:nvPr/>
          </p:nvSpPr>
          <p:spPr bwMode="gray">
            <a:xfrm>
              <a:off x="4911377" y="2397668"/>
              <a:ext cx="2375596" cy="23755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>
              <a:prstTxWarp prst="textCircle">
                <a:avLst>
                  <a:gd name="adj" fmla="val 13158586"/>
                </a:avLst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b="1" spc="30" dirty="0" smtClean="0">
                  <a:solidFill>
                    <a:schemeClr val="bg1"/>
                  </a:solidFill>
                  <a:latin typeface="Siemens Slab" pitchFamily="2" charset="0"/>
                </a:rPr>
                <a:t>010110110101010110110101010101010010110110101011001010101010110101111010001001001101</a:t>
              </a:r>
            </a:p>
          </p:txBody>
        </p:sp>
        <p:sp>
          <p:nvSpPr>
            <p:cNvPr id="168" name="Textfeld 167"/>
            <p:cNvSpPr txBox="1">
              <a:spLocks/>
            </p:cNvSpPr>
            <p:nvPr/>
          </p:nvSpPr>
          <p:spPr bwMode="gray">
            <a:xfrm>
              <a:off x="4403290" y="1889581"/>
              <a:ext cx="3391770" cy="33917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>
              <a:prstTxWarp prst="textCircle">
                <a:avLst>
                  <a:gd name="adj" fmla="val 6005057"/>
                </a:avLst>
              </a:prstTxWarp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100" b="1" spc="30" dirty="0" smtClean="0">
                  <a:solidFill>
                    <a:schemeClr val="bg1"/>
                  </a:solidFill>
                  <a:latin typeface="Siemens Slab" pitchFamily="2" charset="0"/>
                </a:rPr>
                <a:t>1000101101101010011011001001101010110110001101</a:t>
              </a:r>
            </a:p>
          </p:txBody>
        </p:sp>
      </p:grpSp>
      <p:grpSp>
        <p:nvGrpSpPr>
          <p:cNvPr id="4" name="Gruppieren 9"/>
          <p:cNvGrpSpPr/>
          <p:nvPr>
            <p:custDataLst>
              <p:tags r:id="rId5"/>
            </p:custDataLst>
          </p:nvPr>
        </p:nvGrpSpPr>
        <p:grpSpPr bwMode="gray">
          <a:xfrm>
            <a:off x="2237394" y="3767839"/>
            <a:ext cx="7441145" cy="1392558"/>
            <a:chOff x="6684013" y="4762262"/>
            <a:chExt cx="5512053" cy="1014049"/>
          </a:xfrm>
          <a:solidFill>
            <a:srgbClr val="D9D9D9">
              <a:alpha val="69804"/>
            </a:srgbClr>
          </a:solidFill>
        </p:grpSpPr>
        <p:grpSp>
          <p:nvGrpSpPr>
            <p:cNvPr id="5" name="Gruppieren 10"/>
            <p:cNvGrpSpPr/>
            <p:nvPr>
              <p:custDataLst>
                <p:tags r:id="rId8"/>
              </p:custDataLst>
            </p:nvPr>
          </p:nvGrpSpPr>
          <p:grpSpPr bwMode="gray">
            <a:xfrm>
              <a:off x="7536358" y="5132984"/>
              <a:ext cx="4623704" cy="116927"/>
              <a:chOff x="7536358" y="4944067"/>
              <a:chExt cx="4623704" cy="116927"/>
            </a:xfrm>
            <a:grpFill/>
          </p:grpSpPr>
          <p:sp>
            <p:nvSpPr>
              <p:cNvPr id="141" name="Freeform 889"/>
              <p:cNvSpPr>
                <a:spLocks noEditPoints="1"/>
              </p:cNvSpPr>
              <p:nvPr/>
            </p:nvSpPr>
            <p:spPr bwMode="gray">
              <a:xfrm>
                <a:off x="7536358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2" name="Freeform 890"/>
              <p:cNvSpPr>
                <a:spLocks/>
              </p:cNvSpPr>
              <p:nvPr/>
            </p:nvSpPr>
            <p:spPr bwMode="gray">
              <a:xfrm>
                <a:off x="7737391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3" name="Freeform 891"/>
              <p:cNvSpPr>
                <a:spLocks noEditPoints="1"/>
              </p:cNvSpPr>
              <p:nvPr/>
            </p:nvSpPr>
            <p:spPr bwMode="gray">
              <a:xfrm>
                <a:off x="7934316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4" name="Freeform 892"/>
              <p:cNvSpPr>
                <a:spLocks/>
              </p:cNvSpPr>
              <p:nvPr/>
            </p:nvSpPr>
            <p:spPr bwMode="gray">
              <a:xfrm>
                <a:off x="8135350" y="4948170"/>
                <a:ext cx="69747" cy="112824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5" name="Freeform 893"/>
              <p:cNvSpPr>
                <a:spLocks/>
              </p:cNvSpPr>
              <p:nvPr/>
            </p:nvSpPr>
            <p:spPr bwMode="gray">
              <a:xfrm>
                <a:off x="8332277" y="4948170"/>
                <a:ext cx="73846" cy="112824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6" name="Freeform 894"/>
              <p:cNvSpPr>
                <a:spLocks/>
              </p:cNvSpPr>
              <p:nvPr/>
            </p:nvSpPr>
            <p:spPr bwMode="gray">
              <a:xfrm>
                <a:off x="8529205" y="4948170"/>
                <a:ext cx="73846" cy="112824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7" name="Freeform 895"/>
              <p:cNvSpPr>
                <a:spLocks noEditPoints="1"/>
              </p:cNvSpPr>
              <p:nvPr/>
            </p:nvSpPr>
            <p:spPr bwMode="gray">
              <a:xfrm>
                <a:off x="8722029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8" name="Freeform 896"/>
              <p:cNvSpPr>
                <a:spLocks/>
              </p:cNvSpPr>
              <p:nvPr/>
            </p:nvSpPr>
            <p:spPr bwMode="gray">
              <a:xfrm>
                <a:off x="8923062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9" name="Freeform 897"/>
              <p:cNvSpPr>
                <a:spLocks noEditPoints="1"/>
              </p:cNvSpPr>
              <p:nvPr/>
            </p:nvSpPr>
            <p:spPr bwMode="gray">
              <a:xfrm>
                <a:off x="9117936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0" name="Freeform 898"/>
              <p:cNvSpPr>
                <a:spLocks noEditPoints="1"/>
              </p:cNvSpPr>
              <p:nvPr/>
            </p:nvSpPr>
            <p:spPr bwMode="gray">
              <a:xfrm>
                <a:off x="9318967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1" name="Freeform 899"/>
              <p:cNvSpPr>
                <a:spLocks/>
              </p:cNvSpPr>
              <p:nvPr/>
            </p:nvSpPr>
            <p:spPr bwMode="gray">
              <a:xfrm>
                <a:off x="9517948" y="4948170"/>
                <a:ext cx="71797" cy="112824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2" name="Freeform 900"/>
              <p:cNvSpPr>
                <a:spLocks/>
              </p:cNvSpPr>
              <p:nvPr/>
            </p:nvSpPr>
            <p:spPr bwMode="gray">
              <a:xfrm>
                <a:off x="9716928" y="4948170"/>
                <a:ext cx="73846" cy="112824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3" name="Freeform 901"/>
              <p:cNvSpPr>
                <a:spLocks noEditPoints="1"/>
              </p:cNvSpPr>
              <p:nvPr/>
            </p:nvSpPr>
            <p:spPr bwMode="gray">
              <a:xfrm>
                <a:off x="9909750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4" name="Freeform 902"/>
              <p:cNvSpPr>
                <a:spLocks/>
              </p:cNvSpPr>
              <p:nvPr/>
            </p:nvSpPr>
            <p:spPr bwMode="gray">
              <a:xfrm>
                <a:off x="10110783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5" name="Freeform 903"/>
              <p:cNvSpPr>
                <a:spLocks noEditPoints="1"/>
              </p:cNvSpPr>
              <p:nvPr/>
            </p:nvSpPr>
            <p:spPr bwMode="gray">
              <a:xfrm>
                <a:off x="10303605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6" name="Freeform 904"/>
              <p:cNvSpPr>
                <a:spLocks/>
              </p:cNvSpPr>
              <p:nvPr/>
            </p:nvSpPr>
            <p:spPr bwMode="gray">
              <a:xfrm>
                <a:off x="10504636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7" name="Freeform 905"/>
              <p:cNvSpPr>
                <a:spLocks/>
              </p:cNvSpPr>
              <p:nvPr/>
            </p:nvSpPr>
            <p:spPr bwMode="gray">
              <a:xfrm>
                <a:off x="10705667" y="4948170"/>
                <a:ext cx="69747" cy="112824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8" name="Freeform 906"/>
              <p:cNvSpPr>
                <a:spLocks noEditPoints="1"/>
              </p:cNvSpPr>
              <p:nvPr/>
            </p:nvSpPr>
            <p:spPr bwMode="gray">
              <a:xfrm>
                <a:off x="10900543" y="4944067"/>
                <a:ext cx="86155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9" name="Freeform 907"/>
              <p:cNvSpPr>
                <a:spLocks noEditPoints="1"/>
              </p:cNvSpPr>
              <p:nvPr/>
            </p:nvSpPr>
            <p:spPr bwMode="gray">
              <a:xfrm>
                <a:off x="11097468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0" name="Freeform 908"/>
              <p:cNvSpPr>
                <a:spLocks noEditPoints="1"/>
              </p:cNvSpPr>
              <p:nvPr/>
            </p:nvSpPr>
            <p:spPr bwMode="gray">
              <a:xfrm>
                <a:off x="11294396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1" name="Freeform 909"/>
              <p:cNvSpPr>
                <a:spLocks/>
              </p:cNvSpPr>
              <p:nvPr/>
            </p:nvSpPr>
            <p:spPr bwMode="gray">
              <a:xfrm>
                <a:off x="11495429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2" name="Freeform 910"/>
              <p:cNvSpPr>
                <a:spLocks noEditPoints="1"/>
              </p:cNvSpPr>
              <p:nvPr/>
            </p:nvSpPr>
            <p:spPr bwMode="gray">
              <a:xfrm>
                <a:off x="11688253" y="4944067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3" name="Freeform 911"/>
              <p:cNvSpPr>
                <a:spLocks/>
              </p:cNvSpPr>
              <p:nvPr/>
            </p:nvSpPr>
            <p:spPr bwMode="gray">
              <a:xfrm>
                <a:off x="11889284" y="4948170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4" name="Freeform 912"/>
              <p:cNvSpPr>
                <a:spLocks/>
              </p:cNvSpPr>
              <p:nvPr/>
            </p:nvSpPr>
            <p:spPr bwMode="gray">
              <a:xfrm>
                <a:off x="12090315" y="4948170"/>
                <a:ext cx="69747" cy="112824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8" name="Gruppieren 11"/>
            <p:cNvGrpSpPr/>
            <p:nvPr>
              <p:custDataLst>
                <p:tags r:id="rId9"/>
              </p:custDataLst>
            </p:nvPr>
          </p:nvGrpSpPr>
          <p:grpSpPr bwMode="gray">
            <a:xfrm>
              <a:off x="6684013" y="5343594"/>
              <a:ext cx="5177559" cy="79785"/>
              <a:chOff x="4300063" y="3282246"/>
              <a:chExt cx="3317581" cy="51123"/>
            </a:xfrm>
            <a:grpFill/>
          </p:grpSpPr>
          <p:sp>
            <p:nvSpPr>
              <p:cNvPr id="102" name="Freeform 886"/>
              <p:cNvSpPr>
                <a:spLocks/>
              </p:cNvSpPr>
              <p:nvPr/>
            </p:nvSpPr>
            <p:spPr bwMode="gray">
              <a:xfrm>
                <a:off x="4300063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3" name="Freeform 887"/>
              <p:cNvSpPr>
                <a:spLocks noEditPoints="1"/>
              </p:cNvSpPr>
              <p:nvPr/>
            </p:nvSpPr>
            <p:spPr bwMode="gray">
              <a:xfrm>
                <a:off x="43843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4" name="Freeform 888"/>
              <p:cNvSpPr>
                <a:spLocks/>
              </p:cNvSpPr>
              <p:nvPr/>
            </p:nvSpPr>
            <p:spPr bwMode="gray">
              <a:xfrm>
                <a:off x="44722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5" name="Freeform 889"/>
              <p:cNvSpPr>
                <a:spLocks noEditPoints="1"/>
              </p:cNvSpPr>
              <p:nvPr/>
            </p:nvSpPr>
            <p:spPr bwMode="gray">
              <a:xfrm>
                <a:off x="45574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6" name="Freeform 890"/>
              <p:cNvSpPr>
                <a:spLocks/>
              </p:cNvSpPr>
              <p:nvPr/>
            </p:nvSpPr>
            <p:spPr bwMode="gray">
              <a:xfrm>
                <a:off x="4645364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7" name="Freeform 891"/>
              <p:cNvSpPr>
                <a:spLocks noEditPoints="1"/>
              </p:cNvSpPr>
              <p:nvPr/>
            </p:nvSpPr>
            <p:spPr bwMode="gray">
              <a:xfrm>
                <a:off x="47314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8" name="Freeform 892"/>
              <p:cNvSpPr>
                <a:spLocks/>
              </p:cNvSpPr>
              <p:nvPr/>
            </p:nvSpPr>
            <p:spPr bwMode="gray">
              <a:xfrm>
                <a:off x="4819360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9" name="Freeform 893"/>
              <p:cNvSpPr>
                <a:spLocks/>
              </p:cNvSpPr>
              <p:nvPr/>
            </p:nvSpPr>
            <p:spPr bwMode="gray">
              <a:xfrm>
                <a:off x="4905461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0" name="Freeform 894"/>
              <p:cNvSpPr>
                <a:spLocks/>
              </p:cNvSpPr>
              <p:nvPr/>
            </p:nvSpPr>
            <p:spPr bwMode="gray">
              <a:xfrm>
                <a:off x="4991562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1" name="Freeform 895"/>
              <p:cNvSpPr>
                <a:spLocks noEditPoints="1"/>
              </p:cNvSpPr>
              <p:nvPr/>
            </p:nvSpPr>
            <p:spPr bwMode="gray">
              <a:xfrm>
                <a:off x="50758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2" name="Freeform 896"/>
              <p:cNvSpPr>
                <a:spLocks/>
              </p:cNvSpPr>
              <p:nvPr/>
            </p:nvSpPr>
            <p:spPr bwMode="gray">
              <a:xfrm>
                <a:off x="51637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3" name="Freeform 897"/>
              <p:cNvSpPr>
                <a:spLocks noEditPoints="1"/>
              </p:cNvSpPr>
              <p:nvPr/>
            </p:nvSpPr>
            <p:spPr bwMode="gray">
              <a:xfrm>
                <a:off x="52489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4" name="Freeform 898"/>
              <p:cNvSpPr>
                <a:spLocks noEditPoints="1"/>
              </p:cNvSpPr>
              <p:nvPr/>
            </p:nvSpPr>
            <p:spPr bwMode="gray">
              <a:xfrm>
                <a:off x="5336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5" name="Freeform 899"/>
              <p:cNvSpPr>
                <a:spLocks/>
              </p:cNvSpPr>
              <p:nvPr/>
            </p:nvSpPr>
            <p:spPr bwMode="gray">
              <a:xfrm>
                <a:off x="5423862" y="3284040"/>
                <a:ext cx="31391" cy="49329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6" name="Freeform 900"/>
              <p:cNvSpPr>
                <a:spLocks/>
              </p:cNvSpPr>
              <p:nvPr/>
            </p:nvSpPr>
            <p:spPr bwMode="gray">
              <a:xfrm>
                <a:off x="5510860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7" name="Freeform 901"/>
              <p:cNvSpPr>
                <a:spLocks noEditPoints="1"/>
              </p:cNvSpPr>
              <p:nvPr/>
            </p:nvSpPr>
            <p:spPr bwMode="gray">
              <a:xfrm>
                <a:off x="55951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8" name="Freeform 902"/>
              <p:cNvSpPr>
                <a:spLocks/>
              </p:cNvSpPr>
              <p:nvPr/>
            </p:nvSpPr>
            <p:spPr bwMode="gray">
              <a:xfrm>
                <a:off x="5683062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9" name="Freeform 903"/>
              <p:cNvSpPr>
                <a:spLocks noEditPoints="1"/>
              </p:cNvSpPr>
              <p:nvPr/>
            </p:nvSpPr>
            <p:spPr bwMode="gray">
              <a:xfrm>
                <a:off x="57673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0" name="Freeform 904"/>
              <p:cNvSpPr>
                <a:spLocks/>
              </p:cNvSpPr>
              <p:nvPr/>
            </p:nvSpPr>
            <p:spPr bwMode="gray">
              <a:xfrm>
                <a:off x="5855263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1" name="Freeform 905"/>
              <p:cNvSpPr>
                <a:spLocks/>
              </p:cNvSpPr>
              <p:nvPr/>
            </p:nvSpPr>
            <p:spPr bwMode="gray">
              <a:xfrm>
                <a:off x="5943158" y="3284040"/>
                <a:ext cx="30495" cy="49329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2" name="Freeform 906"/>
              <p:cNvSpPr>
                <a:spLocks noEditPoints="1"/>
              </p:cNvSpPr>
              <p:nvPr/>
            </p:nvSpPr>
            <p:spPr bwMode="gray">
              <a:xfrm>
                <a:off x="6028362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3" name="Freeform 907"/>
              <p:cNvSpPr>
                <a:spLocks noEditPoints="1"/>
              </p:cNvSpPr>
              <p:nvPr/>
            </p:nvSpPr>
            <p:spPr bwMode="gray">
              <a:xfrm>
                <a:off x="61144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4" name="Freeform 908"/>
              <p:cNvSpPr>
                <a:spLocks noEditPoints="1"/>
              </p:cNvSpPr>
              <p:nvPr/>
            </p:nvSpPr>
            <p:spPr bwMode="gray">
              <a:xfrm>
                <a:off x="62005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5" name="Freeform 909"/>
              <p:cNvSpPr>
                <a:spLocks/>
              </p:cNvSpPr>
              <p:nvPr/>
            </p:nvSpPr>
            <p:spPr bwMode="gray">
              <a:xfrm>
                <a:off x="6288459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6" name="Freeform 910"/>
              <p:cNvSpPr>
                <a:spLocks noEditPoints="1"/>
              </p:cNvSpPr>
              <p:nvPr/>
            </p:nvSpPr>
            <p:spPr bwMode="gray">
              <a:xfrm>
                <a:off x="63727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7" name="Freeform 911"/>
              <p:cNvSpPr>
                <a:spLocks/>
              </p:cNvSpPr>
              <p:nvPr/>
            </p:nvSpPr>
            <p:spPr bwMode="gray">
              <a:xfrm>
                <a:off x="6460661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8" name="Freeform 912"/>
              <p:cNvSpPr>
                <a:spLocks/>
              </p:cNvSpPr>
              <p:nvPr/>
            </p:nvSpPr>
            <p:spPr bwMode="gray">
              <a:xfrm>
                <a:off x="6548556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29" name="Freeform 913"/>
              <p:cNvSpPr>
                <a:spLocks noEditPoints="1"/>
              </p:cNvSpPr>
              <p:nvPr/>
            </p:nvSpPr>
            <p:spPr bwMode="gray">
              <a:xfrm>
                <a:off x="6632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0" name="Freeform 914"/>
              <p:cNvSpPr>
                <a:spLocks/>
              </p:cNvSpPr>
              <p:nvPr/>
            </p:nvSpPr>
            <p:spPr bwMode="gray">
              <a:xfrm>
                <a:off x="6720759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1" name="Freeform 915"/>
              <p:cNvSpPr>
                <a:spLocks noEditPoints="1"/>
              </p:cNvSpPr>
              <p:nvPr/>
            </p:nvSpPr>
            <p:spPr bwMode="gray">
              <a:xfrm>
                <a:off x="68059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2" name="Freeform 916"/>
              <p:cNvSpPr>
                <a:spLocks/>
              </p:cNvSpPr>
              <p:nvPr/>
            </p:nvSpPr>
            <p:spPr bwMode="gray">
              <a:xfrm>
                <a:off x="6893858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3" name="Freeform 917"/>
              <p:cNvSpPr>
                <a:spLocks noEditPoints="1"/>
              </p:cNvSpPr>
              <p:nvPr/>
            </p:nvSpPr>
            <p:spPr bwMode="gray">
              <a:xfrm>
                <a:off x="69781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4" name="Freeform 918"/>
              <p:cNvSpPr>
                <a:spLocks noEditPoints="1"/>
              </p:cNvSpPr>
              <p:nvPr/>
            </p:nvSpPr>
            <p:spPr bwMode="gray">
              <a:xfrm>
                <a:off x="7064265" y="3282246"/>
                <a:ext cx="38566" cy="51123"/>
              </a:xfrm>
              <a:custGeom>
                <a:avLst/>
                <a:gdLst>
                  <a:gd name="T0" fmla="*/ 24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4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4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2" y="2"/>
                      <a:pt x="24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7" y="28"/>
                      <a:pt x="18" y="24"/>
                      <a:pt x="18" y="17"/>
                    </a:cubicBezTo>
                    <a:cubicBezTo>
                      <a:pt x="18" y="9"/>
                      <a:pt x="17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5" name="Freeform 919"/>
              <p:cNvSpPr>
                <a:spLocks noEditPoints="1"/>
              </p:cNvSpPr>
              <p:nvPr/>
            </p:nvSpPr>
            <p:spPr bwMode="gray">
              <a:xfrm>
                <a:off x="7152160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6" name="Freeform 920"/>
              <p:cNvSpPr>
                <a:spLocks noEditPoints="1"/>
              </p:cNvSpPr>
              <p:nvPr/>
            </p:nvSpPr>
            <p:spPr bwMode="gray">
              <a:xfrm>
                <a:off x="72382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7" name="Freeform 921"/>
              <p:cNvSpPr>
                <a:spLocks/>
              </p:cNvSpPr>
              <p:nvPr/>
            </p:nvSpPr>
            <p:spPr bwMode="gray">
              <a:xfrm>
                <a:off x="7326157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8" name="Freeform 922"/>
              <p:cNvSpPr>
                <a:spLocks noEditPoints="1"/>
              </p:cNvSpPr>
              <p:nvPr/>
            </p:nvSpPr>
            <p:spPr bwMode="gray">
              <a:xfrm>
                <a:off x="7411361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9" name="Freeform 923"/>
              <p:cNvSpPr>
                <a:spLocks noEditPoints="1"/>
              </p:cNvSpPr>
              <p:nvPr/>
            </p:nvSpPr>
            <p:spPr bwMode="gray">
              <a:xfrm>
                <a:off x="74974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40" name="Freeform 924"/>
              <p:cNvSpPr>
                <a:spLocks/>
              </p:cNvSpPr>
              <p:nvPr/>
            </p:nvSpPr>
            <p:spPr bwMode="gray">
              <a:xfrm>
                <a:off x="7585357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6 w 36"/>
                  <a:gd name="T3" fmla="*/ 18 h 55"/>
                  <a:gd name="T4" fmla="*/ 0 w 36"/>
                  <a:gd name="T5" fmla="*/ 10 h 55"/>
                  <a:gd name="T6" fmla="*/ 18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9" name="Gruppieren 12"/>
            <p:cNvGrpSpPr/>
            <p:nvPr>
              <p:custDataLst>
                <p:tags r:id="rId10"/>
              </p:custDataLst>
            </p:nvPr>
          </p:nvGrpSpPr>
          <p:grpSpPr bwMode="gray">
            <a:xfrm>
              <a:off x="9117351" y="5517062"/>
              <a:ext cx="3078715" cy="48639"/>
              <a:chOff x="9117351" y="5348246"/>
              <a:chExt cx="3078715" cy="48639"/>
            </a:xfrm>
            <a:grpFill/>
          </p:grpSpPr>
          <p:sp>
            <p:nvSpPr>
              <p:cNvPr id="64" name="Freeform 886"/>
              <p:cNvSpPr>
                <a:spLocks/>
              </p:cNvSpPr>
              <p:nvPr/>
            </p:nvSpPr>
            <p:spPr bwMode="gray">
              <a:xfrm>
                <a:off x="9117351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5" name="Freeform 887"/>
              <p:cNvSpPr>
                <a:spLocks noEditPoints="1"/>
              </p:cNvSpPr>
              <p:nvPr/>
            </p:nvSpPr>
            <p:spPr bwMode="gray">
              <a:xfrm>
                <a:off x="919756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6" name="Freeform 888"/>
              <p:cNvSpPr>
                <a:spLocks/>
              </p:cNvSpPr>
              <p:nvPr/>
            </p:nvSpPr>
            <p:spPr bwMode="gray">
              <a:xfrm>
                <a:off x="9281185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7" name="Freeform 889"/>
              <p:cNvSpPr>
                <a:spLocks noEditPoints="1"/>
              </p:cNvSpPr>
              <p:nvPr/>
            </p:nvSpPr>
            <p:spPr bwMode="gray">
              <a:xfrm>
                <a:off x="936224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8" name="Freeform 890"/>
              <p:cNvSpPr>
                <a:spLocks/>
              </p:cNvSpPr>
              <p:nvPr/>
            </p:nvSpPr>
            <p:spPr bwMode="gray">
              <a:xfrm>
                <a:off x="9445872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9" name="Freeform 891"/>
              <p:cNvSpPr>
                <a:spLocks noEditPoints="1"/>
              </p:cNvSpPr>
              <p:nvPr/>
            </p:nvSpPr>
            <p:spPr bwMode="gray">
              <a:xfrm>
                <a:off x="952778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0" name="Freeform 892"/>
              <p:cNvSpPr>
                <a:spLocks/>
              </p:cNvSpPr>
              <p:nvPr/>
            </p:nvSpPr>
            <p:spPr bwMode="gray">
              <a:xfrm>
                <a:off x="9611413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1" name="Freeform 893"/>
              <p:cNvSpPr>
                <a:spLocks/>
              </p:cNvSpPr>
              <p:nvPr/>
            </p:nvSpPr>
            <p:spPr bwMode="gray">
              <a:xfrm>
                <a:off x="9693330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2" name="Freeform 894"/>
              <p:cNvSpPr>
                <a:spLocks/>
              </p:cNvSpPr>
              <p:nvPr/>
            </p:nvSpPr>
            <p:spPr bwMode="gray">
              <a:xfrm>
                <a:off x="9775247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3" name="Freeform 895"/>
              <p:cNvSpPr>
                <a:spLocks noEditPoints="1"/>
              </p:cNvSpPr>
              <p:nvPr/>
            </p:nvSpPr>
            <p:spPr bwMode="gray">
              <a:xfrm>
                <a:off x="9855457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4" name="Freeform 896"/>
              <p:cNvSpPr>
                <a:spLocks/>
              </p:cNvSpPr>
              <p:nvPr/>
            </p:nvSpPr>
            <p:spPr bwMode="gray">
              <a:xfrm>
                <a:off x="9939082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5" name="Freeform 897"/>
              <p:cNvSpPr>
                <a:spLocks noEditPoints="1"/>
              </p:cNvSpPr>
              <p:nvPr/>
            </p:nvSpPr>
            <p:spPr bwMode="gray">
              <a:xfrm>
                <a:off x="10020145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6" name="Freeform 898"/>
              <p:cNvSpPr>
                <a:spLocks noEditPoints="1"/>
              </p:cNvSpPr>
              <p:nvPr/>
            </p:nvSpPr>
            <p:spPr bwMode="gray">
              <a:xfrm>
                <a:off x="10103769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7" name="Freeform 899"/>
              <p:cNvSpPr>
                <a:spLocks/>
              </p:cNvSpPr>
              <p:nvPr/>
            </p:nvSpPr>
            <p:spPr bwMode="gray">
              <a:xfrm>
                <a:off x="10186540" y="5349953"/>
                <a:ext cx="29866" cy="46932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8" name="Freeform 900"/>
              <p:cNvSpPr>
                <a:spLocks/>
              </p:cNvSpPr>
              <p:nvPr/>
            </p:nvSpPr>
            <p:spPr bwMode="gray">
              <a:xfrm>
                <a:off x="10269310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79" name="Freeform 901"/>
              <p:cNvSpPr>
                <a:spLocks noEditPoints="1"/>
              </p:cNvSpPr>
              <p:nvPr/>
            </p:nvSpPr>
            <p:spPr bwMode="gray">
              <a:xfrm>
                <a:off x="1034952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0" name="Freeform 902"/>
              <p:cNvSpPr>
                <a:spLocks/>
              </p:cNvSpPr>
              <p:nvPr/>
            </p:nvSpPr>
            <p:spPr bwMode="gray">
              <a:xfrm>
                <a:off x="10433144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1" name="Freeform 903"/>
              <p:cNvSpPr>
                <a:spLocks noEditPoints="1"/>
              </p:cNvSpPr>
              <p:nvPr/>
            </p:nvSpPr>
            <p:spPr bwMode="gray">
              <a:xfrm>
                <a:off x="10513354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2" name="Freeform 904"/>
              <p:cNvSpPr>
                <a:spLocks/>
              </p:cNvSpPr>
              <p:nvPr/>
            </p:nvSpPr>
            <p:spPr bwMode="gray">
              <a:xfrm>
                <a:off x="10596977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3" name="Freeform 905"/>
              <p:cNvSpPr>
                <a:spLocks/>
              </p:cNvSpPr>
              <p:nvPr/>
            </p:nvSpPr>
            <p:spPr bwMode="gray">
              <a:xfrm>
                <a:off x="10680601" y="5349953"/>
                <a:ext cx="29013" cy="46932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4" name="Freeform 906"/>
              <p:cNvSpPr>
                <a:spLocks noEditPoints="1"/>
              </p:cNvSpPr>
              <p:nvPr/>
            </p:nvSpPr>
            <p:spPr bwMode="gray">
              <a:xfrm>
                <a:off x="10761665" y="5348246"/>
                <a:ext cx="35839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5" name="Freeform 907"/>
              <p:cNvSpPr>
                <a:spLocks noEditPoints="1"/>
              </p:cNvSpPr>
              <p:nvPr/>
            </p:nvSpPr>
            <p:spPr bwMode="gray">
              <a:xfrm>
                <a:off x="10843581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6" name="Freeform 908"/>
              <p:cNvSpPr>
                <a:spLocks noEditPoints="1"/>
              </p:cNvSpPr>
              <p:nvPr/>
            </p:nvSpPr>
            <p:spPr bwMode="gray">
              <a:xfrm>
                <a:off x="1092549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7" name="Freeform 909"/>
              <p:cNvSpPr>
                <a:spLocks/>
              </p:cNvSpPr>
              <p:nvPr/>
            </p:nvSpPr>
            <p:spPr bwMode="gray">
              <a:xfrm>
                <a:off x="11009123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8" name="Freeform 910"/>
              <p:cNvSpPr>
                <a:spLocks noEditPoints="1"/>
              </p:cNvSpPr>
              <p:nvPr/>
            </p:nvSpPr>
            <p:spPr bwMode="gray">
              <a:xfrm>
                <a:off x="11089333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89" name="Freeform 911"/>
              <p:cNvSpPr>
                <a:spLocks/>
              </p:cNvSpPr>
              <p:nvPr/>
            </p:nvSpPr>
            <p:spPr bwMode="gray">
              <a:xfrm>
                <a:off x="11172957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0" name="Freeform 912"/>
              <p:cNvSpPr>
                <a:spLocks/>
              </p:cNvSpPr>
              <p:nvPr/>
            </p:nvSpPr>
            <p:spPr bwMode="gray">
              <a:xfrm>
                <a:off x="11256580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1" name="Freeform 913"/>
              <p:cNvSpPr>
                <a:spLocks noEditPoints="1"/>
              </p:cNvSpPr>
              <p:nvPr/>
            </p:nvSpPr>
            <p:spPr bwMode="gray">
              <a:xfrm>
                <a:off x="11336791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2" name="Freeform 914"/>
              <p:cNvSpPr>
                <a:spLocks/>
              </p:cNvSpPr>
              <p:nvPr/>
            </p:nvSpPr>
            <p:spPr bwMode="gray">
              <a:xfrm>
                <a:off x="11420415" y="5349953"/>
                <a:ext cx="30718" cy="46932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3" name="Freeform 915"/>
              <p:cNvSpPr>
                <a:spLocks noEditPoints="1"/>
              </p:cNvSpPr>
              <p:nvPr/>
            </p:nvSpPr>
            <p:spPr bwMode="gray">
              <a:xfrm>
                <a:off x="1150147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4" name="Freeform 916"/>
              <p:cNvSpPr>
                <a:spLocks/>
              </p:cNvSpPr>
              <p:nvPr/>
            </p:nvSpPr>
            <p:spPr bwMode="gray">
              <a:xfrm>
                <a:off x="11585103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5" name="Freeform 917"/>
              <p:cNvSpPr>
                <a:spLocks noEditPoints="1"/>
              </p:cNvSpPr>
              <p:nvPr/>
            </p:nvSpPr>
            <p:spPr bwMode="gray">
              <a:xfrm>
                <a:off x="11665312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6" name="Freeform 918"/>
              <p:cNvSpPr>
                <a:spLocks noEditPoints="1"/>
              </p:cNvSpPr>
              <p:nvPr/>
            </p:nvSpPr>
            <p:spPr bwMode="gray">
              <a:xfrm>
                <a:off x="11747229" y="5348246"/>
                <a:ext cx="36692" cy="48639"/>
              </a:xfrm>
              <a:custGeom>
                <a:avLst/>
                <a:gdLst>
                  <a:gd name="T0" fmla="*/ 24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4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4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2" y="2"/>
                      <a:pt x="24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7" y="28"/>
                      <a:pt x="18" y="24"/>
                      <a:pt x="18" y="17"/>
                    </a:cubicBezTo>
                    <a:cubicBezTo>
                      <a:pt x="18" y="9"/>
                      <a:pt x="17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7" name="Freeform 919"/>
              <p:cNvSpPr>
                <a:spLocks noEditPoints="1"/>
              </p:cNvSpPr>
              <p:nvPr/>
            </p:nvSpPr>
            <p:spPr bwMode="gray">
              <a:xfrm>
                <a:off x="11830853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8" name="Freeform 920"/>
              <p:cNvSpPr>
                <a:spLocks noEditPoints="1"/>
              </p:cNvSpPr>
              <p:nvPr/>
            </p:nvSpPr>
            <p:spPr bwMode="gray">
              <a:xfrm>
                <a:off x="1191277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9" name="Freeform 921"/>
              <p:cNvSpPr>
                <a:spLocks/>
              </p:cNvSpPr>
              <p:nvPr/>
            </p:nvSpPr>
            <p:spPr bwMode="gray">
              <a:xfrm>
                <a:off x="11996395" y="5349953"/>
                <a:ext cx="30718" cy="46932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0" name="Freeform 922"/>
              <p:cNvSpPr>
                <a:spLocks noEditPoints="1"/>
              </p:cNvSpPr>
              <p:nvPr/>
            </p:nvSpPr>
            <p:spPr bwMode="gray">
              <a:xfrm>
                <a:off x="12077458" y="5348246"/>
                <a:ext cx="35839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01" name="Freeform 923"/>
              <p:cNvSpPr>
                <a:spLocks noEditPoints="1"/>
              </p:cNvSpPr>
              <p:nvPr/>
            </p:nvSpPr>
            <p:spPr bwMode="gray">
              <a:xfrm>
                <a:off x="12159374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0" name="Gruppieren 13"/>
            <p:cNvGrpSpPr/>
            <p:nvPr>
              <p:custDataLst>
                <p:tags r:id="rId11"/>
              </p:custDataLst>
            </p:nvPr>
          </p:nvGrpSpPr>
          <p:grpSpPr bwMode="gray">
            <a:xfrm>
              <a:off x="9106394" y="5659384"/>
              <a:ext cx="1062594" cy="116927"/>
              <a:chOff x="11097468" y="5615674"/>
              <a:chExt cx="1062594" cy="116927"/>
            </a:xfrm>
            <a:grpFill/>
          </p:grpSpPr>
          <p:sp>
            <p:nvSpPr>
              <p:cNvPr id="58" name="Freeform 907"/>
              <p:cNvSpPr>
                <a:spLocks noEditPoints="1"/>
              </p:cNvSpPr>
              <p:nvPr/>
            </p:nvSpPr>
            <p:spPr bwMode="gray">
              <a:xfrm>
                <a:off x="11097468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9" name="Freeform 908"/>
              <p:cNvSpPr>
                <a:spLocks noEditPoints="1"/>
              </p:cNvSpPr>
              <p:nvPr/>
            </p:nvSpPr>
            <p:spPr bwMode="gray">
              <a:xfrm>
                <a:off x="11294396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0" name="Freeform 909"/>
              <p:cNvSpPr>
                <a:spLocks/>
              </p:cNvSpPr>
              <p:nvPr/>
            </p:nvSpPr>
            <p:spPr bwMode="gray">
              <a:xfrm>
                <a:off x="11495429" y="5619777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1" name="Freeform 910"/>
              <p:cNvSpPr>
                <a:spLocks noEditPoints="1"/>
              </p:cNvSpPr>
              <p:nvPr/>
            </p:nvSpPr>
            <p:spPr bwMode="gray">
              <a:xfrm>
                <a:off x="11688253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2" name="Freeform 911"/>
              <p:cNvSpPr>
                <a:spLocks/>
              </p:cNvSpPr>
              <p:nvPr/>
            </p:nvSpPr>
            <p:spPr bwMode="gray">
              <a:xfrm>
                <a:off x="11889284" y="5619777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63" name="Freeform 912"/>
              <p:cNvSpPr>
                <a:spLocks/>
              </p:cNvSpPr>
              <p:nvPr/>
            </p:nvSpPr>
            <p:spPr bwMode="gray">
              <a:xfrm>
                <a:off x="12090315" y="5619777"/>
                <a:ext cx="69747" cy="112824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4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1" name="Gruppieren 14"/>
            <p:cNvGrpSpPr/>
            <p:nvPr>
              <p:custDataLst>
                <p:tags r:id="rId12"/>
              </p:custDataLst>
            </p:nvPr>
          </p:nvGrpSpPr>
          <p:grpSpPr bwMode="gray">
            <a:xfrm>
              <a:off x="9117351" y="4990662"/>
              <a:ext cx="3078715" cy="48639"/>
              <a:chOff x="9117351" y="5348246"/>
              <a:chExt cx="3078715" cy="48639"/>
            </a:xfrm>
            <a:grpFill/>
          </p:grpSpPr>
          <p:sp>
            <p:nvSpPr>
              <p:cNvPr id="20" name="Freeform 886"/>
              <p:cNvSpPr>
                <a:spLocks/>
              </p:cNvSpPr>
              <p:nvPr/>
            </p:nvSpPr>
            <p:spPr bwMode="gray">
              <a:xfrm>
                <a:off x="9117351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1" name="Freeform 887"/>
              <p:cNvSpPr>
                <a:spLocks noEditPoints="1"/>
              </p:cNvSpPr>
              <p:nvPr/>
            </p:nvSpPr>
            <p:spPr bwMode="gray">
              <a:xfrm>
                <a:off x="919756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2" name="Freeform 888"/>
              <p:cNvSpPr>
                <a:spLocks/>
              </p:cNvSpPr>
              <p:nvPr/>
            </p:nvSpPr>
            <p:spPr bwMode="gray">
              <a:xfrm>
                <a:off x="9281185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3" name="Freeform 889"/>
              <p:cNvSpPr>
                <a:spLocks noEditPoints="1"/>
              </p:cNvSpPr>
              <p:nvPr/>
            </p:nvSpPr>
            <p:spPr bwMode="gray">
              <a:xfrm>
                <a:off x="936224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4" name="Freeform 890"/>
              <p:cNvSpPr>
                <a:spLocks/>
              </p:cNvSpPr>
              <p:nvPr/>
            </p:nvSpPr>
            <p:spPr bwMode="gray">
              <a:xfrm>
                <a:off x="9445872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5" name="Freeform 891"/>
              <p:cNvSpPr>
                <a:spLocks noEditPoints="1"/>
              </p:cNvSpPr>
              <p:nvPr/>
            </p:nvSpPr>
            <p:spPr bwMode="gray">
              <a:xfrm>
                <a:off x="952778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" name="Freeform 892"/>
              <p:cNvSpPr>
                <a:spLocks/>
              </p:cNvSpPr>
              <p:nvPr/>
            </p:nvSpPr>
            <p:spPr bwMode="gray">
              <a:xfrm>
                <a:off x="9611413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7" name="Freeform 893"/>
              <p:cNvSpPr>
                <a:spLocks/>
              </p:cNvSpPr>
              <p:nvPr/>
            </p:nvSpPr>
            <p:spPr bwMode="gray">
              <a:xfrm>
                <a:off x="9693330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8" name="Freeform 894"/>
              <p:cNvSpPr>
                <a:spLocks/>
              </p:cNvSpPr>
              <p:nvPr/>
            </p:nvSpPr>
            <p:spPr bwMode="gray">
              <a:xfrm>
                <a:off x="9775247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9" name="Freeform 895"/>
              <p:cNvSpPr>
                <a:spLocks noEditPoints="1"/>
              </p:cNvSpPr>
              <p:nvPr/>
            </p:nvSpPr>
            <p:spPr bwMode="gray">
              <a:xfrm>
                <a:off x="9855457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0" name="Freeform 896"/>
              <p:cNvSpPr>
                <a:spLocks/>
              </p:cNvSpPr>
              <p:nvPr/>
            </p:nvSpPr>
            <p:spPr bwMode="gray">
              <a:xfrm>
                <a:off x="9939082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1" name="Freeform 897"/>
              <p:cNvSpPr>
                <a:spLocks noEditPoints="1"/>
              </p:cNvSpPr>
              <p:nvPr/>
            </p:nvSpPr>
            <p:spPr bwMode="gray">
              <a:xfrm>
                <a:off x="10020145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2" name="Freeform 898"/>
              <p:cNvSpPr>
                <a:spLocks noEditPoints="1"/>
              </p:cNvSpPr>
              <p:nvPr/>
            </p:nvSpPr>
            <p:spPr bwMode="gray">
              <a:xfrm>
                <a:off x="10103769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3" name="Freeform 899"/>
              <p:cNvSpPr>
                <a:spLocks/>
              </p:cNvSpPr>
              <p:nvPr/>
            </p:nvSpPr>
            <p:spPr bwMode="gray">
              <a:xfrm>
                <a:off x="10186540" y="5349953"/>
                <a:ext cx="29866" cy="46932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4" name="Freeform 900"/>
              <p:cNvSpPr>
                <a:spLocks/>
              </p:cNvSpPr>
              <p:nvPr/>
            </p:nvSpPr>
            <p:spPr bwMode="gray">
              <a:xfrm>
                <a:off x="10269310" y="5349953"/>
                <a:ext cx="30718" cy="46932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5" name="Freeform 901"/>
              <p:cNvSpPr>
                <a:spLocks noEditPoints="1"/>
              </p:cNvSpPr>
              <p:nvPr/>
            </p:nvSpPr>
            <p:spPr bwMode="gray">
              <a:xfrm>
                <a:off x="1034952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6" name="Freeform 902"/>
              <p:cNvSpPr>
                <a:spLocks/>
              </p:cNvSpPr>
              <p:nvPr/>
            </p:nvSpPr>
            <p:spPr bwMode="gray">
              <a:xfrm>
                <a:off x="10433144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7" name="Freeform 903"/>
              <p:cNvSpPr>
                <a:spLocks noEditPoints="1"/>
              </p:cNvSpPr>
              <p:nvPr/>
            </p:nvSpPr>
            <p:spPr bwMode="gray">
              <a:xfrm>
                <a:off x="10513354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8" name="Freeform 904"/>
              <p:cNvSpPr>
                <a:spLocks/>
              </p:cNvSpPr>
              <p:nvPr/>
            </p:nvSpPr>
            <p:spPr bwMode="gray">
              <a:xfrm>
                <a:off x="10596977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39" name="Freeform 905"/>
              <p:cNvSpPr>
                <a:spLocks/>
              </p:cNvSpPr>
              <p:nvPr/>
            </p:nvSpPr>
            <p:spPr bwMode="gray">
              <a:xfrm>
                <a:off x="10680601" y="5349953"/>
                <a:ext cx="29013" cy="46932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0" name="Freeform 906"/>
              <p:cNvSpPr>
                <a:spLocks noEditPoints="1"/>
              </p:cNvSpPr>
              <p:nvPr/>
            </p:nvSpPr>
            <p:spPr bwMode="gray">
              <a:xfrm>
                <a:off x="10761665" y="5348246"/>
                <a:ext cx="35839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1" name="Freeform 907"/>
              <p:cNvSpPr>
                <a:spLocks noEditPoints="1"/>
              </p:cNvSpPr>
              <p:nvPr/>
            </p:nvSpPr>
            <p:spPr bwMode="gray">
              <a:xfrm>
                <a:off x="10843581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2" name="Freeform 908"/>
              <p:cNvSpPr>
                <a:spLocks noEditPoints="1"/>
              </p:cNvSpPr>
              <p:nvPr/>
            </p:nvSpPr>
            <p:spPr bwMode="gray">
              <a:xfrm>
                <a:off x="1092549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3" name="Freeform 909"/>
              <p:cNvSpPr>
                <a:spLocks/>
              </p:cNvSpPr>
              <p:nvPr/>
            </p:nvSpPr>
            <p:spPr bwMode="gray">
              <a:xfrm>
                <a:off x="11009123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4" name="Freeform 910"/>
              <p:cNvSpPr>
                <a:spLocks noEditPoints="1"/>
              </p:cNvSpPr>
              <p:nvPr/>
            </p:nvSpPr>
            <p:spPr bwMode="gray">
              <a:xfrm>
                <a:off x="11089333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5" name="Freeform 911"/>
              <p:cNvSpPr>
                <a:spLocks/>
              </p:cNvSpPr>
              <p:nvPr/>
            </p:nvSpPr>
            <p:spPr bwMode="gray">
              <a:xfrm>
                <a:off x="11172957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6" name="Freeform 912"/>
              <p:cNvSpPr>
                <a:spLocks/>
              </p:cNvSpPr>
              <p:nvPr/>
            </p:nvSpPr>
            <p:spPr bwMode="gray">
              <a:xfrm>
                <a:off x="11256580" y="5349953"/>
                <a:ext cx="29013" cy="46932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7" name="Freeform 913"/>
              <p:cNvSpPr>
                <a:spLocks noEditPoints="1"/>
              </p:cNvSpPr>
              <p:nvPr/>
            </p:nvSpPr>
            <p:spPr bwMode="gray">
              <a:xfrm>
                <a:off x="11336791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8" name="Freeform 914"/>
              <p:cNvSpPr>
                <a:spLocks/>
              </p:cNvSpPr>
              <p:nvPr/>
            </p:nvSpPr>
            <p:spPr bwMode="gray">
              <a:xfrm>
                <a:off x="11420415" y="5349953"/>
                <a:ext cx="30718" cy="46932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49" name="Freeform 915"/>
              <p:cNvSpPr>
                <a:spLocks noEditPoints="1"/>
              </p:cNvSpPr>
              <p:nvPr/>
            </p:nvSpPr>
            <p:spPr bwMode="gray">
              <a:xfrm>
                <a:off x="11501478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0" name="Freeform 916"/>
              <p:cNvSpPr>
                <a:spLocks/>
              </p:cNvSpPr>
              <p:nvPr/>
            </p:nvSpPr>
            <p:spPr bwMode="gray">
              <a:xfrm>
                <a:off x="11585103" y="5349953"/>
                <a:ext cx="30718" cy="46932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1" name="Freeform 917"/>
              <p:cNvSpPr>
                <a:spLocks noEditPoints="1"/>
              </p:cNvSpPr>
              <p:nvPr/>
            </p:nvSpPr>
            <p:spPr bwMode="gray">
              <a:xfrm>
                <a:off x="11665312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2" name="Freeform 918"/>
              <p:cNvSpPr>
                <a:spLocks noEditPoints="1"/>
              </p:cNvSpPr>
              <p:nvPr/>
            </p:nvSpPr>
            <p:spPr bwMode="gray">
              <a:xfrm>
                <a:off x="11747229" y="5348246"/>
                <a:ext cx="36692" cy="48639"/>
              </a:xfrm>
              <a:custGeom>
                <a:avLst/>
                <a:gdLst>
                  <a:gd name="T0" fmla="*/ 24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4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4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2" y="2"/>
                      <a:pt x="24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7" y="28"/>
                      <a:pt x="18" y="24"/>
                      <a:pt x="18" y="17"/>
                    </a:cubicBezTo>
                    <a:cubicBezTo>
                      <a:pt x="18" y="9"/>
                      <a:pt x="17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3" name="Freeform 919"/>
              <p:cNvSpPr>
                <a:spLocks noEditPoints="1"/>
              </p:cNvSpPr>
              <p:nvPr/>
            </p:nvSpPr>
            <p:spPr bwMode="gray">
              <a:xfrm>
                <a:off x="11830853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4" name="Freeform 920"/>
              <p:cNvSpPr>
                <a:spLocks noEditPoints="1"/>
              </p:cNvSpPr>
              <p:nvPr/>
            </p:nvSpPr>
            <p:spPr bwMode="gray">
              <a:xfrm>
                <a:off x="11912770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5" name="Freeform 921"/>
              <p:cNvSpPr>
                <a:spLocks/>
              </p:cNvSpPr>
              <p:nvPr/>
            </p:nvSpPr>
            <p:spPr bwMode="gray">
              <a:xfrm>
                <a:off x="11996395" y="5349953"/>
                <a:ext cx="30718" cy="46932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6" name="Freeform 922"/>
              <p:cNvSpPr>
                <a:spLocks noEditPoints="1"/>
              </p:cNvSpPr>
              <p:nvPr/>
            </p:nvSpPr>
            <p:spPr bwMode="gray">
              <a:xfrm>
                <a:off x="12077458" y="5348246"/>
                <a:ext cx="35839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57" name="Freeform 923"/>
              <p:cNvSpPr>
                <a:spLocks noEditPoints="1"/>
              </p:cNvSpPr>
              <p:nvPr/>
            </p:nvSpPr>
            <p:spPr bwMode="gray">
              <a:xfrm>
                <a:off x="12159374" y="5348246"/>
                <a:ext cx="36692" cy="48639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12" name="Gruppieren 15"/>
            <p:cNvGrpSpPr/>
            <p:nvPr>
              <p:custDataLst>
                <p:tags r:id="rId13"/>
              </p:custDataLst>
            </p:nvPr>
          </p:nvGrpSpPr>
          <p:grpSpPr bwMode="gray">
            <a:xfrm>
              <a:off x="10926270" y="4762262"/>
              <a:ext cx="1062594" cy="116927"/>
              <a:chOff x="11097468" y="5615674"/>
              <a:chExt cx="1062594" cy="116927"/>
            </a:xfrm>
            <a:grpFill/>
          </p:grpSpPr>
          <p:sp>
            <p:nvSpPr>
              <p:cNvPr id="14" name="Freeform 907"/>
              <p:cNvSpPr>
                <a:spLocks noEditPoints="1"/>
              </p:cNvSpPr>
              <p:nvPr/>
            </p:nvSpPr>
            <p:spPr bwMode="gray">
              <a:xfrm>
                <a:off x="11097468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5" name="Freeform 908"/>
              <p:cNvSpPr>
                <a:spLocks noEditPoints="1"/>
              </p:cNvSpPr>
              <p:nvPr/>
            </p:nvSpPr>
            <p:spPr bwMode="gray">
              <a:xfrm>
                <a:off x="11294396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6" name="Freeform 909"/>
              <p:cNvSpPr>
                <a:spLocks/>
              </p:cNvSpPr>
              <p:nvPr/>
            </p:nvSpPr>
            <p:spPr bwMode="gray">
              <a:xfrm>
                <a:off x="11495429" y="5619777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7" name="Freeform 910"/>
              <p:cNvSpPr>
                <a:spLocks noEditPoints="1"/>
              </p:cNvSpPr>
              <p:nvPr/>
            </p:nvSpPr>
            <p:spPr bwMode="gray">
              <a:xfrm>
                <a:off x="11688253" y="5615674"/>
                <a:ext cx="88207" cy="116927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8" name="Freeform 911"/>
              <p:cNvSpPr>
                <a:spLocks/>
              </p:cNvSpPr>
              <p:nvPr/>
            </p:nvSpPr>
            <p:spPr bwMode="gray">
              <a:xfrm>
                <a:off x="11889284" y="5619777"/>
                <a:ext cx="73846" cy="112824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9" name="Freeform 912"/>
              <p:cNvSpPr>
                <a:spLocks/>
              </p:cNvSpPr>
              <p:nvPr/>
            </p:nvSpPr>
            <p:spPr bwMode="gray">
              <a:xfrm>
                <a:off x="12090315" y="5619777"/>
                <a:ext cx="69747" cy="112824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0"/>
                  </a:spcBef>
                </a:pPr>
                <a:endParaRPr lang="en-US" sz="1100" kern="1400" dirty="0">
                  <a:solidFill>
                    <a:schemeClr val="bg1">
                      <a:lumMod val="95000"/>
                    </a:schemeClr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6" name="Ellipse 5"/>
          <p:cNvSpPr/>
          <p:nvPr/>
        </p:nvSpPr>
        <p:spPr bwMode="gray">
          <a:xfrm>
            <a:off x="5118114" y="3554939"/>
            <a:ext cx="1962122" cy="1962118"/>
          </a:xfrm>
          <a:prstGeom prst="ellipse">
            <a:avLst/>
          </a:prstGeom>
          <a:solidFill>
            <a:srgbClr val="41AAC8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n-US" sz="2400" b="1" dirty="0" smtClean="0">
                <a:solidFill>
                  <a:schemeClr val="bg1"/>
                </a:solidFill>
              </a:rPr>
              <a:t>Customer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value</a:t>
            </a:r>
          </a:p>
        </p:txBody>
      </p:sp>
      <p:sp>
        <p:nvSpPr>
          <p:cNvPr id="7" name="Ellipse 6"/>
          <p:cNvSpPr/>
          <p:nvPr/>
        </p:nvSpPr>
        <p:spPr bwMode="gray">
          <a:xfrm>
            <a:off x="5168428" y="3607188"/>
            <a:ext cx="1859558" cy="1859556"/>
          </a:xfrm>
          <a:prstGeom prst="ellipse">
            <a:avLst/>
          </a:prstGeom>
          <a:noFill/>
          <a:ln w="28575" cap="rnd">
            <a:solidFill>
              <a:schemeClr val="bg1"/>
            </a:solidFill>
            <a:prstDash val="sysDot"/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algn="ctr"/>
            <a:endParaRPr lang="en-US" sz="2400" b="1" dirty="0">
              <a:solidFill>
                <a:schemeClr val="bg1"/>
              </a:solidFill>
            </a:endParaRPr>
          </a:p>
        </p:txBody>
      </p:sp>
      <p:grpSp>
        <p:nvGrpSpPr>
          <p:cNvPr id="174" name="Gruppieren 200"/>
          <p:cNvGrpSpPr/>
          <p:nvPr/>
        </p:nvGrpSpPr>
        <p:grpSpPr bwMode="gray">
          <a:xfrm>
            <a:off x="627062" y="5117164"/>
            <a:ext cx="4928399" cy="1095481"/>
            <a:chOff x="627062" y="4166632"/>
            <a:chExt cx="4928399" cy="1095481"/>
          </a:xfrm>
        </p:grpSpPr>
        <p:sp>
          <p:nvSpPr>
            <p:cNvPr id="178" name="Freihandform 177"/>
            <p:cNvSpPr>
              <a:spLocks/>
            </p:cNvSpPr>
            <p:nvPr/>
          </p:nvSpPr>
          <p:spPr bwMode="gray">
            <a:xfrm flipH="1">
              <a:off x="627062" y="4295955"/>
              <a:ext cx="4817756" cy="966158"/>
            </a:xfrm>
            <a:custGeom>
              <a:avLst/>
              <a:gdLst>
                <a:gd name="connsiteX0" fmla="*/ 0 w 5296619"/>
                <a:gd name="connsiteY0" fmla="*/ 0 h 966158"/>
                <a:gd name="connsiteX1" fmla="*/ 1026544 w 5296619"/>
                <a:gd name="connsiteY1" fmla="*/ 966158 h 966158"/>
                <a:gd name="connsiteX2" fmla="*/ 5296619 w 5296619"/>
                <a:gd name="connsiteY2" fmla="*/ 966158 h 96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96619" h="966158">
                  <a:moveTo>
                    <a:pt x="0" y="0"/>
                  </a:moveTo>
                  <a:lnTo>
                    <a:pt x="1026544" y="966158"/>
                  </a:lnTo>
                  <a:lnTo>
                    <a:pt x="5296619" y="966158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9" name="Ellipse 178"/>
            <p:cNvSpPr/>
            <p:nvPr/>
          </p:nvSpPr>
          <p:spPr bwMode="gray">
            <a:xfrm>
              <a:off x="5330021" y="4166632"/>
              <a:ext cx="225440" cy="22544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77" name="Gruppieren 181"/>
          <p:cNvGrpSpPr/>
          <p:nvPr/>
        </p:nvGrpSpPr>
        <p:grpSpPr bwMode="gray">
          <a:xfrm>
            <a:off x="7003524" y="3861048"/>
            <a:ext cx="4496251" cy="645835"/>
            <a:chOff x="6882390" y="2665562"/>
            <a:chExt cx="4833361" cy="645835"/>
          </a:xfrm>
        </p:grpSpPr>
        <p:sp>
          <p:nvSpPr>
            <p:cNvPr id="181" name="Freihandform 180"/>
            <p:cNvSpPr/>
            <p:nvPr/>
          </p:nvSpPr>
          <p:spPr bwMode="gray">
            <a:xfrm>
              <a:off x="7003524" y="2665562"/>
              <a:ext cx="4712227" cy="508959"/>
            </a:xfrm>
            <a:custGeom>
              <a:avLst/>
              <a:gdLst>
                <a:gd name="connsiteX0" fmla="*/ 0 w 5046453"/>
                <a:gd name="connsiteY0" fmla="*/ 508959 h 508959"/>
                <a:gd name="connsiteX1" fmla="*/ 776377 w 5046453"/>
                <a:gd name="connsiteY1" fmla="*/ 0 h 508959"/>
                <a:gd name="connsiteX2" fmla="*/ 5046453 w 5046453"/>
                <a:gd name="connsiteY2" fmla="*/ 0 h 508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6453" h="508959">
                  <a:moveTo>
                    <a:pt x="0" y="508959"/>
                  </a:moveTo>
                  <a:lnTo>
                    <a:pt x="776377" y="0"/>
                  </a:lnTo>
                  <a:lnTo>
                    <a:pt x="5046453" y="0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2" name="Ellipse 181"/>
            <p:cNvSpPr/>
            <p:nvPr/>
          </p:nvSpPr>
          <p:spPr bwMode="gray">
            <a:xfrm>
              <a:off x="6882390" y="3085957"/>
              <a:ext cx="225440" cy="22544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80" name="Gruppieren 199"/>
          <p:cNvGrpSpPr/>
          <p:nvPr/>
        </p:nvGrpSpPr>
        <p:grpSpPr bwMode="gray">
          <a:xfrm>
            <a:off x="515326" y="4269048"/>
            <a:ext cx="4708004" cy="732754"/>
            <a:chOff x="627062" y="3085957"/>
            <a:chExt cx="4722042" cy="519885"/>
          </a:xfrm>
        </p:grpSpPr>
        <p:sp>
          <p:nvSpPr>
            <p:cNvPr id="184" name="Freihandform 183"/>
            <p:cNvSpPr/>
            <p:nvPr/>
          </p:nvSpPr>
          <p:spPr bwMode="gray">
            <a:xfrm>
              <a:off x="627062" y="3209026"/>
              <a:ext cx="4566039" cy="396816"/>
            </a:xfrm>
            <a:custGeom>
              <a:avLst/>
              <a:gdLst>
                <a:gd name="connsiteX0" fmla="*/ 5193102 w 5193102"/>
                <a:gd name="connsiteY0" fmla="*/ 0 h 396816"/>
                <a:gd name="connsiteX1" fmla="*/ 4718649 w 5193102"/>
                <a:gd name="connsiteY1" fmla="*/ 396816 h 396816"/>
                <a:gd name="connsiteX2" fmla="*/ 0 w 5193102"/>
                <a:gd name="connsiteY2" fmla="*/ 396816 h 39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93102" h="396816">
                  <a:moveTo>
                    <a:pt x="5193102" y="0"/>
                  </a:moveTo>
                  <a:lnTo>
                    <a:pt x="4718649" y="396816"/>
                  </a:lnTo>
                  <a:lnTo>
                    <a:pt x="0" y="396816"/>
                  </a:lnTo>
                </a:path>
              </a:pathLst>
            </a:custGeom>
            <a:noFill/>
            <a:ln w="19050">
              <a:solidFill>
                <a:srgbClr val="005F87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5" name="Ellipse 184"/>
            <p:cNvSpPr/>
            <p:nvPr/>
          </p:nvSpPr>
          <p:spPr bwMode="gray">
            <a:xfrm>
              <a:off x="5123664" y="3085957"/>
              <a:ext cx="225440" cy="178554"/>
            </a:xfrm>
            <a:prstGeom prst="ellipse">
              <a:avLst/>
            </a:prstGeom>
            <a:solidFill>
              <a:srgbClr val="2387AA"/>
            </a:solidFill>
            <a:ln>
              <a:solidFill>
                <a:srgbClr val="005F87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83" name="Gruppieren 182"/>
          <p:cNvGrpSpPr/>
          <p:nvPr/>
        </p:nvGrpSpPr>
        <p:grpSpPr bwMode="gray">
          <a:xfrm>
            <a:off x="627063" y="2976628"/>
            <a:ext cx="5198162" cy="699387"/>
            <a:chOff x="627062" y="2104845"/>
            <a:chExt cx="5596551" cy="620638"/>
          </a:xfrm>
        </p:grpSpPr>
        <p:sp>
          <p:nvSpPr>
            <p:cNvPr id="187" name="Freihandform 186"/>
            <p:cNvSpPr/>
            <p:nvPr/>
          </p:nvSpPr>
          <p:spPr bwMode="gray">
            <a:xfrm>
              <a:off x="627062" y="2104845"/>
              <a:ext cx="5490644" cy="500332"/>
            </a:xfrm>
            <a:custGeom>
              <a:avLst/>
              <a:gdLst>
                <a:gd name="connsiteX0" fmla="*/ 6254151 w 6254151"/>
                <a:gd name="connsiteY0" fmla="*/ 414068 h 414068"/>
                <a:gd name="connsiteX1" fmla="*/ 5891841 w 6254151"/>
                <a:gd name="connsiteY1" fmla="*/ 0 h 414068"/>
                <a:gd name="connsiteX2" fmla="*/ 0 w 6254151"/>
                <a:gd name="connsiteY2" fmla="*/ 0 h 41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54151" h="414068">
                  <a:moveTo>
                    <a:pt x="6254151" y="414068"/>
                  </a:moveTo>
                  <a:lnTo>
                    <a:pt x="5891841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8" name="Ellipse 187"/>
            <p:cNvSpPr/>
            <p:nvPr/>
          </p:nvSpPr>
          <p:spPr bwMode="gray">
            <a:xfrm>
              <a:off x="5998173" y="2500043"/>
              <a:ext cx="225440" cy="22544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30061" name="Gruppieren 130060"/>
          <p:cNvGrpSpPr/>
          <p:nvPr/>
        </p:nvGrpSpPr>
        <p:grpSpPr>
          <a:xfrm>
            <a:off x="641100" y="2312928"/>
            <a:ext cx="5013761" cy="588683"/>
            <a:chOff x="641101" y="2380886"/>
            <a:chExt cx="4702972" cy="588683"/>
          </a:xfrm>
        </p:grpSpPr>
        <p:sp>
          <p:nvSpPr>
            <p:cNvPr id="169" name="Rechteck 168"/>
            <p:cNvSpPr>
              <a:spLocks/>
            </p:cNvSpPr>
            <p:nvPr/>
          </p:nvSpPr>
          <p:spPr bwMode="gray">
            <a:xfrm>
              <a:off x="641101" y="2723348"/>
              <a:ext cx="2942618" cy="246221"/>
            </a:xfrm>
            <a:prstGeom prst="rect">
              <a:avLst/>
            </a:prstGeom>
            <a:noFill/>
            <a:extLst/>
          </p:spPr>
          <p:txBody>
            <a:bodyPr wrap="none" lIns="0" tIns="0" rIns="0" bIns="0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ITS &amp; service domain know-how</a:t>
              </a:r>
            </a:p>
          </p:txBody>
        </p:sp>
        <p:grpSp>
          <p:nvGrpSpPr>
            <p:cNvPr id="189" name="Group 22"/>
            <p:cNvGrpSpPr>
              <a:grpSpLocks noChangeAspect="1"/>
            </p:cNvGrpSpPr>
            <p:nvPr/>
          </p:nvGrpSpPr>
          <p:grpSpPr bwMode="gray">
            <a:xfrm>
              <a:off x="4848967" y="2380886"/>
              <a:ext cx="495106" cy="562580"/>
              <a:chOff x="3277" y="1517"/>
              <a:chExt cx="1130" cy="1284"/>
            </a:xfrm>
            <a:solidFill>
              <a:srgbClr val="005F87"/>
            </a:solidFill>
          </p:grpSpPr>
          <p:sp>
            <p:nvSpPr>
              <p:cNvPr id="190" name="Freeform 23"/>
              <p:cNvSpPr>
                <a:spLocks/>
              </p:cNvSpPr>
              <p:nvPr/>
            </p:nvSpPr>
            <p:spPr bwMode="gray">
              <a:xfrm>
                <a:off x="3460" y="1633"/>
                <a:ext cx="167" cy="190"/>
              </a:xfrm>
              <a:custGeom>
                <a:avLst/>
                <a:gdLst>
                  <a:gd name="T0" fmla="*/ 0 w 70"/>
                  <a:gd name="T1" fmla="*/ 13 h 80"/>
                  <a:gd name="T2" fmla="*/ 14 w 70"/>
                  <a:gd name="T3" fmla="*/ 0 h 80"/>
                  <a:gd name="T4" fmla="*/ 70 w 70"/>
                  <a:gd name="T5" fmla="*/ 67 h 80"/>
                  <a:gd name="T6" fmla="*/ 56 w 70"/>
                  <a:gd name="T7" fmla="*/ 80 h 80"/>
                  <a:gd name="T8" fmla="*/ 0 w 70"/>
                  <a:gd name="T9" fmla="*/ 13 h 80"/>
                  <a:gd name="T10" fmla="*/ 0 w 70"/>
                  <a:gd name="T11" fmla="*/ 1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80">
                    <a:moveTo>
                      <a:pt x="0" y="13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56" y="80"/>
                      <a:pt x="56" y="80"/>
                      <a:pt x="56" y="8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24"/>
              <p:cNvSpPr>
                <a:spLocks/>
              </p:cNvSpPr>
              <p:nvPr/>
            </p:nvSpPr>
            <p:spPr bwMode="gray">
              <a:xfrm>
                <a:off x="3277" y="1963"/>
                <a:ext cx="214" cy="81"/>
              </a:xfrm>
              <a:custGeom>
                <a:avLst/>
                <a:gdLst>
                  <a:gd name="T0" fmla="*/ 0 w 90"/>
                  <a:gd name="T1" fmla="*/ 19 h 34"/>
                  <a:gd name="T2" fmla="*/ 4 w 90"/>
                  <a:gd name="T3" fmla="*/ 0 h 34"/>
                  <a:gd name="T4" fmla="*/ 90 w 90"/>
                  <a:gd name="T5" fmla="*/ 15 h 34"/>
                  <a:gd name="T6" fmla="*/ 87 w 90"/>
                  <a:gd name="T7" fmla="*/ 34 h 34"/>
                  <a:gd name="T8" fmla="*/ 0 w 90"/>
                  <a:gd name="T9" fmla="*/ 19 h 34"/>
                  <a:gd name="T10" fmla="*/ 0 w 90"/>
                  <a:gd name="T11" fmla="*/ 1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0" h="34">
                    <a:moveTo>
                      <a:pt x="0" y="19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7" y="34"/>
                      <a:pt x="87" y="34"/>
                      <a:pt x="87" y="3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25"/>
              <p:cNvSpPr>
                <a:spLocks/>
              </p:cNvSpPr>
              <p:nvPr/>
            </p:nvSpPr>
            <p:spPr bwMode="gray">
              <a:xfrm>
                <a:off x="3337" y="2243"/>
                <a:ext cx="207" cy="147"/>
              </a:xfrm>
              <a:custGeom>
                <a:avLst/>
                <a:gdLst>
                  <a:gd name="T0" fmla="*/ 11 w 87"/>
                  <a:gd name="T1" fmla="*/ 62 h 62"/>
                  <a:gd name="T2" fmla="*/ 0 w 87"/>
                  <a:gd name="T3" fmla="*/ 44 h 62"/>
                  <a:gd name="T4" fmla="*/ 77 w 87"/>
                  <a:gd name="T5" fmla="*/ 0 h 62"/>
                  <a:gd name="T6" fmla="*/ 87 w 87"/>
                  <a:gd name="T7" fmla="*/ 17 h 62"/>
                  <a:gd name="T8" fmla="*/ 11 w 87"/>
                  <a:gd name="T9" fmla="*/ 62 h 62"/>
                  <a:gd name="T10" fmla="*/ 11 w 87"/>
                  <a:gd name="T1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62">
                    <a:moveTo>
                      <a:pt x="11" y="62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7" y="17"/>
                      <a:pt x="87" y="17"/>
                      <a:pt x="87" y="17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11" y="62"/>
                      <a:pt x="11" y="62"/>
                      <a:pt x="11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26"/>
              <p:cNvSpPr>
                <a:spLocks/>
              </p:cNvSpPr>
              <p:nvPr/>
            </p:nvSpPr>
            <p:spPr bwMode="gray">
              <a:xfrm>
                <a:off x="3819" y="1517"/>
                <a:ext cx="46" cy="206"/>
              </a:xfrm>
              <a:custGeom>
                <a:avLst/>
                <a:gdLst>
                  <a:gd name="T0" fmla="*/ 0 w 19"/>
                  <a:gd name="T1" fmla="*/ 0 h 87"/>
                  <a:gd name="T2" fmla="*/ 19 w 19"/>
                  <a:gd name="T3" fmla="*/ 0 h 87"/>
                  <a:gd name="T4" fmla="*/ 19 w 19"/>
                  <a:gd name="T5" fmla="*/ 87 h 87"/>
                  <a:gd name="T6" fmla="*/ 0 w 19"/>
                  <a:gd name="T7" fmla="*/ 87 h 87"/>
                  <a:gd name="T8" fmla="*/ 0 w 19"/>
                  <a:gd name="T9" fmla="*/ 0 h 87"/>
                  <a:gd name="T10" fmla="*/ 0 w 19"/>
                  <a:gd name="T11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87">
                    <a:moveTo>
                      <a:pt x="0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19" y="87"/>
                      <a:pt x="19" y="87"/>
                      <a:pt x="19" y="87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Freeform 27"/>
              <p:cNvSpPr>
                <a:spLocks/>
              </p:cNvSpPr>
              <p:nvPr/>
            </p:nvSpPr>
            <p:spPr bwMode="gray">
              <a:xfrm>
                <a:off x="4055" y="1633"/>
                <a:ext cx="171" cy="190"/>
              </a:xfrm>
              <a:custGeom>
                <a:avLst/>
                <a:gdLst>
                  <a:gd name="T0" fmla="*/ 57 w 72"/>
                  <a:gd name="T1" fmla="*/ 0 h 80"/>
                  <a:gd name="T2" fmla="*/ 72 w 72"/>
                  <a:gd name="T3" fmla="*/ 13 h 80"/>
                  <a:gd name="T4" fmla="*/ 15 w 72"/>
                  <a:gd name="T5" fmla="*/ 80 h 80"/>
                  <a:gd name="T6" fmla="*/ 0 w 72"/>
                  <a:gd name="T7" fmla="*/ 67 h 80"/>
                  <a:gd name="T8" fmla="*/ 57 w 72"/>
                  <a:gd name="T9" fmla="*/ 0 h 80"/>
                  <a:gd name="T10" fmla="*/ 57 w 72"/>
                  <a:gd name="T11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80">
                    <a:moveTo>
                      <a:pt x="57" y="0"/>
                    </a:moveTo>
                    <a:cubicBezTo>
                      <a:pt x="72" y="13"/>
                      <a:pt x="72" y="13"/>
                      <a:pt x="72" y="13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7" y="0"/>
                      <a:pt x="57" y="0"/>
                      <a:pt x="5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28"/>
              <p:cNvSpPr>
                <a:spLocks/>
              </p:cNvSpPr>
              <p:nvPr/>
            </p:nvSpPr>
            <p:spPr bwMode="gray">
              <a:xfrm>
                <a:off x="4193" y="1963"/>
                <a:ext cx="214" cy="81"/>
              </a:xfrm>
              <a:custGeom>
                <a:avLst/>
                <a:gdLst>
                  <a:gd name="T0" fmla="*/ 86 w 90"/>
                  <a:gd name="T1" fmla="*/ 0 h 34"/>
                  <a:gd name="T2" fmla="*/ 90 w 90"/>
                  <a:gd name="T3" fmla="*/ 19 h 34"/>
                  <a:gd name="T4" fmla="*/ 3 w 90"/>
                  <a:gd name="T5" fmla="*/ 34 h 34"/>
                  <a:gd name="T6" fmla="*/ 0 w 90"/>
                  <a:gd name="T7" fmla="*/ 15 h 34"/>
                  <a:gd name="T8" fmla="*/ 86 w 90"/>
                  <a:gd name="T9" fmla="*/ 0 h 34"/>
                  <a:gd name="T10" fmla="*/ 86 w 90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0" h="34">
                    <a:moveTo>
                      <a:pt x="86" y="0"/>
                    </a:moveTo>
                    <a:cubicBezTo>
                      <a:pt x="90" y="19"/>
                      <a:pt x="90" y="19"/>
                      <a:pt x="90" y="19"/>
                    </a:cubicBezTo>
                    <a:cubicBezTo>
                      <a:pt x="3" y="34"/>
                      <a:pt x="3" y="34"/>
                      <a:pt x="3" y="3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Freeform 29"/>
              <p:cNvSpPr>
                <a:spLocks/>
              </p:cNvSpPr>
              <p:nvPr/>
            </p:nvSpPr>
            <p:spPr bwMode="gray">
              <a:xfrm>
                <a:off x="4143" y="2243"/>
                <a:ext cx="204" cy="147"/>
              </a:xfrm>
              <a:custGeom>
                <a:avLst/>
                <a:gdLst>
                  <a:gd name="T0" fmla="*/ 86 w 86"/>
                  <a:gd name="T1" fmla="*/ 44 h 62"/>
                  <a:gd name="T2" fmla="*/ 76 w 86"/>
                  <a:gd name="T3" fmla="*/ 62 h 62"/>
                  <a:gd name="T4" fmla="*/ 0 w 86"/>
                  <a:gd name="T5" fmla="*/ 17 h 62"/>
                  <a:gd name="T6" fmla="*/ 10 w 86"/>
                  <a:gd name="T7" fmla="*/ 0 h 62"/>
                  <a:gd name="T8" fmla="*/ 86 w 86"/>
                  <a:gd name="T9" fmla="*/ 44 h 62"/>
                  <a:gd name="T10" fmla="*/ 86 w 86"/>
                  <a:gd name="T11" fmla="*/ 4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62">
                    <a:moveTo>
                      <a:pt x="86" y="44"/>
                    </a:moveTo>
                    <a:cubicBezTo>
                      <a:pt x="76" y="62"/>
                      <a:pt x="76" y="62"/>
                      <a:pt x="76" y="62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6" y="44"/>
                      <a:pt x="86" y="44"/>
                      <a:pt x="86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Freeform 30"/>
              <p:cNvSpPr>
                <a:spLocks/>
              </p:cNvSpPr>
              <p:nvPr/>
            </p:nvSpPr>
            <p:spPr bwMode="gray">
              <a:xfrm>
                <a:off x="3798" y="2782"/>
                <a:ext cx="88" cy="19"/>
              </a:xfrm>
              <a:custGeom>
                <a:avLst/>
                <a:gdLst>
                  <a:gd name="T0" fmla="*/ 37 w 37"/>
                  <a:gd name="T1" fmla="*/ 0 h 8"/>
                  <a:gd name="T2" fmla="*/ 19 w 37"/>
                  <a:gd name="T3" fmla="*/ 8 h 8"/>
                  <a:gd name="T4" fmla="*/ 0 w 37"/>
                  <a:gd name="T5" fmla="*/ 0 h 8"/>
                  <a:gd name="T6" fmla="*/ 19 w 37"/>
                  <a:gd name="T7" fmla="*/ 2 h 8"/>
                  <a:gd name="T8" fmla="*/ 37 w 37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8">
                    <a:moveTo>
                      <a:pt x="37" y="0"/>
                    </a:moveTo>
                    <a:cubicBezTo>
                      <a:pt x="33" y="5"/>
                      <a:pt x="26" y="8"/>
                      <a:pt x="19" y="8"/>
                    </a:cubicBezTo>
                    <a:cubicBezTo>
                      <a:pt x="11" y="8"/>
                      <a:pt x="4" y="5"/>
                      <a:pt x="0" y="0"/>
                    </a:cubicBezTo>
                    <a:cubicBezTo>
                      <a:pt x="7" y="1"/>
                      <a:pt x="14" y="2"/>
                      <a:pt x="19" y="2"/>
                    </a:cubicBezTo>
                    <a:cubicBezTo>
                      <a:pt x="25" y="2"/>
                      <a:pt x="31" y="1"/>
                      <a:pt x="3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Freeform 31"/>
              <p:cNvSpPr>
                <a:spLocks noEditPoints="1"/>
              </p:cNvSpPr>
              <p:nvPr/>
            </p:nvSpPr>
            <p:spPr bwMode="gray">
              <a:xfrm>
                <a:off x="3589" y="1825"/>
                <a:ext cx="506" cy="667"/>
              </a:xfrm>
              <a:custGeom>
                <a:avLst/>
                <a:gdLst>
                  <a:gd name="T0" fmla="*/ 174 w 213"/>
                  <a:gd name="T1" fmla="*/ 281 h 281"/>
                  <a:gd name="T2" fmla="*/ 39 w 213"/>
                  <a:gd name="T3" fmla="*/ 281 h 281"/>
                  <a:gd name="T4" fmla="*/ 6 w 213"/>
                  <a:gd name="T5" fmla="*/ 141 h 281"/>
                  <a:gd name="T6" fmla="*/ 0 w 213"/>
                  <a:gd name="T7" fmla="*/ 106 h 281"/>
                  <a:gd name="T8" fmla="*/ 107 w 213"/>
                  <a:gd name="T9" fmla="*/ 0 h 281"/>
                  <a:gd name="T10" fmla="*/ 213 w 213"/>
                  <a:gd name="T11" fmla="*/ 106 h 281"/>
                  <a:gd name="T12" fmla="*/ 207 w 213"/>
                  <a:gd name="T13" fmla="*/ 141 h 281"/>
                  <a:gd name="T14" fmla="*/ 174 w 213"/>
                  <a:gd name="T15" fmla="*/ 281 h 281"/>
                  <a:gd name="T16" fmla="*/ 174 w 213"/>
                  <a:gd name="T17" fmla="*/ 281 h 281"/>
                  <a:gd name="T18" fmla="*/ 163 w 213"/>
                  <a:gd name="T19" fmla="*/ 267 h 281"/>
                  <a:gd name="T20" fmla="*/ 198 w 213"/>
                  <a:gd name="T21" fmla="*/ 125 h 281"/>
                  <a:gd name="T22" fmla="*/ 199 w 213"/>
                  <a:gd name="T23" fmla="*/ 106 h 281"/>
                  <a:gd name="T24" fmla="*/ 107 w 213"/>
                  <a:gd name="T25" fmla="*/ 13 h 281"/>
                  <a:gd name="T26" fmla="*/ 14 w 213"/>
                  <a:gd name="T27" fmla="*/ 106 h 281"/>
                  <a:gd name="T28" fmla="*/ 15 w 213"/>
                  <a:gd name="T29" fmla="*/ 125 h 281"/>
                  <a:gd name="T30" fmla="*/ 50 w 213"/>
                  <a:gd name="T31" fmla="*/ 267 h 281"/>
                  <a:gd name="T32" fmla="*/ 163 w 213"/>
                  <a:gd name="T33" fmla="*/ 267 h 281"/>
                  <a:gd name="T34" fmla="*/ 163 w 213"/>
                  <a:gd name="T35" fmla="*/ 267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3" h="281">
                    <a:moveTo>
                      <a:pt x="174" y="281"/>
                    </a:moveTo>
                    <a:cubicBezTo>
                      <a:pt x="39" y="281"/>
                      <a:pt x="39" y="281"/>
                      <a:pt x="39" y="28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2" y="130"/>
                      <a:pt x="0" y="118"/>
                      <a:pt x="0" y="106"/>
                    </a:cubicBezTo>
                    <a:cubicBezTo>
                      <a:pt x="0" y="47"/>
                      <a:pt x="48" y="0"/>
                      <a:pt x="107" y="0"/>
                    </a:cubicBezTo>
                    <a:cubicBezTo>
                      <a:pt x="165" y="0"/>
                      <a:pt x="213" y="47"/>
                      <a:pt x="213" y="106"/>
                    </a:cubicBezTo>
                    <a:cubicBezTo>
                      <a:pt x="213" y="118"/>
                      <a:pt x="211" y="130"/>
                      <a:pt x="207" y="141"/>
                    </a:cubicBezTo>
                    <a:cubicBezTo>
                      <a:pt x="174" y="281"/>
                      <a:pt x="174" y="281"/>
                      <a:pt x="174" y="281"/>
                    </a:cubicBezTo>
                    <a:cubicBezTo>
                      <a:pt x="174" y="281"/>
                      <a:pt x="174" y="281"/>
                      <a:pt x="174" y="281"/>
                    </a:cubicBezTo>
                    <a:close/>
                    <a:moveTo>
                      <a:pt x="163" y="267"/>
                    </a:moveTo>
                    <a:cubicBezTo>
                      <a:pt x="163" y="267"/>
                      <a:pt x="196" y="129"/>
                      <a:pt x="198" y="125"/>
                    </a:cubicBezTo>
                    <a:cubicBezTo>
                      <a:pt x="199" y="118"/>
                      <a:pt x="199" y="112"/>
                      <a:pt x="199" y="106"/>
                    </a:cubicBezTo>
                    <a:cubicBezTo>
                      <a:pt x="199" y="55"/>
                      <a:pt x="158" y="13"/>
                      <a:pt x="107" y="13"/>
                    </a:cubicBezTo>
                    <a:cubicBezTo>
                      <a:pt x="55" y="13"/>
                      <a:pt x="14" y="55"/>
                      <a:pt x="14" y="106"/>
                    </a:cubicBezTo>
                    <a:cubicBezTo>
                      <a:pt x="14" y="112"/>
                      <a:pt x="14" y="118"/>
                      <a:pt x="15" y="125"/>
                    </a:cubicBezTo>
                    <a:cubicBezTo>
                      <a:pt x="16" y="129"/>
                      <a:pt x="50" y="267"/>
                      <a:pt x="50" y="267"/>
                    </a:cubicBezTo>
                    <a:cubicBezTo>
                      <a:pt x="163" y="267"/>
                      <a:pt x="163" y="267"/>
                      <a:pt x="163" y="267"/>
                    </a:cubicBezTo>
                    <a:cubicBezTo>
                      <a:pt x="163" y="267"/>
                      <a:pt x="163" y="267"/>
                      <a:pt x="163" y="26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Freeform 32"/>
              <p:cNvSpPr>
                <a:spLocks/>
              </p:cNvSpPr>
              <p:nvPr/>
            </p:nvSpPr>
            <p:spPr bwMode="gray">
              <a:xfrm>
                <a:off x="3679" y="2592"/>
                <a:ext cx="328" cy="111"/>
              </a:xfrm>
              <a:custGeom>
                <a:avLst/>
                <a:gdLst>
                  <a:gd name="T0" fmla="*/ 0 w 138"/>
                  <a:gd name="T1" fmla="*/ 0 h 47"/>
                  <a:gd name="T2" fmla="*/ 138 w 138"/>
                  <a:gd name="T3" fmla="*/ 0 h 47"/>
                  <a:gd name="T4" fmla="*/ 117 w 138"/>
                  <a:gd name="T5" fmla="*/ 47 h 47"/>
                  <a:gd name="T6" fmla="*/ 20 w 138"/>
                  <a:gd name="T7" fmla="*/ 47 h 47"/>
                  <a:gd name="T8" fmla="*/ 0 w 138"/>
                  <a:gd name="T9" fmla="*/ 0 h 47"/>
                  <a:gd name="T10" fmla="*/ 0 w 138"/>
                  <a:gd name="T11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47">
                    <a:moveTo>
                      <a:pt x="0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17" y="47"/>
                      <a:pt x="117" y="47"/>
                      <a:pt x="117" y="47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Freeform 33"/>
              <p:cNvSpPr>
                <a:spLocks/>
              </p:cNvSpPr>
              <p:nvPr/>
            </p:nvSpPr>
            <p:spPr bwMode="gray">
              <a:xfrm>
                <a:off x="3727" y="2720"/>
                <a:ext cx="230" cy="50"/>
              </a:xfrm>
              <a:custGeom>
                <a:avLst/>
                <a:gdLst>
                  <a:gd name="T0" fmla="*/ 97 w 97"/>
                  <a:gd name="T1" fmla="*/ 0 h 21"/>
                  <a:gd name="T2" fmla="*/ 49 w 97"/>
                  <a:gd name="T3" fmla="*/ 21 h 21"/>
                  <a:gd name="T4" fmla="*/ 0 w 97"/>
                  <a:gd name="T5" fmla="*/ 0 h 21"/>
                  <a:gd name="T6" fmla="*/ 97 w 97"/>
                  <a:gd name="T7" fmla="*/ 0 h 21"/>
                  <a:gd name="T8" fmla="*/ 97 w 97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21">
                    <a:moveTo>
                      <a:pt x="97" y="0"/>
                    </a:moveTo>
                    <a:cubicBezTo>
                      <a:pt x="97" y="10"/>
                      <a:pt x="75" y="21"/>
                      <a:pt x="49" y="21"/>
                    </a:cubicBezTo>
                    <a:cubicBezTo>
                      <a:pt x="22" y="21"/>
                      <a:pt x="0" y="10"/>
                      <a:pt x="0" y="0"/>
                    </a:cubicBezTo>
                    <a:cubicBezTo>
                      <a:pt x="97" y="0"/>
                      <a:pt x="97" y="0"/>
                      <a:pt x="97" y="0"/>
                    </a:cubicBezTo>
                    <a:cubicBezTo>
                      <a:pt x="97" y="0"/>
                      <a:pt x="97" y="0"/>
                      <a:pt x="9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Freeform 34"/>
              <p:cNvSpPr>
                <a:spLocks/>
              </p:cNvSpPr>
              <p:nvPr/>
            </p:nvSpPr>
            <p:spPr bwMode="gray">
              <a:xfrm>
                <a:off x="3679" y="2509"/>
                <a:ext cx="328" cy="66"/>
              </a:xfrm>
              <a:custGeom>
                <a:avLst/>
                <a:gdLst>
                  <a:gd name="T0" fmla="*/ 0 w 138"/>
                  <a:gd name="T1" fmla="*/ 0 h 28"/>
                  <a:gd name="T2" fmla="*/ 138 w 138"/>
                  <a:gd name="T3" fmla="*/ 0 h 28"/>
                  <a:gd name="T4" fmla="*/ 138 w 138"/>
                  <a:gd name="T5" fmla="*/ 28 h 28"/>
                  <a:gd name="T6" fmla="*/ 0 w 138"/>
                  <a:gd name="T7" fmla="*/ 28 h 28"/>
                  <a:gd name="T8" fmla="*/ 0 w 138"/>
                  <a:gd name="T9" fmla="*/ 0 h 28"/>
                  <a:gd name="T10" fmla="*/ 0 w 138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8" h="28">
                    <a:moveTo>
                      <a:pt x="0" y="0"/>
                    </a:moveTo>
                    <a:cubicBezTo>
                      <a:pt x="138" y="0"/>
                      <a:pt x="138" y="0"/>
                      <a:pt x="138" y="0"/>
                    </a:cubicBezTo>
                    <a:cubicBezTo>
                      <a:pt x="138" y="28"/>
                      <a:pt x="138" y="28"/>
                      <a:pt x="138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30049" name="Gruppieren 130048"/>
          <p:cNvGrpSpPr/>
          <p:nvPr/>
        </p:nvGrpSpPr>
        <p:grpSpPr>
          <a:xfrm>
            <a:off x="527075" y="4110547"/>
            <a:ext cx="4323320" cy="853606"/>
            <a:chOff x="527076" y="4062144"/>
            <a:chExt cx="4270276" cy="919567"/>
          </a:xfrm>
        </p:grpSpPr>
        <p:sp>
          <p:nvSpPr>
            <p:cNvPr id="172" name="Rechteck 171"/>
            <p:cNvSpPr>
              <a:spLocks/>
            </p:cNvSpPr>
            <p:nvPr/>
          </p:nvSpPr>
          <p:spPr bwMode="gray">
            <a:xfrm>
              <a:off x="527076" y="4716465"/>
              <a:ext cx="4167808" cy="265246"/>
            </a:xfrm>
            <a:prstGeom prst="rect">
              <a:avLst/>
            </a:prstGeom>
            <a:noFill/>
            <a:extLst/>
          </p:spPr>
          <p:txBody>
            <a:bodyPr wrap="square" lIns="0" tIns="0" rIns="0" bIns="0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Data service &amp; IT security expertise</a:t>
              </a:r>
            </a:p>
          </p:txBody>
        </p:sp>
        <p:grpSp>
          <p:nvGrpSpPr>
            <p:cNvPr id="219" name="Gruppieren 218"/>
            <p:cNvGrpSpPr>
              <a:grpSpLocks noChangeAspect="1"/>
            </p:cNvGrpSpPr>
            <p:nvPr/>
          </p:nvGrpSpPr>
          <p:grpSpPr bwMode="gray">
            <a:xfrm>
              <a:off x="4281039" y="4062144"/>
              <a:ext cx="516313" cy="590936"/>
              <a:chOff x="6559075" y="3618564"/>
              <a:chExt cx="324590" cy="371503"/>
            </a:xfrm>
          </p:grpSpPr>
          <p:sp>
            <p:nvSpPr>
              <p:cNvPr id="220" name="Freeform 286"/>
              <p:cNvSpPr>
                <a:spLocks/>
              </p:cNvSpPr>
              <p:nvPr/>
            </p:nvSpPr>
            <p:spPr bwMode="gray">
              <a:xfrm>
                <a:off x="6559075" y="3618564"/>
                <a:ext cx="324590" cy="371503"/>
              </a:xfrm>
              <a:custGeom>
                <a:avLst/>
                <a:gdLst>
                  <a:gd name="T0" fmla="*/ 363 w 363"/>
                  <a:gd name="T1" fmla="*/ 75 h 415"/>
                  <a:gd name="T2" fmla="*/ 363 w 363"/>
                  <a:gd name="T3" fmla="*/ 80 h 415"/>
                  <a:gd name="T4" fmla="*/ 211 w 363"/>
                  <a:gd name="T5" fmla="*/ 398 h 415"/>
                  <a:gd name="T6" fmla="*/ 182 w 363"/>
                  <a:gd name="T7" fmla="*/ 415 h 415"/>
                  <a:gd name="T8" fmla="*/ 153 w 363"/>
                  <a:gd name="T9" fmla="*/ 398 h 415"/>
                  <a:gd name="T10" fmla="*/ 0 w 363"/>
                  <a:gd name="T11" fmla="*/ 80 h 415"/>
                  <a:gd name="T12" fmla="*/ 0 w 363"/>
                  <a:gd name="T13" fmla="*/ 75 h 415"/>
                  <a:gd name="T14" fmla="*/ 2 w 363"/>
                  <a:gd name="T15" fmla="*/ 47 h 415"/>
                  <a:gd name="T16" fmla="*/ 30 w 363"/>
                  <a:gd name="T17" fmla="*/ 46 h 415"/>
                  <a:gd name="T18" fmla="*/ 152 w 363"/>
                  <a:gd name="T19" fmla="*/ 14 h 415"/>
                  <a:gd name="T20" fmla="*/ 182 w 363"/>
                  <a:gd name="T21" fmla="*/ 0 h 415"/>
                  <a:gd name="T22" fmla="*/ 212 w 363"/>
                  <a:gd name="T23" fmla="*/ 14 h 415"/>
                  <a:gd name="T24" fmla="*/ 335 w 363"/>
                  <a:gd name="T25" fmla="*/ 46 h 415"/>
                  <a:gd name="T26" fmla="*/ 362 w 363"/>
                  <a:gd name="T27" fmla="*/ 47 h 415"/>
                  <a:gd name="T28" fmla="*/ 363 w 363"/>
                  <a:gd name="T29" fmla="*/ 75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63" h="415">
                    <a:moveTo>
                      <a:pt x="363" y="75"/>
                    </a:moveTo>
                    <a:cubicBezTo>
                      <a:pt x="363" y="80"/>
                      <a:pt x="363" y="80"/>
                      <a:pt x="363" y="80"/>
                    </a:cubicBezTo>
                    <a:cubicBezTo>
                      <a:pt x="363" y="217"/>
                      <a:pt x="302" y="337"/>
                      <a:pt x="211" y="398"/>
                    </a:cubicBezTo>
                    <a:cubicBezTo>
                      <a:pt x="202" y="404"/>
                      <a:pt x="191" y="410"/>
                      <a:pt x="182" y="415"/>
                    </a:cubicBezTo>
                    <a:cubicBezTo>
                      <a:pt x="172" y="410"/>
                      <a:pt x="162" y="404"/>
                      <a:pt x="153" y="398"/>
                    </a:cubicBezTo>
                    <a:cubicBezTo>
                      <a:pt x="62" y="337"/>
                      <a:pt x="0" y="217"/>
                      <a:pt x="0" y="8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5"/>
                      <a:pt x="1" y="56"/>
                      <a:pt x="2" y="47"/>
                    </a:cubicBezTo>
                    <a:cubicBezTo>
                      <a:pt x="10" y="47"/>
                      <a:pt x="20" y="47"/>
                      <a:pt x="30" y="46"/>
                    </a:cubicBezTo>
                    <a:cubicBezTo>
                      <a:pt x="69" y="43"/>
                      <a:pt x="111" y="32"/>
                      <a:pt x="152" y="14"/>
                    </a:cubicBezTo>
                    <a:cubicBezTo>
                      <a:pt x="162" y="10"/>
                      <a:pt x="172" y="5"/>
                      <a:pt x="182" y="0"/>
                    </a:cubicBezTo>
                    <a:cubicBezTo>
                      <a:pt x="191" y="5"/>
                      <a:pt x="202" y="10"/>
                      <a:pt x="212" y="14"/>
                    </a:cubicBezTo>
                    <a:cubicBezTo>
                      <a:pt x="252" y="32"/>
                      <a:pt x="294" y="43"/>
                      <a:pt x="335" y="46"/>
                    </a:cubicBezTo>
                    <a:cubicBezTo>
                      <a:pt x="344" y="47"/>
                      <a:pt x="353" y="47"/>
                      <a:pt x="362" y="47"/>
                    </a:cubicBezTo>
                    <a:cubicBezTo>
                      <a:pt x="362" y="56"/>
                      <a:pt x="363" y="65"/>
                      <a:pt x="363" y="7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1" name="Freeform 287"/>
              <p:cNvSpPr>
                <a:spLocks noEditPoints="1"/>
              </p:cNvSpPr>
              <p:nvPr/>
            </p:nvSpPr>
            <p:spPr bwMode="gray">
              <a:xfrm>
                <a:off x="6559075" y="3618564"/>
                <a:ext cx="324590" cy="371503"/>
              </a:xfrm>
              <a:custGeom>
                <a:avLst/>
                <a:gdLst>
                  <a:gd name="T0" fmla="*/ 363 w 363"/>
                  <a:gd name="T1" fmla="*/ 75 h 415"/>
                  <a:gd name="T2" fmla="*/ 363 w 363"/>
                  <a:gd name="T3" fmla="*/ 80 h 415"/>
                  <a:gd name="T4" fmla="*/ 211 w 363"/>
                  <a:gd name="T5" fmla="*/ 398 h 415"/>
                  <a:gd name="T6" fmla="*/ 182 w 363"/>
                  <a:gd name="T7" fmla="*/ 415 h 415"/>
                  <a:gd name="T8" fmla="*/ 153 w 363"/>
                  <a:gd name="T9" fmla="*/ 398 h 415"/>
                  <a:gd name="T10" fmla="*/ 0 w 363"/>
                  <a:gd name="T11" fmla="*/ 80 h 415"/>
                  <a:gd name="T12" fmla="*/ 0 w 363"/>
                  <a:gd name="T13" fmla="*/ 75 h 415"/>
                  <a:gd name="T14" fmla="*/ 2 w 363"/>
                  <a:gd name="T15" fmla="*/ 47 h 415"/>
                  <a:gd name="T16" fmla="*/ 30 w 363"/>
                  <a:gd name="T17" fmla="*/ 46 h 415"/>
                  <a:gd name="T18" fmla="*/ 152 w 363"/>
                  <a:gd name="T19" fmla="*/ 14 h 415"/>
                  <a:gd name="T20" fmla="*/ 182 w 363"/>
                  <a:gd name="T21" fmla="*/ 0 h 415"/>
                  <a:gd name="T22" fmla="*/ 212 w 363"/>
                  <a:gd name="T23" fmla="*/ 14 h 415"/>
                  <a:gd name="T24" fmla="*/ 335 w 363"/>
                  <a:gd name="T25" fmla="*/ 46 h 415"/>
                  <a:gd name="T26" fmla="*/ 362 w 363"/>
                  <a:gd name="T27" fmla="*/ 47 h 415"/>
                  <a:gd name="T28" fmla="*/ 363 w 363"/>
                  <a:gd name="T29" fmla="*/ 75 h 415"/>
                  <a:gd name="T30" fmla="*/ 339 w 363"/>
                  <a:gd name="T31" fmla="*/ 74 h 415"/>
                  <a:gd name="T32" fmla="*/ 339 w 363"/>
                  <a:gd name="T33" fmla="*/ 70 h 415"/>
                  <a:gd name="T34" fmla="*/ 182 w 363"/>
                  <a:gd name="T35" fmla="*/ 27 h 415"/>
                  <a:gd name="T36" fmla="*/ 25 w 363"/>
                  <a:gd name="T37" fmla="*/ 70 h 415"/>
                  <a:gd name="T38" fmla="*/ 25 w 363"/>
                  <a:gd name="T39" fmla="*/ 80 h 415"/>
                  <a:gd name="T40" fmla="*/ 182 w 363"/>
                  <a:gd name="T41" fmla="*/ 388 h 415"/>
                  <a:gd name="T42" fmla="*/ 339 w 363"/>
                  <a:gd name="T43" fmla="*/ 80 h 415"/>
                  <a:gd name="T44" fmla="*/ 339 w 363"/>
                  <a:gd name="T45" fmla="*/ 74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3" h="415">
                    <a:moveTo>
                      <a:pt x="363" y="75"/>
                    </a:moveTo>
                    <a:cubicBezTo>
                      <a:pt x="363" y="80"/>
                      <a:pt x="363" y="80"/>
                      <a:pt x="363" y="80"/>
                    </a:cubicBezTo>
                    <a:cubicBezTo>
                      <a:pt x="363" y="217"/>
                      <a:pt x="302" y="337"/>
                      <a:pt x="211" y="398"/>
                    </a:cubicBezTo>
                    <a:cubicBezTo>
                      <a:pt x="202" y="404"/>
                      <a:pt x="191" y="410"/>
                      <a:pt x="182" y="415"/>
                    </a:cubicBezTo>
                    <a:cubicBezTo>
                      <a:pt x="172" y="410"/>
                      <a:pt x="162" y="404"/>
                      <a:pt x="153" y="398"/>
                    </a:cubicBezTo>
                    <a:cubicBezTo>
                      <a:pt x="62" y="337"/>
                      <a:pt x="0" y="217"/>
                      <a:pt x="0" y="8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65"/>
                      <a:pt x="1" y="56"/>
                      <a:pt x="2" y="47"/>
                    </a:cubicBezTo>
                    <a:cubicBezTo>
                      <a:pt x="10" y="47"/>
                      <a:pt x="20" y="47"/>
                      <a:pt x="30" y="46"/>
                    </a:cubicBezTo>
                    <a:cubicBezTo>
                      <a:pt x="69" y="43"/>
                      <a:pt x="111" y="32"/>
                      <a:pt x="152" y="14"/>
                    </a:cubicBezTo>
                    <a:cubicBezTo>
                      <a:pt x="162" y="10"/>
                      <a:pt x="172" y="5"/>
                      <a:pt x="182" y="0"/>
                    </a:cubicBezTo>
                    <a:cubicBezTo>
                      <a:pt x="191" y="5"/>
                      <a:pt x="202" y="10"/>
                      <a:pt x="212" y="14"/>
                    </a:cubicBezTo>
                    <a:cubicBezTo>
                      <a:pt x="252" y="32"/>
                      <a:pt x="294" y="43"/>
                      <a:pt x="335" y="46"/>
                    </a:cubicBezTo>
                    <a:cubicBezTo>
                      <a:pt x="344" y="47"/>
                      <a:pt x="353" y="47"/>
                      <a:pt x="362" y="47"/>
                    </a:cubicBezTo>
                    <a:cubicBezTo>
                      <a:pt x="362" y="56"/>
                      <a:pt x="363" y="65"/>
                      <a:pt x="363" y="75"/>
                    </a:cubicBezTo>
                    <a:moveTo>
                      <a:pt x="339" y="74"/>
                    </a:moveTo>
                    <a:cubicBezTo>
                      <a:pt x="339" y="70"/>
                      <a:pt x="339" y="70"/>
                      <a:pt x="339" y="70"/>
                    </a:cubicBezTo>
                    <a:cubicBezTo>
                      <a:pt x="282" y="66"/>
                      <a:pt x="232" y="52"/>
                      <a:pt x="182" y="27"/>
                    </a:cubicBezTo>
                    <a:cubicBezTo>
                      <a:pt x="132" y="52"/>
                      <a:pt x="81" y="66"/>
                      <a:pt x="25" y="70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198"/>
                      <a:pt x="74" y="326"/>
                      <a:pt x="182" y="388"/>
                    </a:cubicBezTo>
                    <a:cubicBezTo>
                      <a:pt x="289" y="326"/>
                      <a:pt x="339" y="198"/>
                      <a:pt x="339" y="80"/>
                    </a:cubicBezTo>
                    <a:lnTo>
                      <a:pt x="339" y="74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2" name="Freeform 288"/>
              <p:cNvSpPr>
                <a:spLocks/>
              </p:cNvSpPr>
              <p:nvPr/>
            </p:nvSpPr>
            <p:spPr bwMode="gray">
              <a:xfrm>
                <a:off x="6605354" y="3803682"/>
                <a:ext cx="116650" cy="155321"/>
              </a:xfrm>
              <a:custGeom>
                <a:avLst/>
                <a:gdLst>
                  <a:gd name="T0" fmla="*/ 0 w 130"/>
                  <a:gd name="T1" fmla="*/ 0 h 173"/>
                  <a:gd name="T2" fmla="*/ 130 w 130"/>
                  <a:gd name="T3" fmla="*/ 0 h 173"/>
                  <a:gd name="T4" fmla="*/ 130 w 130"/>
                  <a:gd name="T5" fmla="*/ 173 h 173"/>
                  <a:gd name="T6" fmla="*/ 0 w 130"/>
                  <a:gd name="T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0" h="173">
                    <a:moveTo>
                      <a:pt x="0" y="0"/>
                    </a:moveTo>
                    <a:cubicBezTo>
                      <a:pt x="130" y="0"/>
                      <a:pt x="130" y="0"/>
                      <a:pt x="130" y="0"/>
                    </a:cubicBezTo>
                    <a:cubicBezTo>
                      <a:pt x="130" y="173"/>
                      <a:pt x="130" y="173"/>
                      <a:pt x="130" y="173"/>
                    </a:cubicBezTo>
                    <a:cubicBezTo>
                      <a:pt x="71" y="138"/>
                      <a:pt x="24" y="77"/>
                      <a:pt x="0" y="0"/>
                    </a:cubicBezTo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3" name="Freeform 289"/>
              <p:cNvSpPr>
                <a:spLocks/>
              </p:cNvSpPr>
              <p:nvPr/>
            </p:nvSpPr>
            <p:spPr bwMode="gray">
              <a:xfrm>
                <a:off x="6722004" y="3648994"/>
                <a:ext cx="133767" cy="154687"/>
              </a:xfrm>
              <a:custGeom>
                <a:avLst/>
                <a:gdLst>
                  <a:gd name="T0" fmla="*/ 130 w 150"/>
                  <a:gd name="T1" fmla="*/ 173 h 173"/>
                  <a:gd name="T2" fmla="*/ 0 w 150"/>
                  <a:gd name="T3" fmla="*/ 173 h 173"/>
                  <a:gd name="T4" fmla="*/ 0 w 150"/>
                  <a:gd name="T5" fmla="*/ 0 h 173"/>
                  <a:gd name="T6" fmla="*/ 150 w 150"/>
                  <a:gd name="T7" fmla="*/ 43 h 173"/>
                  <a:gd name="T8" fmla="*/ 150 w 150"/>
                  <a:gd name="T9" fmla="*/ 46 h 173"/>
                  <a:gd name="T10" fmla="*/ 130 w 150"/>
                  <a:gd name="T11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0" h="173">
                    <a:moveTo>
                      <a:pt x="130" y="173"/>
                    </a:moveTo>
                    <a:cubicBezTo>
                      <a:pt x="0" y="173"/>
                      <a:pt x="0" y="173"/>
                      <a:pt x="0" y="17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9" y="25"/>
                      <a:pt x="100" y="39"/>
                      <a:pt x="150" y="43"/>
                    </a:cubicBezTo>
                    <a:cubicBezTo>
                      <a:pt x="150" y="46"/>
                      <a:pt x="150" y="46"/>
                      <a:pt x="150" y="46"/>
                    </a:cubicBezTo>
                    <a:cubicBezTo>
                      <a:pt x="150" y="91"/>
                      <a:pt x="143" y="134"/>
                      <a:pt x="130" y="173"/>
                    </a:cubicBezTo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25" name="Gruppieren 181"/>
          <p:cNvGrpSpPr/>
          <p:nvPr/>
        </p:nvGrpSpPr>
        <p:grpSpPr bwMode="gray">
          <a:xfrm>
            <a:off x="6362496" y="2992895"/>
            <a:ext cx="5248445" cy="693717"/>
            <a:chOff x="6882390" y="2665562"/>
            <a:chExt cx="4833361" cy="645835"/>
          </a:xfrm>
        </p:grpSpPr>
        <p:sp>
          <p:nvSpPr>
            <p:cNvPr id="226" name="Freihandform 225"/>
            <p:cNvSpPr/>
            <p:nvPr/>
          </p:nvSpPr>
          <p:spPr bwMode="gray">
            <a:xfrm>
              <a:off x="7003524" y="2665562"/>
              <a:ext cx="4712227" cy="508959"/>
            </a:xfrm>
            <a:custGeom>
              <a:avLst/>
              <a:gdLst>
                <a:gd name="connsiteX0" fmla="*/ 0 w 5046453"/>
                <a:gd name="connsiteY0" fmla="*/ 508959 h 508959"/>
                <a:gd name="connsiteX1" fmla="*/ 776377 w 5046453"/>
                <a:gd name="connsiteY1" fmla="*/ 0 h 508959"/>
                <a:gd name="connsiteX2" fmla="*/ 5046453 w 5046453"/>
                <a:gd name="connsiteY2" fmla="*/ 0 h 508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6453" h="508959">
                  <a:moveTo>
                    <a:pt x="0" y="508959"/>
                  </a:moveTo>
                  <a:lnTo>
                    <a:pt x="776377" y="0"/>
                  </a:lnTo>
                  <a:lnTo>
                    <a:pt x="5046453" y="0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7" name="Ellipse 226"/>
            <p:cNvSpPr/>
            <p:nvPr/>
          </p:nvSpPr>
          <p:spPr bwMode="gray">
            <a:xfrm>
              <a:off x="6882390" y="3085957"/>
              <a:ext cx="225440" cy="22544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39" name="Gruppieren 199"/>
          <p:cNvGrpSpPr/>
          <p:nvPr/>
        </p:nvGrpSpPr>
        <p:grpSpPr bwMode="gray">
          <a:xfrm flipH="1">
            <a:off x="6963271" y="4845112"/>
            <a:ext cx="4362573" cy="519885"/>
            <a:chOff x="627062" y="3085957"/>
            <a:chExt cx="4722042" cy="519885"/>
          </a:xfrm>
        </p:grpSpPr>
        <p:sp>
          <p:nvSpPr>
            <p:cNvPr id="240" name="Freihandform 239"/>
            <p:cNvSpPr/>
            <p:nvPr/>
          </p:nvSpPr>
          <p:spPr bwMode="gray">
            <a:xfrm>
              <a:off x="627062" y="3209026"/>
              <a:ext cx="4566039" cy="396816"/>
            </a:xfrm>
            <a:custGeom>
              <a:avLst/>
              <a:gdLst>
                <a:gd name="connsiteX0" fmla="*/ 5193102 w 5193102"/>
                <a:gd name="connsiteY0" fmla="*/ 0 h 396816"/>
                <a:gd name="connsiteX1" fmla="*/ 4718649 w 5193102"/>
                <a:gd name="connsiteY1" fmla="*/ 396816 h 396816"/>
                <a:gd name="connsiteX2" fmla="*/ 0 w 5193102"/>
                <a:gd name="connsiteY2" fmla="*/ 396816 h 39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93102" h="396816">
                  <a:moveTo>
                    <a:pt x="5193102" y="0"/>
                  </a:moveTo>
                  <a:lnTo>
                    <a:pt x="4718649" y="396816"/>
                  </a:lnTo>
                  <a:lnTo>
                    <a:pt x="0" y="396816"/>
                  </a:lnTo>
                </a:path>
              </a:pathLst>
            </a:custGeom>
            <a:noFill/>
            <a:ln w="19050">
              <a:solidFill>
                <a:srgbClr val="00646E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1" name="Ellipse 240"/>
            <p:cNvSpPr/>
            <p:nvPr/>
          </p:nvSpPr>
          <p:spPr bwMode="gray">
            <a:xfrm>
              <a:off x="5123664" y="3085957"/>
              <a:ext cx="225440" cy="225440"/>
            </a:xfrm>
            <a:prstGeom prst="ellipse">
              <a:avLst/>
            </a:prstGeom>
            <a:solidFill>
              <a:srgbClr val="2387AA"/>
            </a:solidFill>
            <a:ln>
              <a:solidFill>
                <a:srgbClr val="00646E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30051" name="Gruppieren 130050"/>
          <p:cNvGrpSpPr/>
          <p:nvPr/>
        </p:nvGrpSpPr>
        <p:grpSpPr>
          <a:xfrm>
            <a:off x="7288396" y="5723095"/>
            <a:ext cx="3725059" cy="511103"/>
            <a:chOff x="7567758" y="5896864"/>
            <a:chExt cx="3725059" cy="511103"/>
          </a:xfrm>
        </p:grpSpPr>
        <p:sp>
          <p:nvSpPr>
            <p:cNvPr id="173" name="Rechteck 172"/>
            <p:cNvSpPr>
              <a:spLocks/>
            </p:cNvSpPr>
            <p:nvPr/>
          </p:nvSpPr>
          <p:spPr bwMode="gray">
            <a:xfrm>
              <a:off x="9750728" y="6054443"/>
              <a:ext cx="1542089" cy="246221"/>
            </a:xfrm>
            <a:prstGeom prst="rect">
              <a:avLst/>
            </a:prstGeom>
            <a:noFill/>
            <a:extLst/>
          </p:spPr>
          <p:txBody>
            <a:bodyPr wrap="none" lIns="0" tIns="0" rIns="0" bIns="0" rtlCol="0">
              <a:spAutoFit/>
            </a:bodyPr>
            <a:lstStyle/>
            <a:p>
              <a:pPr marL="0" lvl="1" algn="r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Global footprint</a:t>
              </a:r>
            </a:p>
          </p:txBody>
        </p:sp>
        <p:sp>
          <p:nvSpPr>
            <p:cNvPr id="242" name="Freeform 7"/>
            <p:cNvSpPr>
              <a:spLocks noEditPoints="1"/>
            </p:cNvSpPr>
            <p:nvPr/>
          </p:nvSpPr>
          <p:spPr bwMode="gray">
            <a:xfrm>
              <a:off x="7567758" y="5896864"/>
              <a:ext cx="526328" cy="511103"/>
            </a:xfrm>
            <a:custGeom>
              <a:avLst/>
              <a:gdLst>
                <a:gd name="T0" fmla="*/ 1 w 597"/>
                <a:gd name="T1" fmla="*/ 276 h 597"/>
                <a:gd name="T2" fmla="*/ 299 w 597"/>
                <a:gd name="T3" fmla="*/ 597 h 597"/>
                <a:gd name="T4" fmla="*/ 559 w 597"/>
                <a:gd name="T5" fmla="*/ 233 h 597"/>
                <a:gd name="T6" fmla="*/ 549 w 597"/>
                <a:gd name="T7" fmla="*/ 243 h 597"/>
                <a:gd name="T8" fmla="*/ 559 w 597"/>
                <a:gd name="T9" fmla="*/ 233 h 597"/>
                <a:gd name="T10" fmla="*/ 15 w 597"/>
                <a:gd name="T11" fmla="*/ 287 h 597"/>
                <a:gd name="T12" fmla="*/ 81 w 597"/>
                <a:gd name="T13" fmla="*/ 351 h 597"/>
                <a:gd name="T14" fmla="*/ 120 w 597"/>
                <a:gd name="T15" fmla="*/ 440 h 597"/>
                <a:gd name="T16" fmla="*/ 138 w 597"/>
                <a:gd name="T17" fmla="*/ 532 h 597"/>
                <a:gd name="T18" fmla="*/ 566 w 597"/>
                <a:gd name="T19" fmla="*/ 393 h 597"/>
                <a:gd name="T20" fmla="*/ 517 w 597"/>
                <a:gd name="T21" fmla="*/ 480 h 597"/>
                <a:gd name="T22" fmla="*/ 299 w 597"/>
                <a:gd name="T23" fmla="*/ 582 h 597"/>
                <a:gd name="T24" fmla="*/ 176 w 597"/>
                <a:gd name="T25" fmla="*/ 519 h 597"/>
                <a:gd name="T26" fmla="*/ 230 w 597"/>
                <a:gd name="T27" fmla="*/ 461 h 597"/>
                <a:gd name="T28" fmla="*/ 242 w 597"/>
                <a:gd name="T29" fmla="*/ 398 h 597"/>
                <a:gd name="T30" fmla="*/ 212 w 597"/>
                <a:gd name="T31" fmla="*/ 360 h 597"/>
                <a:gd name="T32" fmla="*/ 159 w 597"/>
                <a:gd name="T33" fmla="*/ 318 h 597"/>
                <a:gd name="T34" fmla="*/ 91 w 597"/>
                <a:gd name="T35" fmla="*/ 294 h 597"/>
                <a:gd name="T36" fmla="*/ 63 w 597"/>
                <a:gd name="T37" fmla="*/ 304 h 597"/>
                <a:gd name="T38" fmla="*/ 48 w 597"/>
                <a:gd name="T39" fmla="*/ 272 h 597"/>
                <a:gd name="T40" fmla="*/ 138 w 597"/>
                <a:gd name="T41" fmla="*/ 249 h 597"/>
                <a:gd name="T42" fmla="*/ 34 w 597"/>
                <a:gd name="T43" fmla="*/ 266 h 597"/>
                <a:gd name="T44" fmla="*/ 88 w 597"/>
                <a:gd name="T45" fmla="*/ 213 h 597"/>
                <a:gd name="T46" fmla="*/ 178 w 597"/>
                <a:gd name="T47" fmla="*/ 145 h 597"/>
                <a:gd name="T48" fmla="*/ 202 w 597"/>
                <a:gd name="T49" fmla="*/ 142 h 597"/>
                <a:gd name="T50" fmla="*/ 175 w 597"/>
                <a:gd name="T51" fmla="*/ 80 h 597"/>
                <a:gd name="T52" fmla="*/ 104 w 597"/>
                <a:gd name="T53" fmla="*/ 105 h 597"/>
                <a:gd name="T54" fmla="*/ 167 w 597"/>
                <a:gd name="T55" fmla="*/ 47 h 597"/>
                <a:gd name="T56" fmla="*/ 244 w 597"/>
                <a:gd name="T57" fmla="*/ 83 h 597"/>
                <a:gd name="T58" fmla="*/ 311 w 597"/>
                <a:gd name="T59" fmla="*/ 72 h 597"/>
                <a:gd name="T60" fmla="*/ 342 w 597"/>
                <a:gd name="T61" fmla="*/ 39 h 597"/>
                <a:gd name="T62" fmla="*/ 201 w 597"/>
                <a:gd name="T63" fmla="*/ 32 h 597"/>
                <a:gd name="T64" fmla="*/ 477 w 597"/>
                <a:gd name="T65" fmla="*/ 78 h 597"/>
                <a:gd name="T66" fmla="*/ 374 w 597"/>
                <a:gd name="T67" fmla="*/ 82 h 597"/>
                <a:gd name="T68" fmla="*/ 416 w 597"/>
                <a:gd name="T69" fmla="*/ 92 h 597"/>
                <a:gd name="T70" fmla="*/ 363 w 597"/>
                <a:gd name="T71" fmla="*/ 124 h 597"/>
                <a:gd name="T72" fmla="*/ 359 w 597"/>
                <a:gd name="T73" fmla="*/ 145 h 597"/>
                <a:gd name="T74" fmla="*/ 329 w 597"/>
                <a:gd name="T75" fmla="*/ 183 h 597"/>
                <a:gd name="T76" fmla="*/ 403 w 597"/>
                <a:gd name="T77" fmla="*/ 173 h 597"/>
                <a:gd name="T78" fmla="*/ 482 w 597"/>
                <a:gd name="T79" fmla="*/ 221 h 597"/>
                <a:gd name="T80" fmla="*/ 408 w 597"/>
                <a:gd name="T81" fmla="*/ 209 h 597"/>
                <a:gd name="T82" fmla="*/ 315 w 597"/>
                <a:gd name="T83" fmla="*/ 228 h 597"/>
                <a:gd name="T84" fmla="*/ 320 w 597"/>
                <a:gd name="T85" fmla="*/ 335 h 597"/>
                <a:gd name="T86" fmla="*/ 408 w 597"/>
                <a:gd name="T87" fmla="*/ 401 h 597"/>
                <a:gd name="T88" fmla="*/ 505 w 597"/>
                <a:gd name="T89" fmla="*/ 430 h 597"/>
                <a:gd name="T90" fmla="*/ 537 w 597"/>
                <a:gd name="T91" fmla="*/ 304 h 597"/>
                <a:gd name="T92" fmla="*/ 582 w 597"/>
                <a:gd name="T93" fmla="*/ 298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97" h="597">
                  <a:moveTo>
                    <a:pt x="299" y="0"/>
                  </a:moveTo>
                  <a:cubicBezTo>
                    <a:pt x="141" y="0"/>
                    <a:pt x="12" y="121"/>
                    <a:pt x="1" y="276"/>
                  </a:cubicBezTo>
                  <a:cubicBezTo>
                    <a:pt x="1" y="276"/>
                    <a:pt x="1" y="276"/>
                    <a:pt x="1" y="276"/>
                  </a:cubicBezTo>
                  <a:cubicBezTo>
                    <a:pt x="1" y="276"/>
                    <a:pt x="1" y="276"/>
                    <a:pt x="1" y="276"/>
                  </a:cubicBezTo>
                  <a:cubicBezTo>
                    <a:pt x="0" y="283"/>
                    <a:pt x="0" y="291"/>
                    <a:pt x="0" y="298"/>
                  </a:cubicBezTo>
                  <a:cubicBezTo>
                    <a:pt x="0" y="463"/>
                    <a:pt x="134" y="597"/>
                    <a:pt x="299" y="597"/>
                  </a:cubicBezTo>
                  <a:cubicBezTo>
                    <a:pt x="464" y="597"/>
                    <a:pt x="597" y="463"/>
                    <a:pt x="597" y="298"/>
                  </a:cubicBezTo>
                  <a:cubicBezTo>
                    <a:pt x="597" y="133"/>
                    <a:pt x="464" y="0"/>
                    <a:pt x="299" y="0"/>
                  </a:cubicBezTo>
                  <a:close/>
                  <a:moveTo>
                    <a:pt x="559" y="233"/>
                  </a:moveTo>
                  <a:cubicBezTo>
                    <a:pt x="575" y="233"/>
                    <a:pt x="575" y="233"/>
                    <a:pt x="575" y="233"/>
                  </a:cubicBezTo>
                  <a:cubicBezTo>
                    <a:pt x="576" y="236"/>
                    <a:pt x="576" y="240"/>
                    <a:pt x="577" y="243"/>
                  </a:cubicBezTo>
                  <a:cubicBezTo>
                    <a:pt x="549" y="243"/>
                    <a:pt x="549" y="243"/>
                    <a:pt x="549" y="243"/>
                  </a:cubicBezTo>
                  <a:cubicBezTo>
                    <a:pt x="538" y="233"/>
                    <a:pt x="538" y="233"/>
                    <a:pt x="538" y="233"/>
                  </a:cubicBezTo>
                  <a:cubicBezTo>
                    <a:pt x="531" y="212"/>
                    <a:pt x="531" y="212"/>
                    <a:pt x="531" y="212"/>
                  </a:cubicBezTo>
                  <a:lnTo>
                    <a:pt x="559" y="233"/>
                  </a:lnTo>
                  <a:close/>
                  <a:moveTo>
                    <a:pt x="37" y="409"/>
                  </a:moveTo>
                  <a:cubicBezTo>
                    <a:pt x="22" y="374"/>
                    <a:pt x="15" y="337"/>
                    <a:pt x="15" y="298"/>
                  </a:cubicBezTo>
                  <a:cubicBezTo>
                    <a:pt x="15" y="294"/>
                    <a:pt x="15" y="290"/>
                    <a:pt x="15" y="287"/>
                  </a:cubicBezTo>
                  <a:cubicBezTo>
                    <a:pt x="54" y="315"/>
                    <a:pt x="54" y="315"/>
                    <a:pt x="54" y="315"/>
                  </a:cubicBezTo>
                  <a:cubicBezTo>
                    <a:pt x="81" y="332"/>
                    <a:pt x="81" y="332"/>
                    <a:pt x="81" y="332"/>
                  </a:cubicBezTo>
                  <a:cubicBezTo>
                    <a:pt x="81" y="351"/>
                    <a:pt x="81" y="351"/>
                    <a:pt x="81" y="351"/>
                  </a:cubicBezTo>
                  <a:cubicBezTo>
                    <a:pt x="63" y="369"/>
                    <a:pt x="63" y="369"/>
                    <a:pt x="63" y="369"/>
                  </a:cubicBezTo>
                  <a:cubicBezTo>
                    <a:pt x="90" y="430"/>
                    <a:pt x="90" y="430"/>
                    <a:pt x="90" y="430"/>
                  </a:cubicBezTo>
                  <a:cubicBezTo>
                    <a:pt x="120" y="440"/>
                    <a:pt x="120" y="440"/>
                    <a:pt x="120" y="440"/>
                  </a:cubicBezTo>
                  <a:cubicBezTo>
                    <a:pt x="129" y="503"/>
                    <a:pt x="129" y="503"/>
                    <a:pt x="129" y="503"/>
                  </a:cubicBezTo>
                  <a:cubicBezTo>
                    <a:pt x="151" y="519"/>
                    <a:pt x="151" y="519"/>
                    <a:pt x="151" y="519"/>
                  </a:cubicBezTo>
                  <a:cubicBezTo>
                    <a:pt x="138" y="532"/>
                    <a:pt x="138" y="532"/>
                    <a:pt x="138" y="532"/>
                  </a:cubicBezTo>
                  <a:cubicBezTo>
                    <a:pt x="124" y="522"/>
                    <a:pt x="110" y="511"/>
                    <a:pt x="98" y="499"/>
                  </a:cubicBezTo>
                  <a:cubicBezTo>
                    <a:pt x="72" y="473"/>
                    <a:pt x="52" y="443"/>
                    <a:pt x="37" y="409"/>
                  </a:cubicBezTo>
                  <a:close/>
                  <a:moveTo>
                    <a:pt x="566" y="393"/>
                  </a:moveTo>
                  <a:cubicBezTo>
                    <a:pt x="531" y="415"/>
                    <a:pt x="531" y="415"/>
                    <a:pt x="531" y="415"/>
                  </a:cubicBezTo>
                  <a:cubicBezTo>
                    <a:pt x="517" y="456"/>
                    <a:pt x="517" y="456"/>
                    <a:pt x="517" y="456"/>
                  </a:cubicBezTo>
                  <a:cubicBezTo>
                    <a:pt x="517" y="480"/>
                    <a:pt x="517" y="480"/>
                    <a:pt x="517" y="480"/>
                  </a:cubicBezTo>
                  <a:cubicBezTo>
                    <a:pt x="511" y="486"/>
                    <a:pt x="505" y="493"/>
                    <a:pt x="499" y="499"/>
                  </a:cubicBezTo>
                  <a:cubicBezTo>
                    <a:pt x="473" y="525"/>
                    <a:pt x="443" y="545"/>
                    <a:pt x="409" y="560"/>
                  </a:cubicBezTo>
                  <a:cubicBezTo>
                    <a:pt x="374" y="575"/>
                    <a:pt x="337" y="582"/>
                    <a:pt x="299" y="582"/>
                  </a:cubicBezTo>
                  <a:cubicBezTo>
                    <a:pt x="260" y="582"/>
                    <a:pt x="223" y="575"/>
                    <a:pt x="188" y="560"/>
                  </a:cubicBezTo>
                  <a:cubicBezTo>
                    <a:pt x="181" y="557"/>
                    <a:pt x="174" y="553"/>
                    <a:pt x="167" y="550"/>
                  </a:cubicBezTo>
                  <a:cubicBezTo>
                    <a:pt x="176" y="519"/>
                    <a:pt x="176" y="519"/>
                    <a:pt x="176" y="519"/>
                  </a:cubicBezTo>
                  <a:cubicBezTo>
                    <a:pt x="190" y="506"/>
                    <a:pt x="190" y="506"/>
                    <a:pt x="190" y="506"/>
                  </a:cubicBezTo>
                  <a:cubicBezTo>
                    <a:pt x="211" y="461"/>
                    <a:pt x="211" y="461"/>
                    <a:pt x="211" y="461"/>
                  </a:cubicBezTo>
                  <a:cubicBezTo>
                    <a:pt x="230" y="461"/>
                    <a:pt x="230" y="461"/>
                    <a:pt x="230" y="461"/>
                  </a:cubicBezTo>
                  <a:cubicBezTo>
                    <a:pt x="242" y="449"/>
                    <a:pt x="242" y="449"/>
                    <a:pt x="242" y="449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398"/>
                    <a:pt x="242" y="398"/>
                    <a:pt x="242" y="398"/>
                  </a:cubicBezTo>
                  <a:cubicBezTo>
                    <a:pt x="255" y="398"/>
                    <a:pt x="255" y="398"/>
                    <a:pt x="255" y="398"/>
                  </a:cubicBezTo>
                  <a:cubicBezTo>
                    <a:pt x="255" y="367"/>
                    <a:pt x="255" y="367"/>
                    <a:pt x="255" y="367"/>
                  </a:cubicBezTo>
                  <a:cubicBezTo>
                    <a:pt x="212" y="360"/>
                    <a:pt x="212" y="360"/>
                    <a:pt x="212" y="360"/>
                  </a:cubicBezTo>
                  <a:cubicBezTo>
                    <a:pt x="194" y="342"/>
                    <a:pt x="194" y="342"/>
                    <a:pt x="194" y="342"/>
                  </a:cubicBezTo>
                  <a:cubicBezTo>
                    <a:pt x="194" y="322"/>
                    <a:pt x="194" y="322"/>
                    <a:pt x="194" y="322"/>
                  </a:cubicBezTo>
                  <a:cubicBezTo>
                    <a:pt x="159" y="318"/>
                    <a:pt x="159" y="318"/>
                    <a:pt x="159" y="318"/>
                  </a:cubicBezTo>
                  <a:cubicBezTo>
                    <a:pt x="140" y="298"/>
                    <a:pt x="140" y="298"/>
                    <a:pt x="140" y="298"/>
                  </a:cubicBezTo>
                  <a:cubicBezTo>
                    <a:pt x="115" y="294"/>
                    <a:pt x="115" y="294"/>
                    <a:pt x="115" y="294"/>
                  </a:cubicBezTo>
                  <a:cubicBezTo>
                    <a:pt x="91" y="294"/>
                    <a:pt x="91" y="294"/>
                    <a:pt x="91" y="294"/>
                  </a:cubicBezTo>
                  <a:cubicBezTo>
                    <a:pt x="81" y="304"/>
                    <a:pt x="81" y="304"/>
                    <a:pt x="81" y="304"/>
                  </a:cubicBezTo>
                  <a:cubicBezTo>
                    <a:pt x="81" y="304"/>
                    <a:pt x="81" y="304"/>
                    <a:pt x="81" y="304"/>
                  </a:cubicBezTo>
                  <a:cubicBezTo>
                    <a:pt x="63" y="304"/>
                    <a:pt x="63" y="304"/>
                    <a:pt x="63" y="304"/>
                  </a:cubicBezTo>
                  <a:cubicBezTo>
                    <a:pt x="63" y="286"/>
                    <a:pt x="63" y="286"/>
                    <a:pt x="63" y="286"/>
                  </a:cubicBezTo>
                  <a:cubicBezTo>
                    <a:pt x="48" y="286"/>
                    <a:pt x="48" y="286"/>
                    <a:pt x="48" y="286"/>
                  </a:cubicBezTo>
                  <a:cubicBezTo>
                    <a:pt x="48" y="272"/>
                    <a:pt x="48" y="272"/>
                    <a:pt x="48" y="272"/>
                  </a:cubicBezTo>
                  <a:cubicBezTo>
                    <a:pt x="77" y="249"/>
                    <a:pt x="77" y="249"/>
                    <a:pt x="77" y="249"/>
                  </a:cubicBezTo>
                  <a:cubicBezTo>
                    <a:pt x="130" y="266"/>
                    <a:pt x="130" y="266"/>
                    <a:pt x="130" y="266"/>
                  </a:cubicBezTo>
                  <a:cubicBezTo>
                    <a:pt x="138" y="249"/>
                    <a:pt x="138" y="249"/>
                    <a:pt x="138" y="249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55" y="245"/>
                    <a:pt x="55" y="245"/>
                    <a:pt x="55" y="245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19" y="248"/>
                    <a:pt x="23" y="230"/>
                    <a:pt x="28" y="213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70" y="153"/>
                    <a:pt x="170" y="153"/>
                    <a:pt x="170" y="153"/>
                  </a:cubicBezTo>
                  <a:cubicBezTo>
                    <a:pt x="178" y="145"/>
                    <a:pt x="178" y="145"/>
                    <a:pt x="178" y="145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88" y="115"/>
                    <a:pt x="188" y="115"/>
                    <a:pt x="188" y="115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18" y="142"/>
                    <a:pt x="218" y="142"/>
                    <a:pt x="218" y="142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175" y="80"/>
                    <a:pt x="175" y="80"/>
                    <a:pt x="175" y="80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118" y="77"/>
                    <a:pt x="142" y="60"/>
                    <a:pt x="167" y="47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44" y="63"/>
                    <a:pt x="244" y="63"/>
                    <a:pt x="244" y="63"/>
                  </a:cubicBezTo>
                  <a:cubicBezTo>
                    <a:pt x="244" y="83"/>
                    <a:pt x="244" y="83"/>
                    <a:pt x="244" y="83"/>
                  </a:cubicBezTo>
                  <a:cubicBezTo>
                    <a:pt x="263" y="94"/>
                    <a:pt x="263" y="94"/>
                    <a:pt x="263" y="94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311" y="72"/>
                    <a:pt x="311" y="72"/>
                    <a:pt x="311" y="72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42" y="53"/>
                    <a:pt x="342" y="53"/>
                    <a:pt x="342" y="53"/>
                  </a:cubicBezTo>
                  <a:cubicBezTo>
                    <a:pt x="342" y="39"/>
                    <a:pt x="342" y="39"/>
                    <a:pt x="342" y="39"/>
                  </a:cubicBezTo>
                  <a:cubicBezTo>
                    <a:pt x="293" y="26"/>
                    <a:pt x="293" y="26"/>
                    <a:pt x="293" y="26"/>
                  </a:cubicBezTo>
                  <a:cubicBezTo>
                    <a:pt x="244" y="26"/>
                    <a:pt x="244" y="26"/>
                    <a:pt x="244" y="26"/>
                  </a:cubicBezTo>
                  <a:cubicBezTo>
                    <a:pt x="201" y="32"/>
                    <a:pt x="201" y="32"/>
                    <a:pt x="201" y="32"/>
                  </a:cubicBezTo>
                  <a:cubicBezTo>
                    <a:pt x="232" y="20"/>
                    <a:pt x="265" y="15"/>
                    <a:pt x="299" y="15"/>
                  </a:cubicBezTo>
                  <a:cubicBezTo>
                    <a:pt x="337" y="15"/>
                    <a:pt x="374" y="22"/>
                    <a:pt x="409" y="37"/>
                  </a:cubicBezTo>
                  <a:cubicBezTo>
                    <a:pt x="434" y="47"/>
                    <a:pt x="457" y="61"/>
                    <a:pt x="477" y="78"/>
                  </a:cubicBezTo>
                  <a:cubicBezTo>
                    <a:pt x="400" y="72"/>
                    <a:pt x="400" y="72"/>
                    <a:pt x="400" y="72"/>
                  </a:cubicBezTo>
                  <a:cubicBezTo>
                    <a:pt x="390" y="82"/>
                    <a:pt x="390" y="82"/>
                    <a:pt x="390" y="82"/>
                  </a:cubicBezTo>
                  <a:cubicBezTo>
                    <a:pt x="374" y="82"/>
                    <a:pt x="374" y="82"/>
                    <a:pt x="374" y="82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96" y="103"/>
                    <a:pt x="396" y="103"/>
                    <a:pt x="396" y="103"/>
                  </a:cubicBezTo>
                  <a:cubicBezTo>
                    <a:pt x="416" y="92"/>
                    <a:pt x="416" y="92"/>
                    <a:pt x="416" y="92"/>
                  </a:cubicBezTo>
                  <a:cubicBezTo>
                    <a:pt x="420" y="113"/>
                    <a:pt x="420" y="113"/>
                    <a:pt x="420" y="113"/>
                  </a:cubicBezTo>
                  <a:cubicBezTo>
                    <a:pt x="373" y="113"/>
                    <a:pt x="373" y="113"/>
                    <a:pt x="373" y="113"/>
                  </a:cubicBezTo>
                  <a:cubicBezTo>
                    <a:pt x="363" y="124"/>
                    <a:pt x="363" y="124"/>
                    <a:pt x="363" y="124"/>
                  </a:cubicBezTo>
                  <a:cubicBezTo>
                    <a:pt x="344" y="124"/>
                    <a:pt x="344" y="124"/>
                    <a:pt x="344" y="124"/>
                  </a:cubicBezTo>
                  <a:cubicBezTo>
                    <a:pt x="335" y="133"/>
                    <a:pt x="335" y="133"/>
                    <a:pt x="335" y="133"/>
                  </a:cubicBezTo>
                  <a:cubicBezTo>
                    <a:pt x="359" y="145"/>
                    <a:pt x="359" y="145"/>
                    <a:pt x="359" y="145"/>
                  </a:cubicBezTo>
                  <a:cubicBezTo>
                    <a:pt x="353" y="158"/>
                    <a:pt x="353" y="158"/>
                    <a:pt x="353" y="158"/>
                  </a:cubicBezTo>
                  <a:cubicBezTo>
                    <a:pt x="329" y="158"/>
                    <a:pt x="329" y="158"/>
                    <a:pt x="329" y="158"/>
                  </a:cubicBezTo>
                  <a:cubicBezTo>
                    <a:pt x="329" y="183"/>
                    <a:pt x="329" y="183"/>
                    <a:pt x="329" y="183"/>
                  </a:cubicBezTo>
                  <a:cubicBezTo>
                    <a:pt x="347" y="183"/>
                    <a:pt x="347" y="183"/>
                    <a:pt x="347" y="183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403" y="173"/>
                    <a:pt x="403" y="173"/>
                    <a:pt x="403" y="173"/>
                  </a:cubicBezTo>
                  <a:cubicBezTo>
                    <a:pt x="457" y="189"/>
                    <a:pt x="457" y="189"/>
                    <a:pt x="457" y="189"/>
                  </a:cubicBezTo>
                  <a:cubicBezTo>
                    <a:pt x="482" y="190"/>
                    <a:pt x="482" y="190"/>
                    <a:pt x="482" y="190"/>
                  </a:cubicBezTo>
                  <a:cubicBezTo>
                    <a:pt x="482" y="221"/>
                    <a:pt x="482" y="221"/>
                    <a:pt x="482" y="221"/>
                  </a:cubicBezTo>
                  <a:cubicBezTo>
                    <a:pt x="481" y="228"/>
                    <a:pt x="481" y="228"/>
                    <a:pt x="481" y="228"/>
                  </a:cubicBezTo>
                  <a:cubicBezTo>
                    <a:pt x="469" y="209"/>
                    <a:pt x="469" y="209"/>
                    <a:pt x="469" y="209"/>
                  </a:cubicBezTo>
                  <a:cubicBezTo>
                    <a:pt x="408" y="209"/>
                    <a:pt x="408" y="209"/>
                    <a:pt x="408" y="209"/>
                  </a:cubicBezTo>
                  <a:cubicBezTo>
                    <a:pt x="382" y="183"/>
                    <a:pt x="382" y="183"/>
                    <a:pt x="382" y="183"/>
                  </a:cubicBezTo>
                  <a:cubicBezTo>
                    <a:pt x="330" y="198"/>
                    <a:pt x="330" y="198"/>
                    <a:pt x="330" y="198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290" y="236"/>
                    <a:pt x="290" y="236"/>
                    <a:pt x="290" y="236"/>
                  </a:cubicBezTo>
                  <a:cubicBezTo>
                    <a:pt x="284" y="298"/>
                    <a:pt x="284" y="298"/>
                    <a:pt x="284" y="298"/>
                  </a:cubicBezTo>
                  <a:cubicBezTo>
                    <a:pt x="320" y="335"/>
                    <a:pt x="320" y="335"/>
                    <a:pt x="320" y="335"/>
                  </a:cubicBezTo>
                  <a:cubicBezTo>
                    <a:pt x="353" y="335"/>
                    <a:pt x="353" y="335"/>
                    <a:pt x="353" y="335"/>
                  </a:cubicBezTo>
                  <a:cubicBezTo>
                    <a:pt x="387" y="319"/>
                    <a:pt x="387" y="319"/>
                    <a:pt x="387" y="319"/>
                  </a:cubicBezTo>
                  <a:cubicBezTo>
                    <a:pt x="408" y="401"/>
                    <a:pt x="408" y="401"/>
                    <a:pt x="408" y="401"/>
                  </a:cubicBezTo>
                  <a:cubicBezTo>
                    <a:pt x="408" y="510"/>
                    <a:pt x="408" y="510"/>
                    <a:pt x="408" y="510"/>
                  </a:cubicBezTo>
                  <a:cubicBezTo>
                    <a:pt x="445" y="519"/>
                    <a:pt x="445" y="519"/>
                    <a:pt x="445" y="519"/>
                  </a:cubicBezTo>
                  <a:cubicBezTo>
                    <a:pt x="505" y="430"/>
                    <a:pt x="505" y="430"/>
                    <a:pt x="505" y="430"/>
                  </a:cubicBezTo>
                  <a:cubicBezTo>
                    <a:pt x="505" y="361"/>
                    <a:pt x="505" y="361"/>
                    <a:pt x="505" y="361"/>
                  </a:cubicBezTo>
                  <a:cubicBezTo>
                    <a:pt x="549" y="317"/>
                    <a:pt x="549" y="317"/>
                    <a:pt x="549" y="317"/>
                  </a:cubicBezTo>
                  <a:cubicBezTo>
                    <a:pt x="537" y="304"/>
                    <a:pt x="537" y="304"/>
                    <a:pt x="537" y="304"/>
                  </a:cubicBezTo>
                  <a:cubicBezTo>
                    <a:pt x="555" y="286"/>
                    <a:pt x="555" y="286"/>
                    <a:pt x="555" y="286"/>
                  </a:cubicBezTo>
                  <a:cubicBezTo>
                    <a:pt x="582" y="279"/>
                    <a:pt x="582" y="279"/>
                    <a:pt x="582" y="279"/>
                  </a:cubicBezTo>
                  <a:cubicBezTo>
                    <a:pt x="582" y="286"/>
                    <a:pt x="582" y="292"/>
                    <a:pt x="582" y="298"/>
                  </a:cubicBezTo>
                  <a:cubicBezTo>
                    <a:pt x="582" y="331"/>
                    <a:pt x="577" y="363"/>
                    <a:pt x="566" y="39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sz="1400" kern="1400" dirty="0">
                <a:solidFill>
                  <a:schemeClr val="bg1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0052" name="Gruppieren 130051"/>
          <p:cNvGrpSpPr/>
          <p:nvPr/>
        </p:nvGrpSpPr>
        <p:grpSpPr>
          <a:xfrm>
            <a:off x="6838050" y="4765600"/>
            <a:ext cx="4461221" cy="524234"/>
            <a:chOff x="6805829" y="4662180"/>
            <a:chExt cx="4990911" cy="524234"/>
          </a:xfrm>
        </p:grpSpPr>
        <p:sp>
          <p:nvSpPr>
            <p:cNvPr id="236" name="Rechteck 235"/>
            <p:cNvSpPr>
              <a:spLocks/>
            </p:cNvSpPr>
            <p:nvPr/>
          </p:nvSpPr>
          <p:spPr bwMode="gray">
            <a:xfrm>
              <a:off x="6805829" y="4923431"/>
              <a:ext cx="4990911" cy="246221"/>
            </a:xfrm>
            <a:prstGeom prst="rect">
              <a:avLst/>
            </a:prstGeom>
            <a:noFill/>
            <a:extLst/>
          </p:spPr>
          <p:txBody>
            <a:bodyPr wrap="square" lIns="0" tIns="0" rIns="0" bIns="0" rtlCol="0">
              <a:spAutoFit/>
            </a:bodyPr>
            <a:lstStyle/>
            <a:p>
              <a:pPr marL="0" lvl="1" algn="r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Connected Mobility Solutions</a:t>
              </a:r>
            </a:p>
          </p:txBody>
        </p:sp>
        <p:grpSp>
          <p:nvGrpSpPr>
            <p:cNvPr id="237" name="Gruppieren 4"/>
            <p:cNvGrpSpPr>
              <a:grpSpLocks noChangeAspect="1"/>
            </p:cNvGrpSpPr>
            <p:nvPr/>
          </p:nvGrpSpPr>
          <p:grpSpPr bwMode="gray">
            <a:xfrm>
              <a:off x="7816657" y="4662180"/>
              <a:ext cx="576057" cy="524234"/>
              <a:chOff x="6848275" y="2712952"/>
              <a:chExt cx="508459" cy="462718"/>
            </a:xfrm>
            <a:solidFill>
              <a:srgbClr val="2387AA"/>
            </a:solidFill>
          </p:grpSpPr>
          <p:sp>
            <p:nvSpPr>
              <p:cNvPr id="238" name="Freeform 5"/>
              <p:cNvSpPr>
                <a:spLocks/>
              </p:cNvSpPr>
              <p:nvPr/>
            </p:nvSpPr>
            <p:spPr bwMode="gray">
              <a:xfrm>
                <a:off x="6848275" y="2836095"/>
                <a:ext cx="181040" cy="212456"/>
              </a:xfrm>
              <a:custGeom>
                <a:avLst/>
                <a:gdLst>
                  <a:gd name="T0" fmla="*/ 173 w 173"/>
                  <a:gd name="T1" fmla="*/ 66 h 228"/>
                  <a:gd name="T2" fmla="*/ 153 w 173"/>
                  <a:gd name="T3" fmla="*/ 66 h 228"/>
                  <a:gd name="T4" fmla="*/ 141 w 173"/>
                  <a:gd name="T5" fmla="*/ 63 h 228"/>
                  <a:gd name="T6" fmla="*/ 118 w 173"/>
                  <a:gd name="T7" fmla="*/ 86 h 228"/>
                  <a:gd name="T8" fmla="*/ 118 w 173"/>
                  <a:gd name="T9" fmla="*/ 86 h 228"/>
                  <a:gd name="T10" fmla="*/ 141 w 173"/>
                  <a:gd name="T11" fmla="*/ 110 h 228"/>
                  <a:gd name="T12" fmla="*/ 153 w 173"/>
                  <a:gd name="T13" fmla="*/ 107 h 228"/>
                  <a:gd name="T14" fmla="*/ 173 w 173"/>
                  <a:gd name="T15" fmla="*/ 107 h 228"/>
                  <a:gd name="T16" fmla="*/ 173 w 173"/>
                  <a:gd name="T17" fmla="*/ 110 h 228"/>
                  <a:gd name="T18" fmla="*/ 173 w 173"/>
                  <a:gd name="T19" fmla="*/ 173 h 228"/>
                  <a:gd name="T20" fmla="*/ 106 w 173"/>
                  <a:gd name="T21" fmla="*/ 173 h 228"/>
                  <a:gd name="T22" fmla="*/ 102 w 173"/>
                  <a:gd name="T23" fmla="*/ 214 h 228"/>
                  <a:gd name="T24" fmla="*/ 87 w 173"/>
                  <a:gd name="T25" fmla="*/ 228 h 228"/>
                  <a:gd name="T26" fmla="*/ 71 w 173"/>
                  <a:gd name="T27" fmla="*/ 214 h 228"/>
                  <a:gd name="T28" fmla="*/ 67 w 173"/>
                  <a:gd name="T29" fmla="*/ 173 h 228"/>
                  <a:gd name="T30" fmla="*/ 0 w 173"/>
                  <a:gd name="T31" fmla="*/ 173 h 228"/>
                  <a:gd name="T32" fmla="*/ 0 w 173"/>
                  <a:gd name="T33" fmla="*/ 0 h 228"/>
                  <a:gd name="T34" fmla="*/ 173 w 173"/>
                  <a:gd name="T35" fmla="*/ 0 h 228"/>
                  <a:gd name="T36" fmla="*/ 173 w 173"/>
                  <a:gd name="T37" fmla="*/ 63 h 228"/>
                  <a:gd name="T38" fmla="*/ 173 w 173"/>
                  <a:gd name="T39" fmla="*/ 66 h 228"/>
                  <a:gd name="T40" fmla="*/ 173 w 173"/>
                  <a:gd name="T41" fmla="*/ 66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3" h="228">
                    <a:moveTo>
                      <a:pt x="173" y="66"/>
                    </a:moveTo>
                    <a:cubicBezTo>
                      <a:pt x="171" y="76"/>
                      <a:pt x="162" y="70"/>
                      <a:pt x="153" y="66"/>
                    </a:cubicBezTo>
                    <a:cubicBezTo>
                      <a:pt x="149" y="65"/>
                      <a:pt x="145" y="63"/>
                      <a:pt x="141" y="63"/>
                    </a:cubicBezTo>
                    <a:cubicBezTo>
                      <a:pt x="128" y="63"/>
                      <a:pt x="118" y="73"/>
                      <a:pt x="118" y="86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118" y="100"/>
                      <a:pt x="128" y="110"/>
                      <a:pt x="141" y="110"/>
                    </a:cubicBezTo>
                    <a:cubicBezTo>
                      <a:pt x="145" y="110"/>
                      <a:pt x="149" y="108"/>
                      <a:pt x="153" y="107"/>
                    </a:cubicBezTo>
                    <a:cubicBezTo>
                      <a:pt x="162" y="103"/>
                      <a:pt x="171" y="97"/>
                      <a:pt x="173" y="107"/>
                    </a:cubicBezTo>
                    <a:cubicBezTo>
                      <a:pt x="173" y="110"/>
                      <a:pt x="173" y="110"/>
                      <a:pt x="173" y="110"/>
                    </a:cubicBezTo>
                    <a:cubicBezTo>
                      <a:pt x="173" y="173"/>
                      <a:pt x="173" y="173"/>
                      <a:pt x="173" y="173"/>
                    </a:cubicBezTo>
                    <a:cubicBezTo>
                      <a:pt x="106" y="173"/>
                      <a:pt x="106" y="173"/>
                      <a:pt x="106" y="173"/>
                    </a:cubicBezTo>
                    <a:cubicBezTo>
                      <a:pt x="79" y="179"/>
                      <a:pt x="102" y="202"/>
                      <a:pt x="102" y="214"/>
                    </a:cubicBezTo>
                    <a:cubicBezTo>
                      <a:pt x="102" y="222"/>
                      <a:pt x="96" y="228"/>
                      <a:pt x="87" y="228"/>
                    </a:cubicBezTo>
                    <a:cubicBezTo>
                      <a:pt x="78" y="228"/>
                      <a:pt x="71" y="222"/>
                      <a:pt x="71" y="214"/>
                    </a:cubicBezTo>
                    <a:cubicBezTo>
                      <a:pt x="71" y="202"/>
                      <a:pt x="94" y="179"/>
                      <a:pt x="67" y="173"/>
                    </a:cubicBezTo>
                    <a:cubicBezTo>
                      <a:pt x="0" y="173"/>
                      <a:pt x="0" y="173"/>
                      <a:pt x="0" y="17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173" y="63"/>
                      <a:pt x="173" y="63"/>
                      <a:pt x="173" y="63"/>
                    </a:cubicBezTo>
                    <a:cubicBezTo>
                      <a:pt x="173" y="66"/>
                      <a:pt x="173" y="66"/>
                      <a:pt x="173" y="66"/>
                    </a:cubicBezTo>
                    <a:cubicBezTo>
                      <a:pt x="173" y="66"/>
                      <a:pt x="173" y="66"/>
                      <a:pt x="173" y="66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3" name="Freeform 6"/>
              <p:cNvSpPr>
                <a:spLocks/>
              </p:cNvSpPr>
              <p:nvPr/>
            </p:nvSpPr>
            <p:spPr bwMode="gray">
              <a:xfrm>
                <a:off x="7038950" y="2962552"/>
                <a:ext cx="182529" cy="213118"/>
              </a:xfrm>
              <a:custGeom>
                <a:avLst/>
                <a:gdLst>
                  <a:gd name="T0" fmla="*/ 25 w 174"/>
                  <a:gd name="T1" fmla="*/ 173 h 229"/>
                  <a:gd name="T2" fmla="*/ 55 w 174"/>
                  <a:gd name="T3" fmla="*/ 142 h 229"/>
                  <a:gd name="T4" fmla="*/ 25 w 174"/>
                  <a:gd name="T5" fmla="*/ 110 h 229"/>
                  <a:gd name="T6" fmla="*/ 0 w 174"/>
                  <a:gd name="T7" fmla="*/ 119 h 229"/>
                  <a:gd name="T8" fmla="*/ 0 w 174"/>
                  <a:gd name="T9" fmla="*/ 55 h 229"/>
                  <a:gd name="T10" fmla="*/ 67 w 174"/>
                  <a:gd name="T11" fmla="*/ 55 h 229"/>
                  <a:gd name="T12" fmla="*/ 67 w 174"/>
                  <a:gd name="T13" fmla="*/ 35 h 229"/>
                  <a:gd name="T14" fmla="*/ 63 w 174"/>
                  <a:gd name="T15" fmla="*/ 22 h 229"/>
                  <a:gd name="T16" fmla="*/ 87 w 174"/>
                  <a:gd name="T17" fmla="*/ 0 h 229"/>
                  <a:gd name="T18" fmla="*/ 111 w 174"/>
                  <a:gd name="T19" fmla="*/ 22 h 229"/>
                  <a:gd name="T20" fmla="*/ 107 w 174"/>
                  <a:gd name="T21" fmla="*/ 35 h 229"/>
                  <a:gd name="T22" fmla="*/ 107 w 174"/>
                  <a:gd name="T23" fmla="*/ 55 h 229"/>
                  <a:gd name="T24" fmla="*/ 174 w 174"/>
                  <a:gd name="T25" fmla="*/ 55 h 229"/>
                  <a:gd name="T26" fmla="*/ 174 w 174"/>
                  <a:gd name="T27" fmla="*/ 229 h 229"/>
                  <a:gd name="T28" fmla="*/ 0 w 174"/>
                  <a:gd name="T29" fmla="*/ 229 h 229"/>
                  <a:gd name="T30" fmla="*/ 0 w 174"/>
                  <a:gd name="T31" fmla="*/ 165 h 229"/>
                  <a:gd name="T32" fmla="*/ 25 w 174"/>
                  <a:gd name="T33" fmla="*/ 173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229">
                    <a:moveTo>
                      <a:pt x="25" y="173"/>
                    </a:moveTo>
                    <a:cubicBezTo>
                      <a:pt x="42" y="173"/>
                      <a:pt x="55" y="159"/>
                      <a:pt x="55" y="142"/>
                    </a:cubicBezTo>
                    <a:cubicBezTo>
                      <a:pt x="55" y="125"/>
                      <a:pt x="42" y="110"/>
                      <a:pt x="25" y="110"/>
                    </a:cubicBezTo>
                    <a:cubicBezTo>
                      <a:pt x="16" y="110"/>
                      <a:pt x="8" y="116"/>
                      <a:pt x="0" y="119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67" y="55"/>
                      <a:pt x="67" y="55"/>
                      <a:pt x="67" y="55"/>
                    </a:cubicBezTo>
                    <a:cubicBezTo>
                      <a:pt x="77" y="53"/>
                      <a:pt x="70" y="43"/>
                      <a:pt x="67" y="35"/>
                    </a:cubicBezTo>
                    <a:cubicBezTo>
                      <a:pt x="65" y="31"/>
                      <a:pt x="63" y="27"/>
                      <a:pt x="63" y="22"/>
                    </a:cubicBezTo>
                    <a:cubicBezTo>
                      <a:pt x="63" y="10"/>
                      <a:pt x="74" y="0"/>
                      <a:pt x="87" y="0"/>
                    </a:cubicBezTo>
                    <a:cubicBezTo>
                      <a:pt x="100" y="0"/>
                      <a:pt x="111" y="10"/>
                      <a:pt x="111" y="22"/>
                    </a:cubicBezTo>
                    <a:cubicBezTo>
                      <a:pt x="111" y="27"/>
                      <a:pt x="109" y="31"/>
                      <a:pt x="107" y="35"/>
                    </a:cubicBezTo>
                    <a:cubicBezTo>
                      <a:pt x="103" y="43"/>
                      <a:pt x="97" y="53"/>
                      <a:pt x="107" y="55"/>
                    </a:cubicBezTo>
                    <a:cubicBezTo>
                      <a:pt x="174" y="55"/>
                      <a:pt x="174" y="55"/>
                      <a:pt x="174" y="55"/>
                    </a:cubicBezTo>
                    <a:cubicBezTo>
                      <a:pt x="174" y="229"/>
                      <a:pt x="174" y="229"/>
                      <a:pt x="174" y="229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8" y="168"/>
                      <a:pt x="16" y="173"/>
                      <a:pt x="25" y="17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4" name="Freeform 7"/>
              <p:cNvSpPr>
                <a:spLocks/>
              </p:cNvSpPr>
              <p:nvPr/>
            </p:nvSpPr>
            <p:spPr bwMode="gray">
              <a:xfrm>
                <a:off x="6848275" y="3013516"/>
                <a:ext cx="239896" cy="162154"/>
              </a:xfrm>
              <a:custGeom>
                <a:avLst/>
                <a:gdLst>
                  <a:gd name="T0" fmla="*/ 55 w 229"/>
                  <a:gd name="T1" fmla="*/ 25 h 174"/>
                  <a:gd name="T2" fmla="*/ 87 w 229"/>
                  <a:gd name="T3" fmla="*/ 55 h 174"/>
                  <a:gd name="T4" fmla="*/ 118 w 229"/>
                  <a:gd name="T5" fmla="*/ 25 h 174"/>
                  <a:gd name="T6" fmla="*/ 110 w 229"/>
                  <a:gd name="T7" fmla="*/ 0 h 174"/>
                  <a:gd name="T8" fmla="*/ 173 w 229"/>
                  <a:gd name="T9" fmla="*/ 0 h 174"/>
                  <a:gd name="T10" fmla="*/ 173 w 229"/>
                  <a:gd name="T11" fmla="*/ 67 h 174"/>
                  <a:gd name="T12" fmla="*/ 214 w 229"/>
                  <a:gd name="T13" fmla="*/ 71 h 174"/>
                  <a:gd name="T14" fmla="*/ 229 w 229"/>
                  <a:gd name="T15" fmla="*/ 87 h 174"/>
                  <a:gd name="T16" fmla="*/ 214 w 229"/>
                  <a:gd name="T17" fmla="*/ 103 h 174"/>
                  <a:gd name="T18" fmla="*/ 173 w 229"/>
                  <a:gd name="T19" fmla="*/ 106 h 174"/>
                  <a:gd name="T20" fmla="*/ 173 w 229"/>
                  <a:gd name="T21" fmla="*/ 174 h 174"/>
                  <a:gd name="T22" fmla="*/ 0 w 229"/>
                  <a:gd name="T23" fmla="*/ 174 h 174"/>
                  <a:gd name="T24" fmla="*/ 0 w 229"/>
                  <a:gd name="T25" fmla="*/ 0 h 174"/>
                  <a:gd name="T26" fmla="*/ 63 w 229"/>
                  <a:gd name="T27" fmla="*/ 0 h 174"/>
                  <a:gd name="T28" fmla="*/ 55 w 229"/>
                  <a:gd name="T29" fmla="*/ 25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9" h="174">
                    <a:moveTo>
                      <a:pt x="55" y="25"/>
                    </a:moveTo>
                    <a:cubicBezTo>
                      <a:pt x="55" y="42"/>
                      <a:pt x="70" y="55"/>
                      <a:pt x="87" y="55"/>
                    </a:cubicBezTo>
                    <a:cubicBezTo>
                      <a:pt x="104" y="55"/>
                      <a:pt x="118" y="42"/>
                      <a:pt x="118" y="25"/>
                    </a:cubicBezTo>
                    <a:cubicBezTo>
                      <a:pt x="118" y="16"/>
                      <a:pt x="113" y="8"/>
                      <a:pt x="110" y="0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173" y="67"/>
                      <a:pt x="173" y="67"/>
                      <a:pt x="173" y="67"/>
                    </a:cubicBezTo>
                    <a:cubicBezTo>
                      <a:pt x="179" y="94"/>
                      <a:pt x="202" y="71"/>
                      <a:pt x="214" y="71"/>
                    </a:cubicBezTo>
                    <a:cubicBezTo>
                      <a:pt x="222" y="71"/>
                      <a:pt x="229" y="78"/>
                      <a:pt x="229" y="87"/>
                    </a:cubicBezTo>
                    <a:cubicBezTo>
                      <a:pt x="229" y="96"/>
                      <a:pt x="222" y="103"/>
                      <a:pt x="214" y="103"/>
                    </a:cubicBezTo>
                    <a:cubicBezTo>
                      <a:pt x="202" y="103"/>
                      <a:pt x="179" y="79"/>
                      <a:pt x="173" y="106"/>
                    </a:cubicBezTo>
                    <a:cubicBezTo>
                      <a:pt x="173" y="174"/>
                      <a:pt x="173" y="174"/>
                      <a:pt x="173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0" y="8"/>
                      <a:pt x="55" y="16"/>
                      <a:pt x="55" y="25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5" name="Freeform 8"/>
              <p:cNvSpPr>
                <a:spLocks/>
              </p:cNvSpPr>
              <p:nvPr/>
            </p:nvSpPr>
            <p:spPr bwMode="gray">
              <a:xfrm>
                <a:off x="7095234" y="2712952"/>
                <a:ext cx="261500" cy="208485"/>
              </a:xfrm>
              <a:custGeom>
                <a:avLst/>
                <a:gdLst>
                  <a:gd name="T0" fmla="*/ 27 w 249"/>
                  <a:gd name="T1" fmla="*/ 60 h 223"/>
                  <a:gd name="T2" fmla="*/ 190 w 249"/>
                  <a:gd name="T3" fmla="*/ 0 h 223"/>
                  <a:gd name="T4" fmla="*/ 249 w 249"/>
                  <a:gd name="T5" fmla="*/ 163 h 223"/>
                  <a:gd name="T6" fmla="*/ 187 w 249"/>
                  <a:gd name="T7" fmla="*/ 186 h 223"/>
                  <a:gd name="T8" fmla="*/ 179 w 249"/>
                  <a:gd name="T9" fmla="*/ 167 h 223"/>
                  <a:gd name="T10" fmla="*/ 178 w 249"/>
                  <a:gd name="T11" fmla="*/ 154 h 223"/>
                  <a:gd name="T12" fmla="*/ 149 w 249"/>
                  <a:gd name="T13" fmla="*/ 141 h 223"/>
                  <a:gd name="T14" fmla="*/ 134 w 249"/>
                  <a:gd name="T15" fmla="*/ 170 h 223"/>
                  <a:gd name="T16" fmla="*/ 142 w 249"/>
                  <a:gd name="T17" fmla="*/ 181 h 223"/>
                  <a:gd name="T18" fmla="*/ 148 w 249"/>
                  <a:gd name="T19" fmla="*/ 200 h 223"/>
                  <a:gd name="T20" fmla="*/ 86 w 249"/>
                  <a:gd name="T21" fmla="*/ 223 h 223"/>
                  <a:gd name="T22" fmla="*/ 63 w 249"/>
                  <a:gd name="T23" fmla="*/ 160 h 223"/>
                  <a:gd name="T24" fmla="*/ 44 w 249"/>
                  <a:gd name="T25" fmla="*/ 167 h 223"/>
                  <a:gd name="T26" fmla="*/ 34 w 249"/>
                  <a:gd name="T27" fmla="*/ 175 h 223"/>
                  <a:gd name="T28" fmla="*/ 4 w 249"/>
                  <a:gd name="T29" fmla="*/ 160 h 223"/>
                  <a:gd name="T30" fmla="*/ 17 w 249"/>
                  <a:gd name="T31" fmla="*/ 130 h 223"/>
                  <a:gd name="T32" fmla="*/ 31 w 249"/>
                  <a:gd name="T33" fmla="*/ 129 h 223"/>
                  <a:gd name="T34" fmla="*/ 49 w 249"/>
                  <a:gd name="T35" fmla="*/ 122 h 223"/>
                  <a:gd name="T36" fmla="*/ 27 w 249"/>
                  <a:gd name="T37" fmla="*/ 60 h 223"/>
                  <a:gd name="T38" fmla="*/ 27 w 249"/>
                  <a:gd name="T39" fmla="*/ 6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49" h="223">
                    <a:moveTo>
                      <a:pt x="27" y="60"/>
                    </a:moveTo>
                    <a:cubicBezTo>
                      <a:pt x="190" y="0"/>
                      <a:pt x="190" y="0"/>
                      <a:pt x="190" y="0"/>
                    </a:cubicBezTo>
                    <a:cubicBezTo>
                      <a:pt x="249" y="163"/>
                      <a:pt x="249" y="163"/>
                      <a:pt x="249" y="163"/>
                    </a:cubicBezTo>
                    <a:cubicBezTo>
                      <a:pt x="187" y="186"/>
                      <a:pt x="187" y="186"/>
                      <a:pt x="187" y="186"/>
                    </a:cubicBezTo>
                    <a:cubicBezTo>
                      <a:pt x="176" y="187"/>
                      <a:pt x="179" y="176"/>
                      <a:pt x="179" y="167"/>
                    </a:cubicBezTo>
                    <a:cubicBezTo>
                      <a:pt x="180" y="163"/>
                      <a:pt x="180" y="158"/>
                      <a:pt x="178" y="154"/>
                    </a:cubicBezTo>
                    <a:cubicBezTo>
                      <a:pt x="174" y="142"/>
                      <a:pt x="161" y="137"/>
                      <a:pt x="149" y="141"/>
                    </a:cubicBezTo>
                    <a:cubicBezTo>
                      <a:pt x="136" y="146"/>
                      <a:pt x="130" y="159"/>
                      <a:pt x="134" y="170"/>
                    </a:cubicBezTo>
                    <a:cubicBezTo>
                      <a:pt x="135" y="174"/>
                      <a:pt x="139" y="178"/>
                      <a:pt x="142" y="181"/>
                    </a:cubicBezTo>
                    <a:cubicBezTo>
                      <a:pt x="148" y="188"/>
                      <a:pt x="157" y="194"/>
                      <a:pt x="148" y="200"/>
                    </a:cubicBezTo>
                    <a:cubicBezTo>
                      <a:pt x="86" y="223"/>
                      <a:pt x="86" y="223"/>
                      <a:pt x="86" y="223"/>
                    </a:cubicBezTo>
                    <a:cubicBezTo>
                      <a:pt x="63" y="160"/>
                      <a:pt x="63" y="160"/>
                      <a:pt x="63" y="160"/>
                    </a:cubicBezTo>
                    <a:cubicBezTo>
                      <a:pt x="58" y="151"/>
                      <a:pt x="51" y="161"/>
                      <a:pt x="44" y="167"/>
                    </a:cubicBezTo>
                    <a:cubicBezTo>
                      <a:pt x="41" y="170"/>
                      <a:pt x="38" y="173"/>
                      <a:pt x="34" y="175"/>
                    </a:cubicBezTo>
                    <a:cubicBezTo>
                      <a:pt x="22" y="179"/>
                      <a:pt x="9" y="172"/>
                      <a:pt x="4" y="160"/>
                    </a:cubicBezTo>
                    <a:cubicBezTo>
                      <a:pt x="0" y="148"/>
                      <a:pt x="6" y="134"/>
                      <a:pt x="17" y="130"/>
                    </a:cubicBezTo>
                    <a:cubicBezTo>
                      <a:pt x="22" y="129"/>
                      <a:pt x="26" y="129"/>
                      <a:pt x="31" y="129"/>
                    </a:cubicBezTo>
                    <a:cubicBezTo>
                      <a:pt x="40" y="130"/>
                      <a:pt x="51" y="133"/>
                      <a:pt x="49" y="122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7" y="60"/>
                      <a:pt x="27" y="60"/>
                      <a:pt x="27" y="6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-33470" y="-1"/>
            <a:ext cx="12198350" cy="1440000"/>
          </a:xfrm>
        </p:spPr>
        <p:txBody>
          <a:bodyPr/>
          <a:lstStyle/>
          <a:p>
            <a:r>
              <a:rPr lang="en-US" sz="3600" dirty="0" smtClean="0"/>
              <a:t>Siemens - </a:t>
            </a:r>
            <a:r>
              <a:rPr lang="en-US" sz="2400" b="0" dirty="0"/>
              <a:t>the </a:t>
            </a:r>
            <a:r>
              <a:rPr lang="en-US" sz="2400" b="0" dirty="0" smtClean="0"/>
              <a:t>ITS partner with the right capabilities for Customer Co-Creation</a:t>
            </a:r>
            <a:endParaRPr lang="en-US" sz="2400" b="0" dirty="0"/>
          </a:p>
        </p:txBody>
      </p:sp>
      <p:sp>
        <p:nvSpPr>
          <p:cNvPr id="232" name="AutoShape 5" descr="Bildergebnis für cloud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30056" name="Gruppieren 130055"/>
          <p:cNvGrpSpPr/>
          <p:nvPr/>
        </p:nvGrpSpPr>
        <p:grpSpPr>
          <a:xfrm>
            <a:off x="6620031" y="2300395"/>
            <a:ext cx="4990911" cy="669174"/>
            <a:chOff x="6620031" y="2300395"/>
            <a:chExt cx="4990911" cy="669174"/>
          </a:xfrm>
        </p:grpSpPr>
        <p:sp>
          <p:nvSpPr>
            <p:cNvPr id="233" name="Rechteck 232"/>
            <p:cNvSpPr>
              <a:spLocks/>
            </p:cNvSpPr>
            <p:nvPr/>
          </p:nvSpPr>
          <p:spPr bwMode="gray">
            <a:xfrm>
              <a:off x="6620031" y="2499374"/>
              <a:ext cx="4990911" cy="246221"/>
            </a:xfrm>
            <a:prstGeom prst="rect">
              <a:avLst/>
            </a:prstGeom>
            <a:noFill/>
            <a:extLst/>
          </p:spPr>
          <p:txBody>
            <a:bodyPr wrap="square" lIns="0" tIns="0" rIns="0" bIns="0" rtlCol="0">
              <a:spAutoFit/>
            </a:bodyPr>
            <a:lstStyle/>
            <a:p>
              <a:pPr marL="0" lvl="1" algn="r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MindSphere, open IoT operating system</a:t>
              </a:r>
            </a:p>
          </p:txBody>
        </p:sp>
        <p:pic>
          <p:nvPicPr>
            <p:cNvPr id="130064" name="Picture 16" descr="Ähnliches Foto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1600" y="2300395"/>
              <a:ext cx="669174" cy="669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0053" name="Gruppieren 130052"/>
          <p:cNvGrpSpPr/>
          <p:nvPr/>
        </p:nvGrpSpPr>
        <p:grpSpPr>
          <a:xfrm>
            <a:off x="6513487" y="3212976"/>
            <a:ext cx="4698256" cy="471655"/>
            <a:chOff x="6288341" y="3418652"/>
            <a:chExt cx="4990911" cy="471655"/>
          </a:xfrm>
        </p:grpSpPr>
        <p:sp>
          <p:nvSpPr>
            <p:cNvPr id="564" name="Rechteck 563"/>
            <p:cNvSpPr>
              <a:spLocks/>
            </p:cNvSpPr>
            <p:nvPr/>
          </p:nvSpPr>
          <p:spPr bwMode="gray">
            <a:xfrm>
              <a:off x="6288341" y="3626433"/>
              <a:ext cx="4990911" cy="246221"/>
            </a:xfrm>
            <a:prstGeom prst="rect">
              <a:avLst/>
            </a:prstGeom>
            <a:noFill/>
            <a:extLst/>
          </p:spPr>
          <p:txBody>
            <a:bodyPr wrap="square" lIns="0" tIns="0" rIns="0" bIns="0" rtlCol="0">
              <a:spAutoFit/>
            </a:bodyPr>
            <a:lstStyle/>
            <a:p>
              <a:pPr marL="0" lvl="1" algn="r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Data Analytics Expertise</a:t>
              </a:r>
            </a:p>
          </p:txBody>
        </p:sp>
        <p:grpSp>
          <p:nvGrpSpPr>
            <p:cNvPr id="565" name="Group 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15802" y="3418652"/>
              <a:ext cx="701113" cy="471655"/>
              <a:chOff x="1973" y="174"/>
              <a:chExt cx="3736" cy="3976"/>
            </a:xfrm>
            <a:solidFill>
              <a:srgbClr val="00646E"/>
            </a:solidFill>
          </p:grpSpPr>
          <p:sp>
            <p:nvSpPr>
              <p:cNvPr id="566" name="Freeform 5"/>
              <p:cNvSpPr>
                <a:spLocks/>
              </p:cNvSpPr>
              <p:nvPr/>
            </p:nvSpPr>
            <p:spPr bwMode="gray">
              <a:xfrm>
                <a:off x="2919" y="174"/>
                <a:ext cx="675" cy="1844"/>
              </a:xfrm>
              <a:custGeom>
                <a:avLst/>
                <a:gdLst>
                  <a:gd name="T0" fmla="*/ 34 w 285"/>
                  <a:gd name="T1" fmla="*/ 326 h 779"/>
                  <a:gd name="T2" fmla="*/ 26 w 285"/>
                  <a:gd name="T3" fmla="*/ 347 h 779"/>
                  <a:gd name="T4" fmla="*/ 26 w 285"/>
                  <a:gd name="T5" fmla="*/ 674 h 779"/>
                  <a:gd name="T6" fmla="*/ 26 w 285"/>
                  <a:gd name="T7" fmla="*/ 690 h 779"/>
                  <a:gd name="T8" fmla="*/ 0 w 285"/>
                  <a:gd name="T9" fmla="*/ 732 h 779"/>
                  <a:gd name="T10" fmla="*/ 47 w 285"/>
                  <a:gd name="T11" fmla="*/ 779 h 779"/>
                  <a:gd name="T12" fmla="*/ 94 w 285"/>
                  <a:gd name="T13" fmla="*/ 732 h 779"/>
                  <a:gd name="T14" fmla="*/ 69 w 285"/>
                  <a:gd name="T15" fmla="*/ 690 h 779"/>
                  <a:gd name="T16" fmla="*/ 70 w 285"/>
                  <a:gd name="T17" fmla="*/ 367 h 779"/>
                  <a:gd name="T18" fmla="*/ 79 w 285"/>
                  <a:gd name="T19" fmla="*/ 339 h 779"/>
                  <a:gd name="T20" fmla="*/ 250 w 285"/>
                  <a:gd name="T21" fmla="*/ 167 h 779"/>
                  <a:gd name="T22" fmla="*/ 253 w 285"/>
                  <a:gd name="T23" fmla="*/ 163 h 779"/>
                  <a:gd name="T24" fmla="*/ 252 w 285"/>
                  <a:gd name="T25" fmla="*/ 164 h 779"/>
                  <a:gd name="T26" fmla="*/ 260 w 285"/>
                  <a:gd name="T27" fmla="*/ 109 h 779"/>
                  <a:gd name="T28" fmla="*/ 260 w 285"/>
                  <a:gd name="T29" fmla="*/ 92 h 779"/>
                  <a:gd name="T30" fmla="*/ 260 w 285"/>
                  <a:gd name="T31" fmla="*/ 89 h 779"/>
                  <a:gd name="T32" fmla="*/ 285 w 285"/>
                  <a:gd name="T33" fmla="*/ 47 h 779"/>
                  <a:gd name="T34" fmla="*/ 239 w 285"/>
                  <a:gd name="T35" fmla="*/ 0 h 779"/>
                  <a:gd name="T36" fmla="*/ 193 w 285"/>
                  <a:gd name="T37" fmla="*/ 47 h 779"/>
                  <a:gd name="T38" fmla="*/ 217 w 285"/>
                  <a:gd name="T39" fmla="*/ 88 h 779"/>
                  <a:gd name="T40" fmla="*/ 217 w 285"/>
                  <a:gd name="T41" fmla="*/ 88 h 779"/>
                  <a:gd name="T42" fmla="*/ 187 w 285"/>
                  <a:gd name="T43" fmla="*/ 171 h 779"/>
                  <a:gd name="T44" fmla="*/ 34 w 285"/>
                  <a:gd name="T45" fmla="*/ 32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5" h="779">
                    <a:moveTo>
                      <a:pt x="34" y="326"/>
                    </a:moveTo>
                    <a:cubicBezTo>
                      <a:pt x="31" y="333"/>
                      <a:pt x="28" y="339"/>
                      <a:pt x="26" y="347"/>
                    </a:cubicBezTo>
                    <a:cubicBezTo>
                      <a:pt x="26" y="364"/>
                      <a:pt x="26" y="657"/>
                      <a:pt x="26" y="674"/>
                    </a:cubicBezTo>
                    <a:cubicBezTo>
                      <a:pt x="26" y="679"/>
                      <a:pt x="26" y="684"/>
                      <a:pt x="26" y="690"/>
                    </a:cubicBezTo>
                    <a:cubicBezTo>
                      <a:pt x="11" y="697"/>
                      <a:pt x="0" y="713"/>
                      <a:pt x="0" y="732"/>
                    </a:cubicBezTo>
                    <a:cubicBezTo>
                      <a:pt x="0" y="758"/>
                      <a:pt x="21" y="779"/>
                      <a:pt x="47" y="779"/>
                    </a:cubicBezTo>
                    <a:cubicBezTo>
                      <a:pt x="73" y="779"/>
                      <a:pt x="94" y="758"/>
                      <a:pt x="94" y="732"/>
                    </a:cubicBezTo>
                    <a:cubicBezTo>
                      <a:pt x="94" y="714"/>
                      <a:pt x="84" y="698"/>
                      <a:pt x="69" y="690"/>
                    </a:cubicBezTo>
                    <a:cubicBezTo>
                      <a:pt x="68" y="675"/>
                      <a:pt x="67" y="384"/>
                      <a:pt x="70" y="367"/>
                    </a:cubicBezTo>
                    <a:cubicBezTo>
                      <a:pt x="65" y="355"/>
                      <a:pt x="71" y="347"/>
                      <a:pt x="79" y="339"/>
                    </a:cubicBezTo>
                    <a:cubicBezTo>
                      <a:pt x="136" y="282"/>
                      <a:pt x="193" y="224"/>
                      <a:pt x="250" y="167"/>
                    </a:cubicBezTo>
                    <a:cubicBezTo>
                      <a:pt x="251" y="166"/>
                      <a:pt x="252" y="165"/>
                      <a:pt x="253" y="163"/>
                    </a:cubicBezTo>
                    <a:cubicBezTo>
                      <a:pt x="253" y="163"/>
                      <a:pt x="253" y="163"/>
                      <a:pt x="252" y="164"/>
                    </a:cubicBezTo>
                    <a:cubicBezTo>
                      <a:pt x="261" y="146"/>
                      <a:pt x="259" y="127"/>
                      <a:pt x="260" y="109"/>
                    </a:cubicBezTo>
                    <a:cubicBezTo>
                      <a:pt x="260" y="103"/>
                      <a:pt x="260" y="97"/>
                      <a:pt x="260" y="92"/>
                    </a:cubicBezTo>
                    <a:cubicBezTo>
                      <a:pt x="260" y="91"/>
                      <a:pt x="260" y="90"/>
                      <a:pt x="260" y="89"/>
                    </a:cubicBezTo>
                    <a:cubicBezTo>
                      <a:pt x="275" y="81"/>
                      <a:pt x="285" y="65"/>
                      <a:pt x="285" y="47"/>
                    </a:cubicBezTo>
                    <a:cubicBezTo>
                      <a:pt x="285" y="21"/>
                      <a:pt x="265" y="0"/>
                      <a:pt x="239" y="0"/>
                    </a:cubicBezTo>
                    <a:cubicBezTo>
                      <a:pt x="214" y="0"/>
                      <a:pt x="193" y="21"/>
                      <a:pt x="193" y="47"/>
                    </a:cubicBezTo>
                    <a:cubicBezTo>
                      <a:pt x="193" y="64"/>
                      <a:pt x="203" y="80"/>
                      <a:pt x="217" y="88"/>
                    </a:cubicBezTo>
                    <a:cubicBezTo>
                      <a:pt x="217" y="88"/>
                      <a:pt x="217" y="88"/>
                      <a:pt x="217" y="88"/>
                    </a:cubicBezTo>
                    <a:cubicBezTo>
                      <a:pt x="224" y="122"/>
                      <a:pt x="213" y="147"/>
                      <a:pt x="187" y="171"/>
                    </a:cubicBezTo>
                    <a:cubicBezTo>
                      <a:pt x="134" y="221"/>
                      <a:pt x="84" y="274"/>
                      <a:pt x="34" y="3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7" name="Freeform 6"/>
              <p:cNvSpPr>
                <a:spLocks noEditPoints="1"/>
              </p:cNvSpPr>
              <p:nvPr/>
            </p:nvSpPr>
            <p:spPr bwMode="gray">
              <a:xfrm>
                <a:off x="4363" y="356"/>
                <a:ext cx="1346" cy="1932"/>
              </a:xfrm>
              <a:custGeom>
                <a:avLst/>
                <a:gdLst>
                  <a:gd name="T0" fmla="*/ 561 w 569"/>
                  <a:gd name="T1" fmla="*/ 679 h 816"/>
                  <a:gd name="T2" fmla="*/ 469 w 569"/>
                  <a:gd name="T3" fmla="*/ 654 h 816"/>
                  <a:gd name="T4" fmla="*/ 407 w 569"/>
                  <a:gd name="T5" fmla="*/ 654 h 816"/>
                  <a:gd name="T6" fmla="*/ 339 w 569"/>
                  <a:gd name="T7" fmla="*/ 654 h 816"/>
                  <a:gd name="T8" fmla="*/ 270 w 569"/>
                  <a:gd name="T9" fmla="*/ 654 h 816"/>
                  <a:gd name="T10" fmla="*/ 184 w 569"/>
                  <a:gd name="T11" fmla="*/ 654 h 816"/>
                  <a:gd name="T12" fmla="*/ 142 w 569"/>
                  <a:gd name="T13" fmla="*/ 620 h 816"/>
                  <a:gd name="T14" fmla="*/ 111 w 569"/>
                  <a:gd name="T15" fmla="*/ 589 h 816"/>
                  <a:gd name="T16" fmla="*/ 78 w 569"/>
                  <a:gd name="T17" fmla="*/ 551 h 816"/>
                  <a:gd name="T18" fmla="*/ 78 w 569"/>
                  <a:gd name="T19" fmla="*/ 482 h 816"/>
                  <a:gd name="T20" fmla="*/ 78 w 569"/>
                  <a:gd name="T21" fmla="*/ 414 h 816"/>
                  <a:gd name="T22" fmla="*/ 131 w 569"/>
                  <a:gd name="T23" fmla="*/ 345 h 816"/>
                  <a:gd name="T24" fmla="*/ 160 w 569"/>
                  <a:gd name="T25" fmla="*/ 262 h 816"/>
                  <a:gd name="T26" fmla="*/ 184 w 569"/>
                  <a:gd name="T27" fmla="*/ 46 h 816"/>
                  <a:gd name="T28" fmla="*/ 94 w 569"/>
                  <a:gd name="T29" fmla="*/ 46 h 816"/>
                  <a:gd name="T30" fmla="*/ 117 w 569"/>
                  <a:gd name="T31" fmla="*/ 259 h 816"/>
                  <a:gd name="T32" fmla="*/ 45 w 569"/>
                  <a:gd name="T33" fmla="*/ 370 h 816"/>
                  <a:gd name="T34" fmla="*/ 35 w 569"/>
                  <a:gd name="T35" fmla="*/ 410 h 816"/>
                  <a:gd name="T36" fmla="*/ 34 w 569"/>
                  <a:gd name="T37" fmla="*/ 479 h 816"/>
                  <a:gd name="T38" fmla="*/ 34 w 569"/>
                  <a:gd name="T39" fmla="*/ 548 h 816"/>
                  <a:gd name="T40" fmla="*/ 56 w 569"/>
                  <a:gd name="T41" fmla="*/ 596 h 816"/>
                  <a:gd name="T42" fmla="*/ 91 w 569"/>
                  <a:gd name="T43" fmla="*/ 630 h 816"/>
                  <a:gd name="T44" fmla="*/ 125 w 569"/>
                  <a:gd name="T45" fmla="*/ 665 h 816"/>
                  <a:gd name="T46" fmla="*/ 159 w 569"/>
                  <a:gd name="T47" fmla="*/ 693 h 816"/>
                  <a:gd name="T48" fmla="*/ 225 w 569"/>
                  <a:gd name="T49" fmla="*/ 696 h 816"/>
                  <a:gd name="T50" fmla="*/ 294 w 569"/>
                  <a:gd name="T51" fmla="*/ 696 h 816"/>
                  <a:gd name="T52" fmla="*/ 362 w 569"/>
                  <a:gd name="T53" fmla="*/ 696 h 816"/>
                  <a:gd name="T54" fmla="*/ 432 w 569"/>
                  <a:gd name="T55" fmla="*/ 696 h 816"/>
                  <a:gd name="T56" fmla="*/ 510 w 569"/>
                  <a:gd name="T57" fmla="*/ 729 h 816"/>
                  <a:gd name="T58" fmla="*/ 433 w 569"/>
                  <a:gd name="T59" fmla="*/ 753 h 816"/>
                  <a:gd name="T60" fmla="*/ 312 w 569"/>
                  <a:gd name="T61" fmla="*/ 753 h 816"/>
                  <a:gd name="T62" fmla="*/ 174 w 569"/>
                  <a:gd name="T63" fmla="*/ 753 h 816"/>
                  <a:gd name="T64" fmla="*/ 126 w 569"/>
                  <a:gd name="T65" fmla="*/ 734 h 816"/>
                  <a:gd name="T66" fmla="*/ 92 w 569"/>
                  <a:gd name="T67" fmla="*/ 701 h 816"/>
                  <a:gd name="T68" fmla="*/ 89 w 569"/>
                  <a:gd name="T69" fmla="*/ 683 h 816"/>
                  <a:gd name="T70" fmla="*/ 0 w 569"/>
                  <a:gd name="T71" fmla="*/ 683 h 816"/>
                  <a:gd name="T72" fmla="*/ 55 w 569"/>
                  <a:gd name="T73" fmla="*/ 725 h 816"/>
                  <a:gd name="T74" fmla="*/ 86 w 569"/>
                  <a:gd name="T75" fmla="*/ 756 h 816"/>
                  <a:gd name="T76" fmla="*/ 122 w 569"/>
                  <a:gd name="T77" fmla="*/ 789 h 816"/>
                  <a:gd name="T78" fmla="*/ 471 w 569"/>
                  <a:gd name="T79" fmla="*/ 796 h 816"/>
                  <a:gd name="T80" fmla="*/ 524 w 569"/>
                  <a:gd name="T81" fmla="*/ 816 h 816"/>
                  <a:gd name="T82" fmla="*/ 526 w 569"/>
                  <a:gd name="T83" fmla="*/ 726 h 816"/>
                  <a:gd name="T84" fmla="*/ 139 w 569"/>
                  <a:gd name="T85" fmla="*/ 19 h 816"/>
                  <a:gd name="T86" fmla="*/ 139 w 569"/>
                  <a:gd name="T87" fmla="*/ 73 h 816"/>
                  <a:gd name="T88" fmla="*/ 44 w 569"/>
                  <a:gd name="T89" fmla="*/ 707 h 816"/>
                  <a:gd name="T90" fmla="*/ 44 w 569"/>
                  <a:gd name="T91" fmla="*/ 658 h 816"/>
                  <a:gd name="T92" fmla="*/ 44 w 569"/>
                  <a:gd name="T93" fmla="*/ 707 h 816"/>
                  <a:gd name="T94" fmla="*/ 498 w 569"/>
                  <a:gd name="T95" fmla="*/ 771 h 816"/>
                  <a:gd name="T96" fmla="*/ 549 w 569"/>
                  <a:gd name="T97" fmla="*/ 771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9" h="816">
                    <a:moveTo>
                      <a:pt x="526" y="726"/>
                    </a:moveTo>
                    <a:cubicBezTo>
                      <a:pt x="546" y="720"/>
                      <a:pt x="561" y="702"/>
                      <a:pt x="561" y="679"/>
                    </a:cubicBezTo>
                    <a:cubicBezTo>
                      <a:pt x="561" y="652"/>
                      <a:pt x="539" y="629"/>
                      <a:pt x="512" y="629"/>
                    </a:cubicBezTo>
                    <a:cubicBezTo>
                      <a:pt x="493" y="629"/>
                      <a:pt x="477" y="640"/>
                      <a:pt x="469" y="654"/>
                    </a:cubicBezTo>
                    <a:cubicBezTo>
                      <a:pt x="466" y="654"/>
                      <a:pt x="464" y="654"/>
                      <a:pt x="462" y="654"/>
                    </a:cubicBezTo>
                    <a:cubicBezTo>
                      <a:pt x="444" y="654"/>
                      <a:pt x="426" y="654"/>
                      <a:pt x="407" y="654"/>
                    </a:cubicBezTo>
                    <a:cubicBezTo>
                      <a:pt x="404" y="654"/>
                      <a:pt x="401" y="654"/>
                      <a:pt x="397" y="654"/>
                    </a:cubicBezTo>
                    <a:cubicBezTo>
                      <a:pt x="377" y="654"/>
                      <a:pt x="358" y="654"/>
                      <a:pt x="339" y="654"/>
                    </a:cubicBezTo>
                    <a:cubicBezTo>
                      <a:pt x="335" y="654"/>
                      <a:pt x="332" y="654"/>
                      <a:pt x="328" y="654"/>
                    </a:cubicBezTo>
                    <a:cubicBezTo>
                      <a:pt x="309" y="654"/>
                      <a:pt x="290" y="654"/>
                      <a:pt x="270" y="654"/>
                    </a:cubicBezTo>
                    <a:cubicBezTo>
                      <a:pt x="267" y="654"/>
                      <a:pt x="263" y="654"/>
                      <a:pt x="259" y="654"/>
                    </a:cubicBezTo>
                    <a:cubicBezTo>
                      <a:pt x="234" y="654"/>
                      <a:pt x="209" y="654"/>
                      <a:pt x="184" y="654"/>
                    </a:cubicBezTo>
                    <a:cubicBezTo>
                      <a:pt x="183" y="654"/>
                      <a:pt x="181" y="654"/>
                      <a:pt x="181" y="654"/>
                    </a:cubicBezTo>
                    <a:cubicBezTo>
                      <a:pt x="162" y="649"/>
                      <a:pt x="155" y="632"/>
                      <a:pt x="142" y="620"/>
                    </a:cubicBezTo>
                    <a:cubicBezTo>
                      <a:pt x="134" y="614"/>
                      <a:pt x="128" y="607"/>
                      <a:pt x="122" y="599"/>
                    </a:cubicBezTo>
                    <a:cubicBezTo>
                      <a:pt x="118" y="596"/>
                      <a:pt x="115" y="593"/>
                      <a:pt x="111" y="589"/>
                    </a:cubicBezTo>
                    <a:cubicBezTo>
                      <a:pt x="102" y="582"/>
                      <a:pt x="94" y="574"/>
                      <a:pt x="87" y="565"/>
                    </a:cubicBezTo>
                    <a:cubicBezTo>
                      <a:pt x="83" y="562"/>
                      <a:pt x="77" y="559"/>
                      <a:pt x="78" y="551"/>
                    </a:cubicBezTo>
                    <a:cubicBezTo>
                      <a:pt x="78" y="534"/>
                      <a:pt x="78" y="517"/>
                      <a:pt x="78" y="500"/>
                    </a:cubicBezTo>
                    <a:cubicBezTo>
                      <a:pt x="78" y="494"/>
                      <a:pt x="78" y="488"/>
                      <a:pt x="78" y="482"/>
                    </a:cubicBezTo>
                    <a:cubicBezTo>
                      <a:pt x="78" y="465"/>
                      <a:pt x="78" y="448"/>
                      <a:pt x="78" y="431"/>
                    </a:cubicBezTo>
                    <a:cubicBezTo>
                      <a:pt x="78" y="425"/>
                      <a:pt x="78" y="419"/>
                      <a:pt x="78" y="414"/>
                    </a:cubicBezTo>
                    <a:cubicBezTo>
                      <a:pt x="75" y="403"/>
                      <a:pt x="78" y="396"/>
                      <a:pt x="86" y="389"/>
                    </a:cubicBezTo>
                    <a:cubicBezTo>
                      <a:pt x="101" y="375"/>
                      <a:pt x="115" y="358"/>
                      <a:pt x="131" y="345"/>
                    </a:cubicBezTo>
                    <a:cubicBezTo>
                      <a:pt x="151" y="327"/>
                      <a:pt x="161" y="306"/>
                      <a:pt x="160" y="280"/>
                    </a:cubicBezTo>
                    <a:cubicBezTo>
                      <a:pt x="160" y="274"/>
                      <a:pt x="160" y="268"/>
                      <a:pt x="160" y="262"/>
                    </a:cubicBezTo>
                    <a:cubicBezTo>
                      <a:pt x="160" y="245"/>
                      <a:pt x="159" y="99"/>
                      <a:pt x="159" y="87"/>
                    </a:cubicBezTo>
                    <a:cubicBezTo>
                      <a:pt x="174" y="79"/>
                      <a:pt x="184" y="64"/>
                      <a:pt x="184" y="46"/>
                    </a:cubicBezTo>
                    <a:cubicBezTo>
                      <a:pt x="184" y="21"/>
                      <a:pt x="164" y="0"/>
                      <a:pt x="139" y="0"/>
                    </a:cubicBezTo>
                    <a:cubicBezTo>
                      <a:pt x="114" y="0"/>
                      <a:pt x="94" y="21"/>
                      <a:pt x="94" y="46"/>
                    </a:cubicBezTo>
                    <a:cubicBezTo>
                      <a:pt x="94" y="64"/>
                      <a:pt x="104" y="79"/>
                      <a:pt x="118" y="86"/>
                    </a:cubicBezTo>
                    <a:cubicBezTo>
                      <a:pt x="117" y="92"/>
                      <a:pt x="118" y="253"/>
                      <a:pt x="117" y="259"/>
                    </a:cubicBezTo>
                    <a:cubicBezTo>
                      <a:pt x="122" y="285"/>
                      <a:pt x="116" y="305"/>
                      <a:pt x="94" y="322"/>
                    </a:cubicBezTo>
                    <a:cubicBezTo>
                      <a:pt x="77" y="336"/>
                      <a:pt x="62" y="355"/>
                      <a:pt x="45" y="370"/>
                    </a:cubicBezTo>
                    <a:cubicBezTo>
                      <a:pt x="39" y="377"/>
                      <a:pt x="34" y="383"/>
                      <a:pt x="34" y="392"/>
                    </a:cubicBezTo>
                    <a:cubicBezTo>
                      <a:pt x="36" y="398"/>
                      <a:pt x="36" y="404"/>
                      <a:pt x="35" y="410"/>
                    </a:cubicBezTo>
                    <a:cubicBezTo>
                      <a:pt x="36" y="428"/>
                      <a:pt x="36" y="445"/>
                      <a:pt x="34" y="462"/>
                    </a:cubicBezTo>
                    <a:cubicBezTo>
                      <a:pt x="36" y="467"/>
                      <a:pt x="36" y="473"/>
                      <a:pt x="34" y="479"/>
                    </a:cubicBezTo>
                    <a:cubicBezTo>
                      <a:pt x="36" y="496"/>
                      <a:pt x="36" y="513"/>
                      <a:pt x="34" y="530"/>
                    </a:cubicBezTo>
                    <a:cubicBezTo>
                      <a:pt x="36" y="536"/>
                      <a:pt x="36" y="542"/>
                      <a:pt x="34" y="548"/>
                    </a:cubicBezTo>
                    <a:cubicBezTo>
                      <a:pt x="37" y="560"/>
                      <a:pt x="31" y="573"/>
                      <a:pt x="43" y="582"/>
                    </a:cubicBezTo>
                    <a:cubicBezTo>
                      <a:pt x="47" y="587"/>
                      <a:pt x="52" y="591"/>
                      <a:pt x="56" y="596"/>
                    </a:cubicBezTo>
                    <a:cubicBezTo>
                      <a:pt x="64" y="603"/>
                      <a:pt x="70" y="610"/>
                      <a:pt x="78" y="616"/>
                    </a:cubicBezTo>
                    <a:cubicBezTo>
                      <a:pt x="82" y="621"/>
                      <a:pt x="86" y="626"/>
                      <a:pt x="91" y="630"/>
                    </a:cubicBezTo>
                    <a:cubicBezTo>
                      <a:pt x="98" y="637"/>
                      <a:pt x="105" y="644"/>
                      <a:pt x="111" y="651"/>
                    </a:cubicBezTo>
                    <a:cubicBezTo>
                      <a:pt x="117" y="655"/>
                      <a:pt x="121" y="660"/>
                      <a:pt x="125" y="665"/>
                    </a:cubicBezTo>
                    <a:cubicBezTo>
                      <a:pt x="133" y="672"/>
                      <a:pt x="142" y="680"/>
                      <a:pt x="150" y="688"/>
                    </a:cubicBezTo>
                    <a:cubicBezTo>
                      <a:pt x="153" y="690"/>
                      <a:pt x="156" y="691"/>
                      <a:pt x="159" y="693"/>
                    </a:cubicBezTo>
                    <a:cubicBezTo>
                      <a:pt x="175" y="697"/>
                      <a:pt x="192" y="694"/>
                      <a:pt x="208" y="696"/>
                    </a:cubicBezTo>
                    <a:cubicBezTo>
                      <a:pt x="214" y="696"/>
                      <a:pt x="219" y="696"/>
                      <a:pt x="225" y="696"/>
                    </a:cubicBezTo>
                    <a:cubicBezTo>
                      <a:pt x="242" y="696"/>
                      <a:pt x="259" y="696"/>
                      <a:pt x="276" y="696"/>
                    </a:cubicBezTo>
                    <a:cubicBezTo>
                      <a:pt x="282" y="696"/>
                      <a:pt x="288" y="696"/>
                      <a:pt x="294" y="696"/>
                    </a:cubicBezTo>
                    <a:cubicBezTo>
                      <a:pt x="311" y="696"/>
                      <a:pt x="328" y="696"/>
                      <a:pt x="346" y="696"/>
                    </a:cubicBezTo>
                    <a:cubicBezTo>
                      <a:pt x="351" y="696"/>
                      <a:pt x="357" y="696"/>
                      <a:pt x="362" y="696"/>
                    </a:cubicBezTo>
                    <a:cubicBezTo>
                      <a:pt x="379" y="696"/>
                      <a:pt x="397" y="696"/>
                      <a:pt x="414" y="696"/>
                    </a:cubicBezTo>
                    <a:cubicBezTo>
                      <a:pt x="420" y="696"/>
                      <a:pt x="426" y="696"/>
                      <a:pt x="432" y="696"/>
                    </a:cubicBezTo>
                    <a:cubicBezTo>
                      <a:pt x="443" y="696"/>
                      <a:pt x="454" y="696"/>
                      <a:pt x="465" y="695"/>
                    </a:cubicBezTo>
                    <a:cubicBezTo>
                      <a:pt x="472" y="714"/>
                      <a:pt x="489" y="728"/>
                      <a:pt x="510" y="729"/>
                    </a:cubicBezTo>
                    <a:cubicBezTo>
                      <a:pt x="498" y="732"/>
                      <a:pt x="488" y="741"/>
                      <a:pt x="483" y="753"/>
                    </a:cubicBezTo>
                    <a:cubicBezTo>
                      <a:pt x="472" y="752"/>
                      <a:pt x="438" y="753"/>
                      <a:pt x="433" y="753"/>
                    </a:cubicBezTo>
                    <a:cubicBezTo>
                      <a:pt x="416" y="753"/>
                      <a:pt x="399" y="753"/>
                      <a:pt x="381" y="753"/>
                    </a:cubicBezTo>
                    <a:cubicBezTo>
                      <a:pt x="376" y="753"/>
                      <a:pt x="329" y="753"/>
                      <a:pt x="312" y="753"/>
                    </a:cubicBezTo>
                    <a:cubicBezTo>
                      <a:pt x="306" y="753"/>
                      <a:pt x="261" y="753"/>
                      <a:pt x="244" y="753"/>
                    </a:cubicBezTo>
                    <a:cubicBezTo>
                      <a:pt x="238" y="753"/>
                      <a:pt x="192" y="753"/>
                      <a:pt x="174" y="753"/>
                    </a:cubicBezTo>
                    <a:cubicBezTo>
                      <a:pt x="169" y="753"/>
                      <a:pt x="163" y="753"/>
                      <a:pt x="157" y="753"/>
                    </a:cubicBezTo>
                    <a:cubicBezTo>
                      <a:pt x="141" y="756"/>
                      <a:pt x="135" y="742"/>
                      <a:pt x="126" y="734"/>
                    </a:cubicBezTo>
                    <a:cubicBezTo>
                      <a:pt x="121" y="731"/>
                      <a:pt x="117" y="727"/>
                      <a:pt x="113" y="721"/>
                    </a:cubicBezTo>
                    <a:cubicBezTo>
                      <a:pt x="106" y="715"/>
                      <a:pt x="99" y="707"/>
                      <a:pt x="92" y="701"/>
                    </a:cubicBezTo>
                    <a:cubicBezTo>
                      <a:pt x="90" y="700"/>
                      <a:pt x="88" y="698"/>
                      <a:pt x="87" y="697"/>
                    </a:cubicBezTo>
                    <a:cubicBezTo>
                      <a:pt x="88" y="692"/>
                      <a:pt x="89" y="688"/>
                      <a:pt x="89" y="683"/>
                    </a:cubicBezTo>
                    <a:cubicBezTo>
                      <a:pt x="89" y="659"/>
                      <a:pt x="69" y="639"/>
                      <a:pt x="44" y="639"/>
                    </a:cubicBezTo>
                    <a:cubicBezTo>
                      <a:pt x="20" y="639"/>
                      <a:pt x="0" y="659"/>
                      <a:pt x="0" y="683"/>
                    </a:cubicBezTo>
                    <a:cubicBezTo>
                      <a:pt x="0" y="707"/>
                      <a:pt x="20" y="726"/>
                      <a:pt x="44" y="726"/>
                    </a:cubicBezTo>
                    <a:cubicBezTo>
                      <a:pt x="48" y="726"/>
                      <a:pt x="52" y="726"/>
                      <a:pt x="55" y="725"/>
                    </a:cubicBezTo>
                    <a:cubicBezTo>
                      <a:pt x="56" y="726"/>
                      <a:pt x="57" y="727"/>
                      <a:pt x="58" y="728"/>
                    </a:cubicBezTo>
                    <a:cubicBezTo>
                      <a:pt x="68" y="736"/>
                      <a:pt x="78" y="745"/>
                      <a:pt x="86" y="756"/>
                    </a:cubicBezTo>
                    <a:cubicBezTo>
                      <a:pt x="88" y="758"/>
                      <a:pt x="90" y="760"/>
                      <a:pt x="93" y="762"/>
                    </a:cubicBezTo>
                    <a:cubicBezTo>
                      <a:pt x="102" y="771"/>
                      <a:pt x="112" y="780"/>
                      <a:pt x="122" y="789"/>
                    </a:cubicBezTo>
                    <a:cubicBezTo>
                      <a:pt x="124" y="790"/>
                      <a:pt x="127" y="791"/>
                      <a:pt x="130" y="793"/>
                    </a:cubicBezTo>
                    <a:cubicBezTo>
                      <a:pt x="146" y="794"/>
                      <a:pt x="465" y="793"/>
                      <a:pt x="471" y="796"/>
                    </a:cubicBezTo>
                    <a:cubicBezTo>
                      <a:pt x="476" y="796"/>
                      <a:pt x="481" y="795"/>
                      <a:pt x="486" y="795"/>
                    </a:cubicBezTo>
                    <a:cubicBezTo>
                      <a:pt x="494" y="807"/>
                      <a:pt x="508" y="816"/>
                      <a:pt x="524" y="816"/>
                    </a:cubicBezTo>
                    <a:cubicBezTo>
                      <a:pt x="548" y="816"/>
                      <a:pt x="569" y="796"/>
                      <a:pt x="569" y="771"/>
                    </a:cubicBezTo>
                    <a:cubicBezTo>
                      <a:pt x="569" y="747"/>
                      <a:pt x="549" y="727"/>
                      <a:pt x="526" y="726"/>
                    </a:cubicBezTo>
                    <a:close/>
                    <a:moveTo>
                      <a:pt x="113" y="46"/>
                    </a:moveTo>
                    <a:cubicBezTo>
                      <a:pt x="113" y="31"/>
                      <a:pt x="125" y="19"/>
                      <a:pt x="139" y="19"/>
                    </a:cubicBezTo>
                    <a:cubicBezTo>
                      <a:pt x="153" y="19"/>
                      <a:pt x="164" y="31"/>
                      <a:pt x="164" y="46"/>
                    </a:cubicBezTo>
                    <a:cubicBezTo>
                      <a:pt x="164" y="61"/>
                      <a:pt x="153" y="73"/>
                      <a:pt x="139" y="73"/>
                    </a:cubicBezTo>
                    <a:cubicBezTo>
                      <a:pt x="125" y="73"/>
                      <a:pt x="113" y="61"/>
                      <a:pt x="113" y="46"/>
                    </a:cubicBezTo>
                    <a:close/>
                    <a:moveTo>
                      <a:pt x="44" y="707"/>
                    </a:moveTo>
                    <a:cubicBezTo>
                      <a:pt x="30" y="707"/>
                      <a:pt x="19" y="696"/>
                      <a:pt x="19" y="683"/>
                    </a:cubicBezTo>
                    <a:cubicBezTo>
                      <a:pt x="19" y="669"/>
                      <a:pt x="30" y="658"/>
                      <a:pt x="44" y="658"/>
                    </a:cubicBezTo>
                    <a:cubicBezTo>
                      <a:pt x="58" y="658"/>
                      <a:pt x="70" y="669"/>
                      <a:pt x="70" y="683"/>
                    </a:cubicBezTo>
                    <a:cubicBezTo>
                      <a:pt x="70" y="696"/>
                      <a:pt x="58" y="707"/>
                      <a:pt x="44" y="707"/>
                    </a:cubicBezTo>
                    <a:close/>
                    <a:moveTo>
                      <a:pt x="524" y="796"/>
                    </a:moveTo>
                    <a:cubicBezTo>
                      <a:pt x="510" y="796"/>
                      <a:pt x="498" y="785"/>
                      <a:pt x="498" y="771"/>
                    </a:cubicBezTo>
                    <a:cubicBezTo>
                      <a:pt x="498" y="757"/>
                      <a:pt x="510" y="746"/>
                      <a:pt x="524" y="746"/>
                    </a:cubicBezTo>
                    <a:cubicBezTo>
                      <a:pt x="538" y="746"/>
                      <a:pt x="549" y="757"/>
                      <a:pt x="549" y="771"/>
                    </a:cubicBezTo>
                    <a:cubicBezTo>
                      <a:pt x="549" y="785"/>
                      <a:pt x="538" y="796"/>
                      <a:pt x="524" y="7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8" name="Freeform 7"/>
              <p:cNvSpPr>
                <a:spLocks noEditPoints="1"/>
              </p:cNvSpPr>
              <p:nvPr/>
            </p:nvSpPr>
            <p:spPr bwMode="gray">
              <a:xfrm>
                <a:off x="4580" y="529"/>
                <a:ext cx="469" cy="1110"/>
              </a:xfrm>
              <a:custGeom>
                <a:avLst/>
                <a:gdLst>
                  <a:gd name="T0" fmla="*/ 129 w 198"/>
                  <a:gd name="T1" fmla="*/ 89 h 469"/>
                  <a:gd name="T2" fmla="*/ 128 w 198"/>
                  <a:gd name="T3" fmla="*/ 133 h 469"/>
                  <a:gd name="T4" fmla="*/ 128 w 198"/>
                  <a:gd name="T5" fmla="*/ 151 h 469"/>
                  <a:gd name="T6" fmla="*/ 128 w 198"/>
                  <a:gd name="T7" fmla="*/ 203 h 469"/>
                  <a:gd name="T8" fmla="*/ 128 w 198"/>
                  <a:gd name="T9" fmla="*/ 221 h 469"/>
                  <a:gd name="T10" fmla="*/ 128 w 198"/>
                  <a:gd name="T11" fmla="*/ 272 h 469"/>
                  <a:gd name="T12" fmla="*/ 128 w 198"/>
                  <a:gd name="T13" fmla="*/ 290 h 469"/>
                  <a:gd name="T14" fmla="*/ 117 w 198"/>
                  <a:gd name="T15" fmla="*/ 325 h 469"/>
                  <a:gd name="T16" fmla="*/ 65 w 198"/>
                  <a:gd name="T17" fmla="*/ 378 h 469"/>
                  <a:gd name="T18" fmla="*/ 47 w 198"/>
                  <a:gd name="T19" fmla="*/ 375 h 469"/>
                  <a:gd name="T20" fmla="*/ 0 w 198"/>
                  <a:gd name="T21" fmla="*/ 422 h 469"/>
                  <a:gd name="T22" fmla="*/ 47 w 198"/>
                  <a:gd name="T23" fmla="*/ 469 h 469"/>
                  <a:gd name="T24" fmla="*/ 94 w 198"/>
                  <a:gd name="T25" fmla="*/ 422 h 469"/>
                  <a:gd name="T26" fmla="*/ 92 w 198"/>
                  <a:gd name="T27" fmla="*/ 408 h 469"/>
                  <a:gd name="T28" fmla="*/ 155 w 198"/>
                  <a:gd name="T29" fmla="*/ 345 h 469"/>
                  <a:gd name="T30" fmla="*/ 172 w 198"/>
                  <a:gd name="T31" fmla="*/ 310 h 469"/>
                  <a:gd name="T32" fmla="*/ 172 w 198"/>
                  <a:gd name="T33" fmla="*/ 292 h 469"/>
                  <a:gd name="T34" fmla="*/ 172 w 198"/>
                  <a:gd name="T35" fmla="*/ 241 h 469"/>
                  <a:gd name="T36" fmla="*/ 172 w 198"/>
                  <a:gd name="T37" fmla="*/ 224 h 469"/>
                  <a:gd name="T38" fmla="*/ 172 w 198"/>
                  <a:gd name="T39" fmla="*/ 172 h 469"/>
                  <a:gd name="T40" fmla="*/ 172 w 198"/>
                  <a:gd name="T41" fmla="*/ 154 h 469"/>
                  <a:gd name="T42" fmla="*/ 172 w 198"/>
                  <a:gd name="T43" fmla="*/ 102 h 469"/>
                  <a:gd name="T44" fmla="*/ 172 w 198"/>
                  <a:gd name="T45" fmla="*/ 89 h 469"/>
                  <a:gd name="T46" fmla="*/ 198 w 198"/>
                  <a:gd name="T47" fmla="*/ 47 h 469"/>
                  <a:gd name="T48" fmla="*/ 150 w 198"/>
                  <a:gd name="T49" fmla="*/ 0 h 469"/>
                  <a:gd name="T50" fmla="*/ 101 w 198"/>
                  <a:gd name="T51" fmla="*/ 47 h 469"/>
                  <a:gd name="T52" fmla="*/ 129 w 198"/>
                  <a:gd name="T53" fmla="*/ 89 h 469"/>
                  <a:gd name="T54" fmla="*/ 47 w 198"/>
                  <a:gd name="T55" fmla="*/ 450 h 469"/>
                  <a:gd name="T56" fmla="*/ 19 w 198"/>
                  <a:gd name="T57" fmla="*/ 422 h 469"/>
                  <a:gd name="T58" fmla="*/ 47 w 198"/>
                  <a:gd name="T59" fmla="*/ 394 h 469"/>
                  <a:gd name="T60" fmla="*/ 75 w 198"/>
                  <a:gd name="T61" fmla="*/ 422 h 469"/>
                  <a:gd name="T62" fmla="*/ 47 w 198"/>
                  <a:gd name="T63" fmla="*/ 45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8" h="469">
                    <a:moveTo>
                      <a:pt x="129" y="89"/>
                    </a:moveTo>
                    <a:cubicBezTo>
                      <a:pt x="130" y="104"/>
                      <a:pt x="130" y="119"/>
                      <a:pt x="128" y="133"/>
                    </a:cubicBezTo>
                    <a:cubicBezTo>
                      <a:pt x="130" y="139"/>
                      <a:pt x="130" y="145"/>
                      <a:pt x="128" y="151"/>
                    </a:cubicBezTo>
                    <a:cubicBezTo>
                      <a:pt x="130" y="168"/>
                      <a:pt x="130" y="186"/>
                      <a:pt x="128" y="203"/>
                    </a:cubicBezTo>
                    <a:cubicBezTo>
                      <a:pt x="130" y="209"/>
                      <a:pt x="130" y="215"/>
                      <a:pt x="128" y="221"/>
                    </a:cubicBezTo>
                    <a:cubicBezTo>
                      <a:pt x="130" y="238"/>
                      <a:pt x="130" y="255"/>
                      <a:pt x="128" y="272"/>
                    </a:cubicBezTo>
                    <a:cubicBezTo>
                      <a:pt x="130" y="278"/>
                      <a:pt x="130" y="284"/>
                      <a:pt x="128" y="290"/>
                    </a:cubicBezTo>
                    <a:cubicBezTo>
                      <a:pt x="132" y="304"/>
                      <a:pt x="128" y="315"/>
                      <a:pt x="117" y="325"/>
                    </a:cubicBezTo>
                    <a:cubicBezTo>
                      <a:pt x="99" y="342"/>
                      <a:pt x="82" y="361"/>
                      <a:pt x="65" y="378"/>
                    </a:cubicBezTo>
                    <a:cubicBezTo>
                      <a:pt x="59" y="376"/>
                      <a:pt x="53" y="375"/>
                      <a:pt x="47" y="375"/>
                    </a:cubicBezTo>
                    <a:cubicBezTo>
                      <a:pt x="21" y="375"/>
                      <a:pt x="0" y="396"/>
                      <a:pt x="0" y="422"/>
                    </a:cubicBezTo>
                    <a:cubicBezTo>
                      <a:pt x="0" y="448"/>
                      <a:pt x="21" y="469"/>
                      <a:pt x="47" y="469"/>
                    </a:cubicBezTo>
                    <a:cubicBezTo>
                      <a:pt x="73" y="469"/>
                      <a:pt x="94" y="448"/>
                      <a:pt x="94" y="422"/>
                    </a:cubicBezTo>
                    <a:cubicBezTo>
                      <a:pt x="94" y="417"/>
                      <a:pt x="93" y="413"/>
                      <a:pt x="92" y="408"/>
                    </a:cubicBezTo>
                    <a:cubicBezTo>
                      <a:pt x="113" y="387"/>
                      <a:pt x="134" y="366"/>
                      <a:pt x="155" y="345"/>
                    </a:cubicBezTo>
                    <a:cubicBezTo>
                      <a:pt x="165" y="335"/>
                      <a:pt x="169" y="323"/>
                      <a:pt x="172" y="310"/>
                    </a:cubicBezTo>
                    <a:cubicBezTo>
                      <a:pt x="172" y="304"/>
                      <a:pt x="172" y="298"/>
                      <a:pt x="172" y="292"/>
                    </a:cubicBezTo>
                    <a:cubicBezTo>
                      <a:pt x="172" y="275"/>
                      <a:pt x="172" y="258"/>
                      <a:pt x="172" y="241"/>
                    </a:cubicBezTo>
                    <a:cubicBezTo>
                      <a:pt x="172" y="235"/>
                      <a:pt x="172" y="230"/>
                      <a:pt x="172" y="224"/>
                    </a:cubicBezTo>
                    <a:cubicBezTo>
                      <a:pt x="172" y="207"/>
                      <a:pt x="172" y="189"/>
                      <a:pt x="172" y="172"/>
                    </a:cubicBezTo>
                    <a:cubicBezTo>
                      <a:pt x="172" y="166"/>
                      <a:pt x="172" y="160"/>
                      <a:pt x="172" y="154"/>
                    </a:cubicBezTo>
                    <a:cubicBezTo>
                      <a:pt x="172" y="137"/>
                      <a:pt x="172" y="120"/>
                      <a:pt x="172" y="102"/>
                    </a:cubicBezTo>
                    <a:cubicBezTo>
                      <a:pt x="172" y="98"/>
                      <a:pt x="172" y="93"/>
                      <a:pt x="172" y="89"/>
                    </a:cubicBezTo>
                    <a:cubicBezTo>
                      <a:pt x="187" y="81"/>
                      <a:pt x="198" y="65"/>
                      <a:pt x="198" y="47"/>
                    </a:cubicBezTo>
                    <a:cubicBezTo>
                      <a:pt x="198" y="21"/>
                      <a:pt x="176" y="0"/>
                      <a:pt x="150" y="0"/>
                    </a:cubicBezTo>
                    <a:cubicBezTo>
                      <a:pt x="123" y="0"/>
                      <a:pt x="101" y="21"/>
                      <a:pt x="101" y="47"/>
                    </a:cubicBezTo>
                    <a:cubicBezTo>
                      <a:pt x="101" y="66"/>
                      <a:pt x="113" y="82"/>
                      <a:pt x="129" y="89"/>
                    </a:cubicBezTo>
                    <a:close/>
                    <a:moveTo>
                      <a:pt x="47" y="450"/>
                    </a:moveTo>
                    <a:cubicBezTo>
                      <a:pt x="32" y="450"/>
                      <a:pt x="19" y="437"/>
                      <a:pt x="19" y="422"/>
                    </a:cubicBezTo>
                    <a:cubicBezTo>
                      <a:pt x="19" y="407"/>
                      <a:pt x="32" y="394"/>
                      <a:pt x="47" y="394"/>
                    </a:cubicBezTo>
                    <a:cubicBezTo>
                      <a:pt x="62" y="394"/>
                      <a:pt x="75" y="407"/>
                      <a:pt x="75" y="422"/>
                    </a:cubicBezTo>
                    <a:cubicBezTo>
                      <a:pt x="75" y="437"/>
                      <a:pt x="62" y="450"/>
                      <a:pt x="47" y="4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9" name="Freeform 8"/>
              <p:cNvSpPr>
                <a:spLocks noEditPoints="1"/>
              </p:cNvSpPr>
              <p:nvPr/>
            </p:nvSpPr>
            <p:spPr bwMode="gray">
              <a:xfrm>
                <a:off x="3246" y="2340"/>
                <a:ext cx="920" cy="1803"/>
              </a:xfrm>
              <a:custGeom>
                <a:avLst/>
                <a:gdLst>
                  <a:gd name="T0" fmla="*/ 368 w 389"/>
                  <a:gd name="T1" fmla="*/ 670 h 762"/>
                  <a:gd name="T2" fmla="*/ 368 w 389"/>
                  <a:gd name="T3" fmla="*/ 601 h 762"/>
                  <a:gd name="T4" fmla="*/ 368 w 389"/>
                  <a:gd name="T5" fmla="*/ 531 h 762"/>
                  <a:gd name="T6" fmla="*/ 368 w 389"/>
                  <a:gd name="T7" fmla="*/ 462 h 762"/>
                  <a:gd name="T8" fmla="*/ 368 w 389"/>
                  <a:gd name="T9" fmla="*/ 393 h 762"/>
                  <a:gd name="T10" fmla="*/ 368 w 389"/>
                  <a:gd name="T11" fmla="*/ 324 h 762"/>
                  <a:gd name="T12" fmla="*/ 368 w 389"/>
                  <a:gd name="T13" fmla="*/ 254 h 762"/>
                  <a:gd name="T14" fmla="*/ 368 w 389"/>
                  <a:gd name="T15" fmla="*/ 186 h 762"/>
                  <a:gd name="T16" fmla="*/ 351 w 389"/>
                  <a:gd name="T17" fmla="*/ 134 h 762"/>
                  <a:gd name="T18" fmla="*/ 317 w 389"/>
                  <a:gd name="T19" fmla="*/ 100 h 762"/>
                  <a:gd name="T20" fmla="*/ 282 w 389"/>
                  <a:gd name="T21" fmla="*/ 65 h 762"/>
                  <a:gd name="T22" fmla="*/ 248 w 389"/>
                  <a:gd name="T23" fmla="*/ 31 h 762"/>
                  <a:gd name="T24" fmla="*/ 194 w 389"/>
                  <a:gd name="T25" fmla="*/ 20 h 762"/>
                  <a:gd name="T26" fmla="*/ 125 w 389"/>
                  <a:gd name="T27" fmla="*/ 20 h 762"/>
                  <a:gd name="T28" fmla="*/ 84 w 389"/>
                  <a:gd name="T29" fmla="*/ 20 h 762"/>
                  <a:gd name="T30" fmla="*/ 0 w 389"/>
                  <a:gd name="T31" fmla="*/ 44 h 762"/>
                  <a:gd name="T32" fmla="*/ 87 w 389"/>
                  <a:gd name="T33" fmla="*/ 64 h 762"/>
                  <a:gd name="T34" fmla="*/ 146 w 389"/>
                  <a:gd name="T35" fmla="*/ 64 h 762"/>
                  <a:gd name="T36" fmla="*/ 214 w 389"/>
                  <a:gd name="T37" fmla="*/ 64 h 762"/>
                  <a:gd name="T38" fmla="*/ 254 w 389"/>
                  <a:gd name="T39" fmla="*/ 98 h 762"/>
                  <a:gd name="T40" fmla="*/ 288 w 389"/>
                  <a:gd name="T41" fmla="*/ 133 h 762"/>
                  <a:gd name="T42" fmla="*/ 322 w 389"/>
                  <a:gd name="T43" fmla="*/ 168 h 762"/>
                  <a:gd name="T44" fmla="*/ 325 w 389"/>
                  <a:gd name="T45" fmla="*/ 234 h 762"/>
                  <a:gd name="T46" fmla="*/ 325 w 389"/>
                  <a:gd name="T47" fmla="*/ 303 h 762"/>
                  <a:gd name="T48" fmla="*/ 325 w 389"/>
                  <a:gd name="T49" fmla="*/ 372 h 762"/>
                  <a:gd name="T50" fmla="*/ 325 w 389"/>
                  <a:gd name="T51" fmla="*/ 442 h 762"/>
                  <a:gd name="T52" fmla="*/ 325 w 389"/>
                  <a:gd name="T53" fmla="*/ 510 h 762"/>
                  <a:gd name="T54" fmla="*/ 325 w 389"/>
                  <a:gd name="T55" fmla="*/ 580 h 762"/>
                  <a:gd name="T56" fmla="*/ 325 w 389"/>
                  <a:gd name="T57" fmla="*/ 649 h 762"/>
                  <a:gd name="T58" fmla="*/ 300 w 389"/>
                  <a:gd name="T59" fmla="*/ 716 h 762"/>
                  <a:gd name="T60" fmla="*/ 389 w 389"/>
                  <a:gd name="T61" fmla="*/ 716 h 762"/>
                  <a:gd name="T62" fmla="*/ 46 w 389"/>
                  <a:gd name="T63" fmla="*/ 70 h 762"/>
                  <a:gd name="T64" fmla="*/ 46 w 389"/>
                  <a:gd name="T65" fmla="*/ 19 h 762"/>
                  <a:gd name="T66" fmla="*/ 46 w 389"/>
                  <a:gd name="T67" fmla="*/ 7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9" h="762">
                    <a:moveTo>
                      <a:pt x="367" y="677"/>
                    </a:moveTo>
                    <a:cubicBezTo>
                      <a:pt x="367" y="674"/>
                      <a:pt x="368" y="672"/>
                      <a:pt x="368" y="670"/>
                    </a:cubicBezTo>
                    <a:cubicBezTo>
                      <a:pt x="368" y="664"/>
                      <a:pt x="368" y="658"/>
                      <a:pt x="368" y="652"/>
                    </a:cubicBezTo>
                    <a:cubicBezTo>
                      <a:pt x="368" y="635"/>
                      <a:pt x="368" y="618"/>
                      <a:pt x="368" y="601"/>
                    </a:cubicBezTo>
                    <a:cubicBezTo>
                      <a:pt x="368" y="595"/>
                      <a:pt x="368" y="589"/>
                      <a:pt x="368" y="583"/>
                    </a:cubicBezTo>
                    <a:cubicBezTo>
                      <a:pt x="368" y="566"/>
                      <a:pt x="368" y="548"/>
                      <a:pt x="368" y="531"/>
                    </a:cubicBezTo>
                    <a:cubicBezTo>
                      <a:pt x="368" y="525"/>
                      <a:pt x="368" y="519"/>
                      <a:pt x="368" y="513"/>
                    </a:cubicBezTo>
                    <a:cubicBezTo>
                      <a:pt x="368" y="496"/>
                      <a:pt x="368" y="479"/>
                      <a:pt x="368" y="462"/>
                    </a:cubicBezTo>
                    <a:cubicBezTo>
                      <a:pt x="368" y="456"/>
                      <a:pt x="368" y="451"/>
                      <a:pt x="368" y="445"/>
                    </a:cubicBezTo>
                    <a:cubicBezTo>
                      <a:pt x="368" y="428"/>
                      <a:pt x="368" y="411"/>
                      <a:pt x="368" y="393"/>
                    </a:cubicBezTo>
                    <a:cubicBezTo>
                      <a:pt x="368" y="387"/>
                      <a:pt x="368" y="381"/>
                      <a:pt x="368" y="376"/>
                    </a:cubicBezTo>
                    <a:cubicBezTo>
                      <a:pt x="368" y="358"/>
                      <a:pt x="368" y="341"/>
                      <a:pt x="368" y="324"/>
                    </a:cubicBezTo>
                    <a:cubicBezTo>
                      <a:pt x="368" y="318"/>
                      <a:pt x="368" y="312"/>
                      <a:pt x="368" y="306"/>
                    </a:cubicBezTo>
                    <a:cubicBezTo>
                      <a:pt x="368" y="289"/>
                      <a:pt x="368" y="272"/>
                      <a:pt x="368" y="254"/>
                    </a:cubicBezTo>
                    <a:cubicBezTo>
                      <a:pt x="368" y="249"/>
                      <a:pt x="368" y="243"/>
                      <a:pt x="368" y="237"/>
                    </a:cubicBezTo>
                    <a:cubicBezTo>
                      <a:pt x="368" y="220"/>
                      <a:pt x="368" y="203"/>
                      <a:pt x="368" y="186"/>
                    </a:cubicBezTo>
                    <a:cubicBezTo>
                      <a:pt x="368" y="180"/>
                      <a:pt x="368" y="174"/>
                      <a:pt x="368" y="168"/>
                    </a:cubicBezTo>
                    <a:cubicBezTo>
                      <a:pt x="366" y="155"/>
                      <a:pt x="359" y="144"/>
                      <a:pt x="351" y="134"/>
                    </a:cubicBezTo>
                    <a:cubicBezTo>
                      <a:pt x="348" y="133"/>
                      <a:pt x="346" y="131"/>
                      <a:pt x="345" y="128"/>
                    </a:cubicBezTo>
                    <a:cubicBezTo>
                      <a:pt x="335" y="120"/>
                      <a:pt x="325" y="110"/>
                      <a:pt x="317" y="100"/>
                    </a:cubicBezTo>
                    <a:cubicBezTo>
                      <a:pt x="315" y="97"/>
                      <a:pt x="313" y="95"/>
                      <a:pt x="311" y="93"/>
                    </a:cubicBezTo>
                    <a:cubicBezTo>
                      <a:pt x="300" y="85"/>
                      <a:pt x="291" y="75"/>
                      <a:pt x="282" y="65"/>
                    </a:cubicBezTo>
                    <a:cubicBezTo>
                      <a:pt x="280" y="63"/>
                      <a:pt x="278" y="60"/>
                      <a:pt x="277" y="59"/>
                    </a:cubicBezTo>
                    <a:cubicBezTo>
                      <a:pt x="267" y="49"/>
                      <a:pt x="257" y="40"/>
                      <a:pt x="248" y="31"/>
                    </a:cubicBezTo>
                    <a:cubicBezTo>
                      <a:pt x="244" y="29"/>
                      <a:pt x="240" y="26"/>
                      <a:pt x="237" y="24"/>
                    </a:cubicBezTo>
                    <a:cubicBezTo>
                      <a:pt x="223" y="21"/>
                      <a:pt x="208" y="20"/>
                      <a:pt x="194" y="20"/>
                    </a:cubicBezTo>
                    <a:cubicBezTo>
                      <a:pt x="188" y="20"/>
                      <a:pt x="183" y="20"/>
                      <a:pt x="177" y="19"/>
                    </a:cubicBezTo>
                    <a:cubicBezTo>
                      <a:pt x="159" y="20"/>
                      <a:pt x="142" y="20"/>
                      <a:pt x="125" y="20"/>
                    </a:cubicBezTo>
                    <a:cubicBezTo>
                      <a:pt x="119" y="20"/>
                      <a:pt x="113" y="20"/>
                      <a:pt x="107" y="19"/>
                    </a:cubicBezTo>
                    <a:cubicBezTo>
                      <a:pt x="100" y="19"/>
                      <a:pt x="92" y="20"/>
                      <a:pt x="84" y="20"/>
                    </a:cubicBezTo>
                    <a:cubicBezTo>
                      <a:pt x="76" y="8"/>
                      <a:pt x="62" y="0"/>
                      <a:pt x="46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6" y="89"/>
                    </a:cubicBezTo>
                    <a:cubicBezTo>
                      <a:pt x="64" y="89"/>
                      <a:pt x="80" y="79"/>
                      <a:pt x="87" y="64"/>
                    </a:cubicBezTo>
                    <a:cubicBezTo>
                      <a:pt x="101" y="64"/>
                      <a:pt x="115" y="64"/>
                      <a:pt x="129" y="64"/>
                    </a:cubicBezTo>
                    <a:cubicBezTo>
                      <a:pt x="134" y="64"/>
                      <a:pt x="140" y="64"/>
                      <a:pt x="146" y="64"/>
                    </a:cubicBezTo>
                    <a:cubicBezTo>
                      <a:pt x="163" y="64"/>
                      <a:pt x="180" y="64"/>
                      <a:pt x="197" y="64"/>
                    </a:cubicBezTo>
                    <a:cubicBezTo>
                      <a:pt x="203" y="64"/>
                      <a:pt x="209" y="64"/>
                      <a:pt x="214" y="64"/>
                    </a:cubicBezTo>
                    <a:cubicBezTo>
                      <a:pt x="228" y="67"/>
                      <a:pt x="234" y="79"/>
                      <a:pt x="242" y="88"/>
                    </a:cubicBezTo>
                    <a:cubicBezTo>
                      <a:pt x="246" y="92"/>
                      <a:pt x="250" y="95"/>
                      <a:pt x="254" y="98"/>
                    </a:cubicBezTo>
                    <a:cubicBezTo>
                      <a:pt x="261" y="106"/>
                      <a:pt x="269" y="114"/>
                      <a:pt x="277" y="123"/>
                    </a:cubicBezTo>
                    <a:cubicBezTo>
                      <a:pt x="281" y="126"/>
                      <a:pt x="284" y="129"/>
                      <a:pt x="288" y="133"/>
                    </a:cubicBezTo>
                    <a:cubicBezTo>
                      <a:pt x="296" y="141"/>
                      <a:pt x="304" y="149"/>
                      <a:pt x="312" y="157"/>
                    </a:cubicBezTo>
                    <a:cubicBezTo>
                      <a:pt x="315" y="160"/>
                      <a:pt x="319" y="164"/>
                      <a:pt x="322" y="168"/>
                    </a:cubicBezTo>
                    <a:cubicBezTo>
                      <a:pt x="328" y="184"/>
                      <a:pt x="324" y="200"/>
                      <a:pt x="325" y="217"/>
                    </a:cubicBezTo>
                    <a:cubicBezTo>
                      <a:pt x="325" y="223"/>
                      <a:pt x="325" y="228"/>
                      <a:pt x="325" y="234"/>
                    </a:cubicBezTo>
                    <a:cubicBezTo>
                      <a:pt x="325" y="251"/>
                      <a:pt x="325" y="268"/>
                      <a:pt x="325" y="285"/>
                    </a:cubicBezTo>
                    <a:cubicBezTo>
                      <a:pt x="325" y="291"/>
                      <a:pt x="325" y="297"/>
                      <a:pt x="325" y="303"/>
                    </a:cubicBezTo>
                    <a:cubicBezTo>
                      <a:pt x="325" y="320"/>
                      <a:pt x="325" y="337"/>
                      <a:pt x="325" y="355"/>
                    </a:cubicBezTo>
                    <a:cubicBezTo>
                      <a:pt x="325" y="361"/>
                      <a:pt x="325" y="366"/>
                      <a:pt x="325" y="372"/>
                    </a:cubicBezTo>
                    <a:cubicBezTo>
                      <a:pt x="325" y="390"/>
                      <a:pt x="325" y="407"/>
                      <a:pt x="325" y="424"/>
                    </a:cubicBezTo>
                    <a:cubicBezTo>
                      <a:pt x="325" y="430"/>
                      <a:pt x="325" y="436"/>
                      <a:pt x="325" y="442"/>
                    </a:cubicBezTo>
                    <a:cubicBezTo>
                      <a:pt x="325" y="459"/>
                      <a:pt x="325" y="476"/>
                      <a:pt x="325" y="493"/>
                    </a:cubicBezTo>
                    <a:cubicBezTo>
                      <a:pt x="325" y="499"/>
                      <a:pt x="325" y="505"/>
                      <a:pt x="325" y="510"/>
                    </a:cubicBezTo>
                    <a:cubicBezTo>
                      <a:pt x="325" y="527"/>
                      <a:pt x="325" y="545"/>
                      <a:pt x="325" y="562"/>
                    </a:cubicBezTo>
                    <a:cubicBezTo>
                      <a:pt x="325" y="568"/>
                      <a:pt x="325" y="574"/>
                      <a:pt x="325" y="580"/>
                    </a:cubicBezTo>
                    <a:cubicBezTo>
                      <a:pt x="325" y="597"/>
                      <a:pt x="325" y="614"/>
                      <a:pt x="325" y="631"/>
                    </a:cubicBezTo>
                    <a:cubicBezTo>
                      <a:pt x="325" y="637"/>
                      <a:pt x="325" y="643"/>
                      <a:pt x="325" y="649"/>
                    </a:cubicBezTo>
                    <a:cubicBezTo>
                      <a:pt x="325" y="657"/>
                      <a:pt x="325" y="666"/>
                      <a:pt x="325" y="675"/>
                    </a:cubicBezTo>
                    <a:cubicBezTo>
                      <a:pt x="310" y="682"/>
                      <a:pt x="300" y="698"/>
                      <a:pt x="300" y="716"/>
                    </a:cubicBezTo>
                    <a:cubicBezTo>
                      <a:pt x="300" y="742"/>
                      <a:pt x="320" y="762"/>
                      <a:pt x="345" y="762"/>
                    </a:cubicBezTo>
                    <a:cubicBezTo>
                      <a:pt x="369" y="762"/>
                      <a:pt x="389" y="742"/>
                      <a:pt x="389" y="716"/>
                    </a:cubicBezTo>
                    <a:cubicBezTo>
                      <a:pt x="389" y="699"/>
                      <a:pt x="380" y="685"/>
                      <a:pt x="367" y="677"/>
                    </a:cubicBezTo>
                    <a:close/>
                    <a:moveTo>
                      <a:pt x="46" y="70"/>
                    </a:moveTo>
                    <a:cubicBezTo>
                      <a:pt x="31" y="70"/>
                      <a:pt x="19" y="58"/>
                      <a:pt x="19" y="44"/>
                    </a:cubicBezTo>
                    <a:cubicBezTo>
                      <a:pt x="19" y="30"/>
                      <a:pt x="31" y="19"/>
                      <a:pt x="46" y="19"/>
                    </a:cubicBezTo>
                    <a:cubicBezTo>
                      <a:pt x="60" y="19"/>
                      <a:pt x="72" y="30"/>
                      <a:pt x="72" y="44"/>
                    </a:cubicBezTo>
                    <a:cubicBezTo>
                      <a:pt x="72" y="58"/>
                      <a:pt x="60" y="70"/>
                      <a:pt x="46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0" name="Freeform 9"/>
              <p:cNvSpPr>
                <a:spLocks noEditPoints="1"/>
              </p:cNvSpPr>
              <p:nvPr/>
            </p:nvSpPr>
            <p:spPr bwMode="gray">
              <a:xfrm>
                <a:off x="4734" y="1147"/>
                <a:ext cx="923" cy="734"/>
              </a:xfrm>
              <a:custGeom>
                <a:avLst/>
                <a:gdLst>
                  <a:gd name="T0" fmla="*/ 282 w 390"/>
                  <a:gd name="T1" fmla="*/ 90 h 310"/>
                  <a:gd name="T2" fmla="*/ 292 w 390"/>
                  <a:gd name="T3" fmla="*/ 89 h 310"/>
                  <a:gd name="T4" fmla="*/ 307 w 390"/>
                  <a:gd name="T5" fmla="*/ 104 h 310"/>
                  <a:gd name="T6" fmla="*/ 320 w 390"/>
                  <a:gd name="T7" fmla="*/ 118 h 310"/>
                  <a:gd name="T8" fmla="*/ 341 w 390"/>
                  <a:gd name="T9" fmla="*/ 139 h 310"/>
                  <a:gd name="T10" fmla="*/ 347 w 390"/>
                  <a:gd name="T11" fmla="*/ 160 h 310"/>
                  <a:gd name="T12" fmla="*/ 346 w 390"/>
                  <a:gd name="T13" fmla="*/ 211 h 310"/>
                  <a:gd name="T14" fmla="*/ 314 w 390"/>
                  <a:gd name="T15" fmla="*/ 242 h 310"/>
                  <a:gd name="T16" fmla="*/ 262 w 390"/>
                  <a:gd name="T17" fmla="*/ 242 h 310"/>
                  <a:gd name="T18" fmla="*/ 194 w 390"/>
                  <a:gd name="T19" fmla="*/ 242 h 310"/>
                  <a:gd name="T20" fmla="*/ 176 w 390"/>
                  <a:gd name="T21" fmla="*/ 242 h 310"/>
                  <a:gd name="T22" fmla="*/ 124 w 390"/>
                  <a:gd name="T23" fmla="*/ 242 h 310"/>
                  <a:gd name="T24" fmla="*/ 107 w 390"/>
                  <a:gd name="T25" fmla="*/ 242 h 310"/>
                  <a:gd name="T26" fmla="*/ 83 w 390"/>
                  <a:gd name="T27" fmla="*/ 242 h 310"/>
                  <a:gd name="T28" fmla="*/ 45 w 390"/>
                  <a:gd name="T29" fmla="*/ 220 h 310"/>
                  <a:gd name="T30" fmla="*/ 0 w 390"/>
                  <a:gd name="T31" fmla="*/ 265 h 310"/>
                  <a:gd name="T32" fmla="*/ 45 w 390"/>
                  <a:gd name="T33" fmla="*/ 310 h 310"/>
                  <a:gd name="T34" fmla="*/ 86 w 390"/>
                  <a:gd name="T35" fmla="*/ 283 h 310"/>
                  <a:gd name="T36" fmla="*/ 127 w 390"/>
                  <a:gd name="T37" fmla="*/ 285 h 310"/>
                  <a:gd name="T38" fmla="*/ 145 w 390"/>
                  <a:gd name="T39" fmla="*/ 286 h 310"/>
                  <a:gd name="T40" fmla="*/ 197 w 390"/>
                  <a:gd name="T41" fmla="*/ 285 h 310"/>
                  <a:gd name="T42" fmla="*/ 214 w 390"/>
                  <a:gd name="T43" fmla="*/ 286 h 310"/>
                  <a:gd name="T44" fmla="*/ 265 w 390"/>
                  <a:gd name="T45" fmla="*/ 285 h 310"/>
                  <a:gd name="T46" fmla="*/ 283 w 390"/>
                  <a:gd name="T47" fmla="*/ 286 h 310"/>
                  <a:gd name="T48" fmla="*/ 334 w 390"/>
                  <a:gd name="T49" fmla="*/ 285 h 310"/>
                  <a:gd name="T50" fmla="*/ 355 w 390"/>
                  <a:gd name="T51" fmla="*/ 282 h 310"/>
                  <a:gd name="T52" fmla="*/ 386 w 390"/>
                  <a:gd name="T53" fmla="*/ 252 h 310"/>
                  <a:gd name="T54" fmla="*/ 390 w 390"/>
                  <a:gd name="T55" fmla="*/ 231 h 310"/>
                  <a:gd name="T56" fmla="*/ 390 w 390"/>
                  <a:gd name="T57" fmla="*/ 180 h 310"/>
                  <a:gd name="T58" fmla="*/ 390 w 390"/>
                  <a:gd name="T59" fmla="*/ 163 h 310"/>
                  <a:gd name="T60" fmla="*/ 382 w 390"/>
                  <a:gd name="T61" fmla="*/ 121 h 310"/>
                  <a:gd name="T62" fmla="*/ 376 w 390"/>
                  <a:gd name="T63" fmla="*/ 112 h 310"/>
                  <a:gd name="T64" fmla="*/ 348 w 390"/>
                  <a:gd name="T65" fmla="*/ 84 h 310"/>
                  <a:gd name="T66" fmla="*/ 341 w 390"/>
                  <a:gd name="T67" fmla="*/ 77 h 310"/>
                  <a:gd name="T68" fmla="*/ 324 w 390"/>
                  <a:gd name="T69" fmla="*/ 62 h 310"/>
                  <a:gd name="T70" fmla="*/ 327 w 390"/>
                  <a:gd name="T71" fmla="*/ 45 h 310"/>
                  <a:gd name="T72" fmla="*/ 282 w 390"/>
                  <a:gd name="T73" fmla="*/ 0 h 310"/>
                  <a:gd name="T74" fmla="*/ 237 w 390"/>
                  <a:gd name="T75" fmla="*/ 45 h 310"/>
                  <a:gd name="T76" fmla="*/ 282 w 390"/>
                  <a:gd name="T77" fmla="*/ 90 h 310"/>
                  <a:gd name="T78" fmla="*/ 282 w 390"/>
                  <a:gd name="T79" fmla="*/ 19 h 310"/>
                  <a:gd name="T80" fmla="*/ 307 w 390"/>
                  <a:gd name="T81" fmla="*/ 45 h 310"/>
                  <a:gd name="T82" fmla="*/ 282 w 390"/>
                  <a:gd name="T83" fmla="*/ 70 h 310"/>
                  <a:gd name="T84" fmla="*/ 257 w 390"/>
                  <a:gd name="T85" fmla="*/ 45 h 310"/>
                  <a:gd name="T86" fmla="*/ 282 w 390"/>
                  <a:gd name="T87" fmla="*/ 1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0" h="310">
                    <a:moveTo>
                      <a:pt x="282" y="90"/>
                    </a:moveTo>
                    <a:cubicBezTo>
                      <a:pt x="285" y="90"/>
                      <a:pt x="288" y="89"/>
                      <a:pt x="292" y="89"/>
                    </a:cubicBezTo>
                    <a:cubicBezTo>
                      <a:pt x="297" y="93"/>
                      <a:pt x="302" y="98"/>
                      <a:pt x="307" y="104"/>
                    </a:cubicBezTo>
                    <a:cubicBezTo>
                      <a:pt x="312" y="108"/>
                      <a:pt x="317" y="113"/>
                      <a:pt x="320" y="118"/>
                    </a:cubicBezTo>
                    <a:cubicBezTo>
                      <a:pt x="327" y="125"/>
                      <a:pt x="334" y="132"/>
                      <a:pt x="341" y="139"/>
                    </a:cubicBezTo>
                    <a:cubicBezTo>
                      <a:pt x="348" y="144"/>
                      <a:pt x="348" y="152"/>
                      <a:pt x="347" y="160"/>
                    </a:cubicBezTo>
                    <a:cubicBezTo>
                      <a:pt x="348" y="177"/>
                      <a:pt x="348" y="194"/>
                      <a:pt x="346" y="211"/>
                    </a:cubicBezTo>
                    <a:cubicBezTo>
                      <a:pt x="350" y="240"/>
                      <a:pt x="346" y="244"/>
                      <a:pt x="314" y="242"/>
                    </a:cubicBezTo>
                    <a:cubicBezTo>
                      <a:pt x="297" y="242"/>
                      <a:pt x="279" y="242"/>
                      <a:pt x="262" y="242"/>
                    </a:cubicBezTo>
                    <a:cubicBezTo>
                      <a:pt x="239" y="242"/>
                      <a:pt x="216" y="242"/>
                      <a:pt x="194" y="242"/>
                    </a:cubicBezTo>
                    <a:cubicBezTo>
                      <a:pt x="188" y="242"/>
                      <a:pt x="182" y="242"/>
                      <a:pt x="176" y="242"/>
                    </a:cubicBezTo>
                    <a:cubicBezTo>
                      <a:pt x="159" y="242"/>
                      <a:pt x="142" y="242"/>
                      <a:pt x="124" y="242"/>
                    </a:cubicBezTo>
                    <a:cubicBezTo>
                      <a:pt x="118" y="242"/>
                      <a:pt x="113" y="242"/>
                      <a:pt x="107" y="242"/>
                    </a:cubicBezTo>
                    <a:cubicBezTo>
                      <a:pt x="99" y="242"/>
                      <a:pt x="91" y="242"/>
                      <a:pt x="83" y="242"/>
                    </a:cubicBezTo>
                    <a:cubicBezTo>
                      <a:pt x="75" y="229"/>
                      <a:pt x="61" y="220"/>
                      <a:pt x="45" y="220"/>
                    </a:cubicBezTo>
                    <a:cubicBezTo>
                      <a:pt x="20" y="220"/>
                      <a:pt x="0" y="240"/>
                      <a:pt x="0" y="265"/>
                    </a:cubicBezTo>
                    <a:cubicBezTo>
                      <a:pt x="0" y="290"/>
                      <a:pt x="20" y="310"/>
                      <a:pt x="45" y="310"/>
                    </a:cubicBezTo>
                    <a:cubicBezTo>
                      <a:pt x="63" y="310"/>
                      <a:pt x="79" y="299"/>
                      <a:pt x="86" y="283"/>
                    </a:cubicBezTo>
                    <a:cubicBezTo>
                      <a:pt x="100" y="284"/>
                      <a:pt x="114" y="284"/>
                      <a:pt x="127" y="285"/>
                    </a:cubicBezTo>
                    <a:cubicBezTo>
                      <a:pt x="133" y="284"/>
                      <a:pt x="139" y="284"/>
                      <a:pt x="145" y="286"/>
                    </a:cubicBezTo>
                    <a:cubicBezTo>
                      <a:pt x="163" y="283"/>
                      <a:pt x="180" y="284"/>
                      <a:pt x="197" y="285"/>
                    </a:cubicBezTo>
                    <a:cubicBezTo>
                      <a:pt x="202" y="284"/>
                      <a:pt x="208" y="284"/>
                      <a:pt x="214" y="286"/>
                    </a:cubicBezTo>
                    <a:cubicBezTo>
                      <a:pt x="231" y="283"/>
                      <a:pt x="248" y="284"/>
                      <a:pt x="265" y="285"/>
                    </a:cubicBezTo>
                    <a:cubicBezTo>
                      <a:pt x="271" y="284"/>
                      <a:pt x="277" y="284"/>
                      <a:pt x="283" y="286"/>
                    </a:cubicBezTo>
                    <a:cubicBezTo>
                      <a:pt x="300" y="283"/>
                      <a:pt x="318" y="284"/>
                      <a:pt x="334" y="285"/>
                    </a:cubicBezTo>
                    <a:cubicBezTo>
                      <a:pt x="341" y="284"/>
                      <a:pt x="348" y="283"/>
                      <a:pt x="355" y="282"/>
                    </a:cubicBezTo>
                    <a:cubicBezTo>
                      <a:pt x="368" y="275"/>
                      <a:pt x="378" y="265"/>
                      <a:pt x="386" y="252"/>
                    </a:cubicBezTo>
                    <a:cubicBezTo>
                      <a:pt x="388" y="245"/>
                      <a:pt x="388" y="239"/>
                      <a:pt x="390" y="231"/>
                    </a:cubicBezTo>
                    <a:cubicBezTo>
                      <a:pt x="390" y="214"/>
                      <a:pt x="390" y="197"/>
                      <a:pt x="390" y="180"/>
                    </a:cubicBezTo>
                    <a:cubicBezTo>
                      <a:pt x="390" y="174"/>
                      <a:pt x="390" y="169"/>
                      <a:pt x="390" y="163"/>
                    </a:cubicBezTo>
                    <a:cubicBezTo>
                      <a:pt x="390" y="149"/>
                      <a:pt x="389" y="135"/>
                      <a:pt x="382" y="121"/>
                    </a:cubicBezTo>
                    <a:cubicBezTo>
                      <a:pt x="380" y="118"/>
                      <a:pt x="378" y="115"/>
                      <a:pt x="376" y="112"/>
                    </a:cubicBezTo>
                    <a:cubicBezTo>
                      <a:pt x="365" y="104"/>
                      <a:pt x="356" y="94"/>
                      <a:pt x="348" y="84"/>
                    </a:cubicBezTo>
                    <a:cubicBezTo>
                      <a:pt x="346" y="82"/>
                      <a:pt x="343" y="79"/>
                      <a:pt x="341" y="77"/>
                    </a:cubicBezTo>
                    <a:cubicBezTo>
                      <a:pt x="335" y="72"/>
                      <a:pt x="329" y="67"/>
                      <a:pt x="324" y="62"/>
                    </a:cubicBezTo>
                    <a:cubicBezTo>
                      <a:pt x="326" y="56"/>
                      <a:pt x="327" y="51"/>
                      <a:pt x="327" y="45"/>
                    </a:cubicBezTo>
                    <a:cubicBezTo>
                      <a:pt x="327" y="20"/>
                      <a:pt x="307" y="0"/>
                      <a:pt x="282" y="0"/>
                    </a:cubicBezTo>
                    <a:cubicBezTo>
                      <a:pt x="257" y="0"/>
                      <a:pt x="237" y="20"/>
                      <a:pt x="237" y="45"/>
                    </a:cubicBezTo>
                    <a:cubicBezTo>
                      <a:pt x="237" y="70"/>
                      <a:pt x="257" y="90"/>
                      <a:pt x="282" y="90"/>
                    </a:cubicBezTo>
                    <a:close/>
                    <a:moveTo>
                      <a:pt x="282" y="19"/>
                    </a:moveTo>
                    <a:cubicBezTo>
                      <a:pt x="296" y="19"/>
                      <a:pt x="307" y="31"/>
                      <a:pt x="307" y="45"/>
                    </a:cubicBezTo>
                    <a:cubicBezTo>
                      <a:pt x="307" y="59"/>
                      <a:pt x="296" y="70"/>
                      <a:pt x="282" y="70"/>
                    </a:cubicBezTo>
                    <a:cubicBezTo>
                      <a:pt x="268" y="70"/>
                      <a:pt x="257" y="59"/>
                      <a:pt x="257" y="45"/>
                    </a:cubicBezTo>
                    <a:cubicBezTo>
                      <a:pt x="257" y="31"/>
                      <a:pt x="268" y="19"/>
                      <a:pt x="28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1" name="Freeform 10"/>
              <p:cNvSpPr>
                <a:spLocks noEditPoints="1"/>
              </p:cNvSpPr>
              <p:nvPr/>
            </p:nvSpPr>
            <p:spPr bwMode="gray">
              <a:xfrm>
                <a:off x="2368" y="293"/>
                <a:ext cx="700" cy="527"/>
              </a:xfrm>
              <a:custGeom>
                <a:avLst/>
                <a:gdLst>
                  <a:gd name="T0" fmla="*/ 45 w 296"/>
                  <a:gd name="T1" fmla="*/ 223 h 223"/>
                  <a:gd name="T2" fmla="*/ 90 w 296"/>
                  <a:gd name="T3" fmla="*/ 178 h 223"/>
                  <a:gd name="T4" fmla="*/ 88 w 296"/>
                  <a:gd name="T5" fmla="*/ 166 h 223"/>
                  <a:gd name="T6" fmla="*/ 94 w 296"/>
                  <a:gd name="T7" fmla="*/ 160 h 223"/>
                  <a:gd name="T8" fmla="*/ 127 w 296"/>
                  <a:gd name="T9" fmla="*/ 149 h 223"/>
                  <a:gd name="T10" fmla="*/ 179 w 296"/>
                  <a:gd name="T11" fmla="*/ 142 h 223"/>
                  <a:gd name="T12" fmla="*/ 239 w 296"/>
                  <a:gd name="T13" fmla="*/ 86 h 223"/>
                  <a:gd name="T14" fmla="*/ 251 w 296"/>
                  <a:gd name="T15" fmla="*/ 88 h 223"/>
                  <a:gd name="T16" fmla="*/ 296 w 296"/>
                  <a:gd name="T17" fmla="*/ 44 h 223"/>
                  <a:gd name="T18" fmla="*/ 251 w 296"/>
                  <a:gd name="T19" fmla="*/ 0 h 223"/>
                  <a:gd name="T20" fmla="*/ 206 w 296"/>
                  <a:gd name="T21" fmla="*/ 44 h 223"/>
                  <a:gd name="T22" fmla="*/ 208 w 296"/>
                  <a:gd name="T23" fmla="*/ 57 h 223"/>
                  <a:gd name="T24" fmla="*/ 191 w 296"/>
                  <a:gd name="T25" fmla="*/ 74 h 223"/>
                  <a:gd name="T26" fmla="*/ 106 w 296"/>
                  <a:gd name="T27" fmla="*/ 106 h 223"/>
                  <a:gd name="T28" fmla="*/ 82 w 296"/>
                  <a:gd name="T29" fmla="*/ 114 h 223"/>
                  <a:gd name="T30" fmla="*/ 78 w 296"/>
                  <a:gd name="T31" fmla="*/ 117 h 223"/>
                  <a:gd name="T32" fmla="*/ 72 w 296"/>
                  <a:gd name="T33" fmla="*/ 121 h 223"/>
                  <a:gd name="T34" fmla="*/ 68 w 296"/>
                  <a:gd name="T35" fmla="*/ 125 h 223"/>
                  <a:gd name="T36" fmla="*/ 65 w 296"/>
                  <a:gd name="T37" fmla="*/ 128 h 223"/>
                  <a:gd name="T38" fmla="*/ 65 w 296"/>
                  <a:gd name="T39" fmla="*/ 127 h 223"/>
                  <a:gd name="T40" fmla="*/ 62 w 296"/>
                  <a:gd name="T41" fmla="*/ 131 h 223"/>
                  <a:gd name="T42" fmla="*/ 58 w 296"/>
                  <a:gd name="T43" fmla="*/ 135 h 223"/>
                  <a:gd name="T44" fmla="*/ 57 w 296"/>
                  <a:gd name="T45" fmla="*/ 135 h 223"/>
                  <a:gd name="T46" fmla="*/ 45 w 296"/>
                  <a:gd name="T47" fmla="*/ 134 h 223"/>
                  <a:gd name="T48" fmla="*/ 0 w 296"/>
                  <a:gd name="T49" fmla="*/ 178 h 223"/>
                  <a:gd name="T50" fmla="*/ 45 w 296"/>
                  <a:gd name="T51" fmla="*/ 223 h 223"/>
                  <a:gd name="T52" fmla="*/ 251 w 296"/>
                  <a:gd name="T53" fmla="*/ 20 h 223"/>
                  <a:gd name="T54" fmla="*/ 276 w 296"/>
                  <a:gd name="T55" fmla="*/ 44 h 223"/>
                  <a:gd name="T56" fmla="*/ 251 w 296"/>
                  <a:gd name="T57" fmla="*/ 68 h 223"/>
                  <a:gd name="T58" fmla="*/ 225 w 296"/>
                  <a:gd name="T59" fmla="*/ 44 h 223"/>
                  <a:gd name="T60" fmla="*/ 251 w 296"/>
                  <a:gd name="T61" fmla="*/ 20 h 223"/>
                  <a:gd name="T62" fmla="*/ 45 w 296"/>
                  <a:gd name="T63" fmla="*/ 153 h 223"/>
                  <a:gd name="T64" fmla="*/ 70 w 296"/>
                  <a:gd name="T65" fmla="*/ 178 h 223"/>
                  <a:gd name="T66" fmla="*/ 45 w 296"/>
                  <a:gd name="T67" fmla="*/ 204 h 223"/>
                  <a:gd name="T68" fmla="*/ 20 w 296"/>
                  <a:gd name="T69" fmla="*/ 178 h 223"/>
                  <a:gd name="T70" fmla="*/ 45 w 296"/>
                  <a:gd name="T71" fmla="*/ 1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6" h="223">
                    <a:moveTo>
                      <a:pt x="45" y="223"/>
                    </a:moveTo>
                    <a:cubicBezTo>
                      <a:pt x="70" y="223"/>
                      <a:pt x="90" y="203"/>
                      <a:pt x="90" y="178"/>
                    </a:cubicBezTo>
                    <a:cubicBezTo>
                      <a:pt x="90" y="174"/>
                      <a:pt x="89" y="170"/>
                      <a:pt x="88" y="166"/>
                    </a:cubicBezTo>
                    <a:cubicBezTo>
                      <a:pt x="90" y="164"/>
                      <a:pt x="92" y="162"/>
                      <a:pt x="94" y="160"/>
                    </a:cubicBezTo>
                    <a:cubicBezTo>
                      <a:pt x="103" y="149"/>
                      <a:pt x="114" y="145"/>
                      <a:pt x="127" y="149"/>
                    </a:cubicBezTo>
                    <a:cubicBezTo>
                      <a:pt x="144" y="146"/>
                      <a:pt x="162" y="150"/>
                      <a:pt x="179" y="142"/>
                    </a:cubicBezTo>
                    <a:cubicBezTo>
                      <a:pt x="201" y="126"/>
                      <a:pt x="219" y="106"/>
                      <a:pt x="239" y="86"/>
                    </a:cubicBezTo>
                    <a:cubicBezTo>
                      <a:pt x="243" y="87"/>
                      <a:pt x="247" y="88"/>
                      <a:pt x="251" y="88"/>
                    </a:cubicBezTo>
                    <a:cubicBezTo>
                      <a:pt x="275" y="88"/>
                      <a:pt x="296" y="68"/>
                      <a:pt x="296" y="44"/>
                    </a:cubicBezTo>
                    <a:cubicBezTo>
                      <a:pt x="296" y="20"/>
                      <a:pt x="275" y="0"/>
                      <a:pt x="251" y="0"/>
                    </a:cubicBezTo>
                    <a:cubicBezTo>
                      <a:pt x="226" y="0"/>
                      <a:pt x="206" y="20"/>
                      <a:pt x="206" y="44"/>
                    </a:cubicBezTo>
                    <a:cubicBezTo>
                      <a:pt x="206" y="49"/>
                      <a:pt x="207" y="53"/>
                      <a:pt x="208" y="57"/>
                    </a:cubicBezTo>
                    <a:cubicBezTo>
                      <a:pt x="202" y="63"/>
                      <a:pt x="195" y="68"/>
                      <a:pt x="191" y="74"/>
                    </a:cubicBezTo>
                    <a:cubicBezTo>
                      <a:pt x="169" y="104"/>
                      <a:pt x="141" y="112"/>
                      <a:pt x="106" y="106"/>
                    </a:cubicBezTo>
                    <a:cubicBezTo>
                      <a:pt x="98" y="109"/>
                      <a:pt x="90" y="112"/>
                      <a:pt x="82" y="114"/>
                    </a:cubicBezTo>
                    <a:cubicBezTo>
                      <a:pt x="80" y="115"/>
                      <a:pt x="79" y="116"/>
                      <a:pt x="78" y="117"/>
                    </a:cubicBezTo>
                    <a:cubicBezTo>
                      <a:pt x="77" y="120"/>
                      <a:pt x="75" y="121"/>
                      <a:pt x="72" y="121"/>
                    </a:cubicBezTo>
                    <a:cubicBezTo>
                      <a:pt x="71" y="122"/>
                      <a:pt x="70" y="123"/>
                      <a:pt x="68" y="125"/>
                    </a:cubicBezTo>
                    <a:cubicBezTo>
                      <a:pt x="68" y="125"/>
                      <a:pt x="66" y="127"/>
                      <a:pt x="65" y="128"/>
                    </a:cubicBezTo>
                    <a:cubicBezTo>
                      <a:pt x="65" y="127"/>
                      <a:pt x="65" y="127"/>
                      <a:pt x="65" y="127"/>
                    </a:cubicBezTo>
                    <a:cubicBezTo>
                      <a:pt x="64" y="129"/>
                      <a:pt x="63" y="130"/>
                      <a:pt x="62" y="131"/>
                    </a:cubicBezTo>
                    <a:cubicBezTo>
                      <a:pt x="61" y="133"/>
                      <a:pt x="59" y="133"/>
                      <a:pt x="58" y="135"/>
                    </a:cubicBezTo>
                    <a:cubicBezTo>
                      <a:pt x="58" y="135"/>
                      <a:pt x="58" y="135"/>
                      <a:pt x="57" y="135"/>
                    </a:cubicBezTo>
                    <a:cubicBezTo>
                      <a:pt x="53" y="134"/>
                      <a:pt x="49" y="134"/>
                      <a:pt x="45" y="134"/>
                    </a:cubicBezTo>
                    <a:cubicBezTo>
                      <a:pt x="20" y="134"/>
                      <a:pt x="0" y="154"/>
                      <a:pt x="0" y="178"/>
                    </a:cubicBezTo>
                    <a:cubicBezTo>
                      <a:pt x="0" y="203"/>
                      <a:pt x="20" y="223"/>
                      <a:pt x="45" y="223"/>
                    </a:cubicBezTo>
                    <a:close/>
                    <a:moveTo>
                      <a:pt x="251" y="20"/>
                    </a:moveTo>
                    <a:cubicBezTo>
                      <a:pt x="265" y="20"/>
                      <a:pt x="276" y="31"/>
                      <a:pt x="276" y="44"/>
                    </a:cubicBezTo>
                    <a:cubicBezTo>
                      <a:pt x="276" y="57"/>
                      <a:pt x="265" y="68"/>
                      <a:pt x="251" y="68"/>
                    </a:cubicBezTo>
                    <a:cubicBezTo>
                      <a:pt x="237" y="68"/>
                      <a:pt x="225" y="57"/>
                      <a:pt x="225" y="44"/>
                    </a:cubicBezTo>
                    <a:cubicBezTo>
                      <a:pt x="225" y="31"/>
                      <a:pt x="237" y="20"/>
                      <a:pt x="251" y="20"/>
                    </a:cubicBezTo>
                    <a:close/>
                    <a:moveTo>
                      <a:pt x="45" y="153"/>
                    </a:moveTo>
                    <a:cubicBezTo>
                      <a:pt x="59" y="153"/>
                      <a:pt x="70" y="164"/>
                      <a:pt x="70" y="178"/>
                    </a:cubicBezTo>
                    <a:cubicBezTo>
                      <a:pt x="70" y="192"/>
                      <a:pt x="59" y="204"/>
                      <a:pt x="45" y="204"/>
                    </a:cubicBezTo>
                    <a:cubicBezTo>
                      <a:pt x="31" y="204"/>
                      <a:pt x="20" y="192"/>
                      <a:pt x="20" y="178"/>
                    </a:cubicBezTo>
                    <a:cubicBezTo>
                      <a:pt x="20" y="164"/>
                      <a:pt x="31" y="153"/>
                      <a:pt x="45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2" name="Freeform 11"/>
              <p:cNvSpPr>
                <a:spLocks noEditPoints="1"/>
              </p:cNvSpPr>
              <p:nvPr/>
            </p:nvSpPr>
            <p:spPr bwMode="gray">
              <a:xfrm>
                <a:off x="4036" y="219"/>
                <a:ext cx="1637" cy="3931"/>
              </a:xfrm>
              <a:custGeom>
                <a:avLst/>
                <a:gdLst>
                  <a:gd name="T0" fmla="*/ 412 w 692"/>
                  <a:gd name="T1" fmla="*/ 899 h 1661"/>
                  <a:gd name="T2" fmla="*/ 154 w 692"/>
                  <a:gd name="T3" fmla="*/ 899 h 1661"/>
                  <a:gd name="T4" fmla="*/ 135 w 692"/>
                  <a:gd name="T5" fmla="*/ 483 h 1661"/>
                  <a:gd name="T6" fmla="*/ 95 w 692"/>
                  <a:gd name="T7" fmla="*/ 404 h 1661"/>
                  <a:gd name="T8" fmla="*/ 51 w 692"/>
                  <a:gd name="T9" fmla="*/ 359 h 1661"/>
                  <a:gd name="T10" fmla="*/ 84 w 692"/>
                  <a:gd name="T11" fmla="*/ 92 h 1661"/>
                  <a:gd name="T12" fmla="*/ 98 w 692"/>
                  <a:gd name="T13" fmla="*/ 0 h 1661"/>
                  <a:gd name="T14" fmla="*/ 42 w 692"/>
                  <a:gd name="T15" fmla="*/ 73 h 1661"/>
                  <a:gd name="T16" fmla="*/ 20 w 692"/>
                  <a:gd name="T17" fmla="*/ 390 h 1661"/>
                  <a:gd name="T18" fmla="*/ 65 w 692"/>
                  <a:gd name="T19" fmla="*/ 434 h 1661"/>
                  <a:gd name="T20" fmla="*/ 92 w 692"/>
                  <a:gd name="T21" fmla="*/ 531 h 1661"/>
                  <a:gd name="T22" fmla="*/ 92 w 692"/>
                  <a:gd name="T23" fmla="*/ 617 h 1661"/>
                  <a:gd name="T24" fmla="*/ 92 w 692"/>
                  <a:gd name="T25" fmla="*/ 738 h 1661"/>
                  <a:gd name="T26" fmla="*/ 92 w 692"/>
                  <a:gd name="T27" fmla="*/ 824 h 1661"/>
                  <a:gd name="T28" fmla="*/ 106 w 692"/>
                  <a:gd name="T29" fmla="*/ 924 h 1661"/>
                  <a:gd name="T30" fmla="*/ 175 w 692"/>
                  <a:gd name="T31" fmla="*/ 942 h 1661"/>
                  <a:gd name="T32" fmla="*/ 298 w 692"/>
                  <a:gd name="T33" fmla="*/ 942 h 1661"/>
                  <a:gd name="T34" fmla="*/ 381 w 692"/>
                  <a:gd name="T35" fmla="*/ 942 h 1661"/>
                  <a:gd name="T36" fmla="*/ 505 w 692"/>
                  <a:gd name="T37" fmla="*/ 942 h 1661"/>
                  <a:gd name="T38" fmla="*/ 515 w 692"/>
                  <a:gd name="T39" fmla="*/ 969 h 1661"/>
                  <a:gd name="T40" fmla="*/ 429 w 692"/>
                  <a:gd name="T41" fmla="*/ 968 h 1661"/>
                  <a:gd name="T42" fmla="*/ 342 w 692"/>
                  <a:gd name="T43" fmla="*/ 968 h 1661"/>
                  <a:gd name="T44" fmla="*/ 222 w 692"/>
                  <a:gd name="T45" fmla="*/ 968 h 1661"/>
                  <a:gd name="T46" fmla="*/ 88 w 692"/>
                  <a:gd name="T47" fmla="*/ 1037 h 1661"/>
                  <a:gd name="T48" fmla="*/ 106 w 692"/>
                  <a:gd name="T49" fmla="*/ 1661 h 1661"/>
                  <a:gd name="T50" fmla="*/ 125 w 692"/>
                  <a:gd name="T51" fmla="*/ 1332 h 1661"/>
                  <a:gd name="T52" fmla="*/ 210 w 692"/>
                  <a:gd name="T53" fmla="*/ 1298 h 1661"/>
                  <a:gd name="T54" fmla="*/ 249 w 692"/>
                  <a:gd name="T55" fmla="*/ 1196 h 1661"/>
                  <a:gd name="T56" fmla="*/ 284 w 692"/>
                  <a:gd name="T57" fmla="*/ 1093 h 1661"/>
                  <a:gd name="T58" fmla="*/ 375 w 692"/>
                  <a:gd name="T59" fmla="*/ 1118 h 1661"/>
                  <a:gd name="T60" fmla="*/ 335 w 692"/>
                  <a:gd name="T61" fmla="*/ 1049 h 1661"/>
                  <a:gd name="T62" fmla="*/ 263 w 692"/>
                  <a:gd name="T63" fmla="*/ 1048 h 1661"/>
                  <a:gd name="T64" fmla="*/ 206 w 692"/>
                  <a:gd name="T65" fmla="*/ 1176 h 1661"/>
                  <a:gd name="T66" fmla="*/ 167 w 692"/>
                  <a:gd name="T67" fmla="*/ 1268 h 1661"/>
                  <a:gd name="T68" fmla="*/ 125 w 692"/>
                  <a:gd name="T69" fmla="*/ 1131 h 1661"/>
                  <a:gd name="T70" fmla="*/ 167 w 692"/>
                  <a:gd name="T71" fmla="*/ 1017 h 1661"/>
                  <a:gd name="T72" fmla="*/ 515 w 692"/>
                  <a:gd name="T73" fmla="*/ 1012 h 1661"/>
                  <a:gd name="T74" fmla="*/ 566 w 692"/>
                  <a:gd name="T75" fmla="*/ 1033 h 1661"/>
                  <a:gd name="T76" fmla="*/ 486 w 692"/>
                  <a:gd name="T77" fmla="*/ 1049 h 1661"/>
                  <a:gd name="T78" fmla="*/ 394 w 692"/>
                  <a:gd name="T79" fmla="*/ 1123 h 1661"/>
                  <a:gd name="T80" fmla="*/ 380 w 692"/>
                  <a:gd name="T81" fmla="*/ 1210 h 1661"/>
                  <a:gd name="T82" fmla="*/ 468 w 692"/>
                  <a:gd name="T83" fmla="*/ 1107 h 1661"/>
                  <a:gd name="T84" fmla="*/ 595 w 692"/>
                  <a:gd name="T85" fmla="*/ 1116 h 1661"/>
                  <a:gd name="T86" fmla="*/ 588 w 692"/>
                  <a:gd name="T87" fmla="*/ 1022 h 1661"/>
                  <a:gd name="T88" fmla="*/ 607 w 692"/>
                  <a:gd name="T89" fmla="*/ 940 h 1661"/>
                  <a:gd name="T90" fmla="*/ 647 w 692"/>
                  <a:gd name="T91" fmla="*/ 874 h 1661"/>
                  <a:gd name="T92" fmla="*/ 98 w 692"/>
                  <a:gd name="T93" fmla="*/ 75 h 1661"/>
                  <a:gd name="T94" fmla="*/ 167 w 692"/>
                  <a:gd name="T95" fmla="*/ 1288 h 1661"/>
                  <a:gd name="T96" fmla="*/ 140 w 692"/>
                  <a:gd name="T97" fmla="*/ 1313 h 1661"/>
                  <a:gd name="T98" fmla="*/ 106 w 692"/>
                  <a:gd name="T99" fmla="*/ 1641 h 1661"/>
                  <a:gd name="T100" fmla="*/ 133 w 692"/>
                  <a:gd name="T101" fmla="*/ 1613 h 1661"/>
                  <a:gd name="T102" fmla="*/ 595 w 692"/>
                  <a:gd name="T103" fmla="*/ 1097 h 1661"/>
                  <a:gd name="T104" fmla="*/ 586 w 692"/>
                  <a:gd name="T105" fmla="*/ 984 h 1661"/>
                  <a:gd name="T106" fmla="*/ 559 w 692"/>
                  <a:gd name="T107" fmla="*/ 954 h 1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2" h="1661">
                    <a:moveTo>
                      <a:pt x="647" y="874"/>
                    </a:moveTo>
                    <a:cubicBezTo>
                      <a:pt x="630" y="874"/>
                      <a:pt x="614" y="885"/>
                      <a:pt x="607" y="900"/>
                    </a:cubicBezTo>
                    <a:cubicBezTo>
                      <a:pt x="594" y="900"/>
                      <a:pt x="418" y="899"/>
                      <a:pt x="412" y="899"/>
                    </a:cubicBezTo>
                    <a:cubicBezTo>
                      <a:pt x="395" y="899"/>
                      <a:pt x="378" y="899"/>
                      <a:pt x="361" y="899"/>
                    </a:cubicBezTo>
                    <a:cubicBezTo>
                      <a:pt x="355" y="899"/>
                      <a:pt x="349" y="899"/>
                      <a:pt x="343" y="899"/>
                    </a:cubicBezTo>
                    <a:cubicBezTo>
                      <a:pt x="326" y="899"/>
                      <a:pt x="171" y="899"/>
                      <a:pt x="154" y="899"/>
                    </a:cubicBezTo>
                    <a:cubicBezTo>
                      <a:pt x="149" y="900"/>
                      <a:pt x="144" y="901"/>
                      <a:pt x="140" y="897"/>
                    </a:cubicBezTo>
                    <a:cubicBezTo>
                      <a:pt x="127" y="880"/>
                      <a:pt x="136" y="862"/>
                      <a:pt x="135" y="845"/>
                    </a:cubicBezTo>
                    <a:cubicBezTo>
                      <a:pt x="133" y="839"/>
                      <a:pt x="133" y="489"/>
                      <a:pt x="135" y="483"/>
                    </a:cubicBezTo>
                    <a:cubicBezTo>
                      <a:pt x="133" y="468"/>
                      <a:pt x="135" y="452"/>
                      <a:pt x="128" y="438"/>
                    </a:cubicBezTo>
                    <a:cubicBezTo>
                      <a:pt x="126" y="436"/>
                      <a:pt x="124" y="434"/>
                      <a:pt x="123" y="432"/>
                    </a:cubicBezTo>
                    <a:cubicBezTo>
                      <a:pt x="113" y="423"/>
                      <a:pt x="104" y="414"/>
                      <a:pt x="95" y="404"/>
                    </a:cubicBezTo>
                    <a:cubicBezTo>
                      <a:pt x="91" y="401"/>
                      <a:pt x="87" y="398"/>
                      <a:pt x="85" y="393"/>
                    </a:cubicBezTo>
                    <a:cubicBezTo>
                      <a:pt x="79" y="387"/>
                      <a:pt x="71" y="380"/>
                      <a:pt x="65" y="373"/>
                    </a:cubicBezTo>
                    <a:cubicBezTo>
                      <a:pt x="59" y="369"/>
                      <a:pt x="54" y="364"/>
                      <a:pt x="51" y="359"/>
                    </a:cubicBezTo>
                    <a:cubicBezTo>
                      <a:pt x="37" y="348"/>
                      <a:pt x="44" y="168"/>
                      <a:pt x="44" y="162"/>
                    </a:cubicBezTo>
                    <a:cubicBezTo>
                      <a:pt x="39" y="143"/>
                      <a:pt x="45" y="126"/>
                      <a:pt x="62" y="113"/>
                    </a:cubicBezTo>
                    <a:cubicBezTo>
                      <a:pt x="70" y="107"/>
                      <a:pt x="77" y="99"/>
                      <a:pt x="84" y="92"/>
                    </a:cubicBezTo>
                    <a:cubicBezTo>
                      <a:pt x="88" y="93"/>
                      <a:pt x="93" y="94"/>
                      <a:pt x="98" y="94"/>
                    </a:cubicBezTo>
                    <a:cubicBezTo>
                      <a:pt x="124" y="94"/>
                      <a:pt x="145" y="73"/>
                      <a:pt x="145" y="47"/>
                    </a:cubicBezTo>
                    <a:cubicBezTo>
                      <a:pt x="145" y="21"/>
                      <a:pt x="124" y="0"/>
                      <a:pt x="98" y="0"/>
                    </a:cubicBezTo>
                    <a:cubicBezTo>
                      <a:pt x="72" y="0"/>
                      <a:pt x="51" y="21"/>
                      <a:pt x="51" y="47"/>
                    </a:cubicBezTo>
                    <a:cubicBezTo>
                      <a:pt x="51" y="53"/>
                      <a:pt x="52" y="58"/>
                      <a:pt x="53" y="63"/>
                    </a:cubicBezTo>
                    <a:cubicBezTo>
                      <a:pt x="50" y="66"/>
                      <a:pt x="46" y="70"/>
                      <a:pt x="42" y="73"/>
                    </a:cubicBezTo>
                    <a:cubicBezTo>
                      <a:pt x="23" y="93"/>
                      <a:pt x="0" y="110"/>
                      <a:pt x="0" y="142"/>
                    </a:cubicBezTo>
                    <a:cubicBezTo>
                      <a:pt x="2" y="148"/>
                      <a:pt x="2" y="358"/>
                      <a:pt x="2" y="362"/>
                    </a:cubicBezTo>
                    <a:cubicBezTo>
                      <a:pt x="6" y="373"/>
                      <a:pt x="13" y="381"/>
                      <a:pt x="20" y="390"/>
                    </a:cubicBezTo>
                    <a:cubicBezTo>
                      <a:pt x="25" y="394"/>
                      <a:pt x="29" y="399"/>
                      <a:pt x="34" y="404"/>
                    </a:cubicBezTo>
                    <a:cubicBezTo>
                      <a:pt x="41" y="410"/>
                      <a:pt x="48" y="418"/>
                      <a:pt x="54" y="424"/>
                    </a:cubicBezTo>
                    <a:cubicBezTo>
                      <a:pt x="58" y="428"/>
                      <a:pt x="61" y="431"/>
                      <a:pt x="65" y="434"/>
                    </a:cubicBezTo>
                    <a:cubicBezTo>
                      <a:pt x="74" y="441"/>
                      <a:pt x="81" y="450"/>
                      <a:pt x="89" y="459"/>
                    </a:cubicBezTo>
                    <a:cubicBezTo>
                      <a:pt x="95" y="465"/>
                      <a:pt x="92" y="473"/>
                      <a:pt x="92" y="479"/>
                    </a:cubicBezTo>
                    <a:cubicBezTo>
                      <a:pt x="92" y="497"/>
                      <a:pt x="92" y="514"/>
                      <a:pt x="92" y="531"/>
                    </a:cubicBezTo>
                    <a:cubicBezTo>
                      <a:pt x="92" y="537"/>
                      <a:pt x="92" y="543"/>
                      <a:pt x="92" y="549"/>
                    </a:cubicBezTo>
                    <a:cubicBezTo>
                      <a:pt x="92" y="566"/>
                      <a:pt x="92" y="583"/>
                      <a:pt x="92" y="600"/>
                    </a:cubicBezTo>
                    <a:cubicBezTo>
                      <a:pt x="92" y="606"/>
                      <a:pt x="92" y="611"/>
                      <a:pt x="92" y="617"/>
                    </a:cubicBezTo>
                    <a:cubicBezTo>
                      <a:pt x="92" y="634"/>
                      <a:pt x="92" y="652"/>
                      <a:pt x="92" y="669"/>
                    </a:cubicBezTo>
                    <a:cubicBezTo>
                      <a:pt x="92" y="675"/>
                      <a:pt x="92" y="681"/>
                      <a:pt x="92" y="687"/>
                    </a:cubicBezTo>
                    <a:cubicBezTo>
                      <a:pt x="92" y="704"/>
                      <a:pt x="92" y="720"/>
                      <a:pt x="92" y="738"/>
                    </a:cubicBezTo>
                    <a:cubicBezTo>
                      <a:pt x="92" y="743"/>
                      <a:pt x="92" y="749"/>
                      <a:pt x="92" y="755"/>
                    </a:cubicBezTo>
                    <a:cubicBezTo>
                      <a:pt x="92" y="772"/>
                      <a:pt x="92" y="790"/>
                      <a:pt x="92" y="807"/>
                    </a:cubicBezTo>
                    <a:cubicBezTo>
                      <a:pt x="92" y="813"/>
                      <a:pt x="92" y="819"/>
                      <a:pt x="92" y="824"/>
                    </a:cubicBezTo>
                    <a:cubicBezTo>
                      <a:pt x="92" y="841"/>
                      <a:pt x="92" y="858"/>
                      <a:pt x="92" y="875"/>
                    </a:cubicBezTo>
                    <a:cubicBezTo>
                      <a:pt x="92" y="881"/>
                      <a:pt x="92" y="887"/>
                      <a:pt x="92" y="893"/>
                    </a:cubicBezTo>
                    <a:cubicBezTo>
                      <a:pt x="95" y="904"/>
                      <a:pt x="98" y="914"/>
                      <a:pt x="106" y="924"/>
                    </a:cubicBezTo>
                    <a:cubicBezTo>
                      <a:pt x="109" y="927"/>
                      <a:pt x="112" y="931"/>
                      <a:pt x="116" y="934"/>
                    </a:cubicBezTo>
                    <a:cubicBezTo>
                      <a:pt x="130" y="941"/>
                      <a:pt x="146" y="942"/>
                      <a:pt x="160" y="942"/>
                    </a:cubicBezTo>
                    <a:cubicBezTo>
                      <a:pt x="165" y="942"/>
                      <a:pt x="170" y="942"/>
                      <a:pt x="175" y="942"/>
                    </a:cubicBezTo>
                    <a:cubicBezTo>
                      <a:pt x="193" y="942"/>
                      <a:pt x="211" y="942"/>
                      <a:pt x="230" y="942"/>
                    </a:cubicBezTo>
                    <a:cubicBezTo>
                      <a:pt x="234" y="942"/>
                      <a:pt x="239" y="942"/>
                      <a:pt x="244" y="942"/>
                    </a:cubicBezTo>
                    <a:cubicBezTo>
                      <a:pt x="262" y="942"/>
                      <a:pt x="280" y="942"/>
                      <a:pt x="298" y="942"/>
                    </a:cubicBezTo>
                    <a:cubicBezTo>
                      <a:pt x="303" y="942"/>
                      <a:pt x="308" y="942"/>
                      <a:pt x="312" y="942"/>
                    </a:cubicBezTo>
                    <a:cubicBezTo>
                      <a:pt x="331" y="942"/>
                      <a:pt x="349" y="942"/>
                      <a:pt x="367" y="942"/>
                    </a:cubicBezTo>
                    <a:cubicBezTo>
                      <a:pt x="372" y="942"/>
                      <a:pt x="376" y="942"/>
                      <a:pt x="381" y="942"/>
                    </a:cubicBezTo>
                    <a:cubicBezTo>
                      <a:pt x="400" y="942"/>
                      <a:pt x="418" y="942"/>
                      <a:pt x="436" y="942"/>
                    </a:cubicBezTo>
                    <a:cubicBezTo>
                      <a:pt x="441" y="942"/>
                      <a:pt x="446" y="942"/>
                      <a:pt x="450" y="942"/>
                    </a:cubicBezTo>
                    <a:cubicBezTo>
                      <a:pt x="468" y="942"/>
                      <a:pt x="487" y="942"/>
                      <a:pt x="505" y="942"/>
                    </a:cubicBezTo>
                    <a:cubicBezTo>
                      <a:pt x="510" y="942"/>
                      <a:pt x="514" y="942"/>
                      <a:pt x="519" y="942"/>
                    </a:cubicBezTo>
                    <a:cubicBezTo>
                      <a:pt x="525" y="942"/>
                      <a:pt x="530" y="941"/>
                      <a:pt x="536" y="941"/>
                    </a:cubicBezTo>
                    <a:cubicBezTo>
                      <a:pt x="526" y="948"/>
                      <a:pt x="519" y="957"/>
                      <a:pt x="515" y="969"/>
                    </a:cubicBezTo>
                    <a:cubicBezTo>
                      <a:pt x="510" y="969"/>
                      <a:pt x="504" y="968"/>
                      <a:pt x="498" y="968"/>
                    </a:cubicBezTo>
                    <a:cubicBezTo>
                      <a:pt x="492" y="968"/>
                      <a:pt x="486" y="968"/>
                      <a:pt x="480" y="968"/>
                    </a:cubicBezTo>
                    <a:cubicBezTo>
                      <a:pt x="463" y="968"/>
                      <a:pt x="446" y="968"/>
                      <a:pt x="429" y="968"/>
                    </a:cubicBezTo>
                    <a:cubicBezTo>
                      <a:pt x="423" y="968"/>
                      <a:pt x="417" y="968"/>
                      <a:pt x="412" y="968"/>
                    </a:cubicBezTo>
                    <a:cubicBezTo>
                      <a:pt x="394" y="968"/>
                      <a:pt x="377" y="968"/>
                      <a:pt x="360" y="968"/>
                    </a:cubicBezTo>
                    <a:cubicBezTo>
                      <a:pt x="354" y="968"/>
                      <a:pt x="348" y="968"/>
                      <a:pt x="342" y="968"/>
                    </a:cubicBezTo>
                    <a:cubicBezTo>
                      <a:pt x="325" y="968"/>
                      <a:pt x="308" y="968"/>
                      <a:pt x="290" y="968"/>
                    </a:cubicBezTo>
                    <a:cubicBezTo>
                      <a:pt x="285" y="968"/>
                      <a:pt x="279" y="968"/>
                      <a:pt x="273" y="968"/>
                    </a:cubicBezTo>
                    <a:cubicBezTo>
                      <a:pt x="256" y="968"/>
                      <a:pt x="239" y="968"/>
                      <a:pt x="222" y="968"/>
                    </a:cubicBezTo>
                    <a:cubicBezTo>
                      <a:pt x="216" y="968"/>
                      <a:pt x="210" y="968"/>
                      <a:pt x="204" y="968"/>
                    </a:cubicBezTo>
                    <a:cubicBezTo>
                      <a:pt x="187" y="970"/>
                      <a:pt x="169" y="966"/>
                      <a:pt x="153" y="973"/>
                    </a:cubicBezTo>
                    <a:cubicBezTo>
                      <a:pt x="128" y="992"/>
                      <a:pt x="108" y="1015"/>
                      <a:pt x="88" y="1037"/>
                    </a:cubicBezTo>
                    <a:cubicBezTo>
                      <a:pt x="80" y="1056"/>
                      <a:pt x="82" y="1557"/>
                      <a:pt x="82" y="1574"/>
                    </a:cubicBezTo>
                    <a:cubicBezTo>
                      <a:pt x="69" y="1582"/>
                      <a:pt x="60" y="1597"/>
                      <a:pt x="60" y="1613"/>
                    </a:cubicBezTo>
                    <a:cubicBezTo>
                      <a:pt x="60" y="1639"/>
                      <a:pt x="81" y="1661"/>
                      <a:pt x="106" y="1661"/>
                    </a:cubicBezTo>
                    <a:cubicBezTo>
                      <a:pt x="132" y="1661"/>
                      <a:pt x="152" y="1639"/>
                      <a:pt x="152" y="1613"/>
                    </a:cubicBezTo>
                    <a:cubicBezTo>
                      <a:pt x="152" y="1594"/>
                      <a:pt x="141" y="1578"/>
                      <a:pt x="125" y="1570"/>
                    </a:cubicBezTo>
                    <a:cubicBezTo>
                      <a:pt x="125" y="1562"/>
                      <a:pt x="125" y="1351"/>
                      <a:pt x="125" y="1332"/>
                    </a:cubicBezTo>
                    <a:cubicBezTo>
                      <a:pt x="132" y="1347"/>
                      <a:pt x="148" y="1358"/>
                      <a:pt x="167" y="1358"/>
                    </a:cubicBezTo>
                    <a:cubicBezTo>
                      <a:pt x="192" y="1358"/>
                      <a:pt x="213" y="1338"/>
                      <a:pt x="213" y="1313"/>
                    </a:cubicBezTo>
                    <a:cubicBezTo>
                      <a:pt x="213" y="1308"/>
                      <a:pt x="212" y="1303"/>
                      <a:pt x="210" y="1298"/>
                    </a:cubicBezTo>
                    <a:cubicBezTo>
                      <a:pt x="220" y="1288"/>
                      <a:pt x="230" y="1278"/>
                      <a:pt x="240" y="1268"/>
                    </a:cubicBezTo>
                    <a:cubicBezTo>
                      <a:pt x="250" y="1251"/>
                      <a:pt x="247" y="1232"/>
                      <a:pt x="249" y="1213"/>
                    </a:cubicBezTo>
                    <a:cubicBezTo>
                      <a:pt x="249" y="1208"/>
                      <a:pt x="249" y="1202"/>
                      <a:pt x="249" y="1196"/>
                    </a:cubicBezTo>
                    <a:cubicBezTo>
                      <a:pt x="249" y="1180"/>
                      <a:pt x="249" y="1162"/>
                      <a:pt x="249" y="1145"/>
                    </a:cubicBezTo>
                    <a:cubicBezTo>
                      <a:pt x="249" y="1139"/>
                      <a:pt x="249" y="1133"/>
                      <a:pt x="249" y="1127"/>
                    </a:cubicBezTo>
                    <a:cubicBezTo>
                      <a:pt x="247" y="1091"/>
                      <a:pt x="247" y="1091"/>
                      <a:pt x="284" y="1093"/>
                    </a:cubicBezTo>
                    <a:cubicBezTo>
                      <a:pt x="290" y="1093"/>
                      <a:pt x="296" y="1093"/>
                      <a:pt x="301" y="1093"/>
                    </a:cubicBezTo>
                    <a:cubicBezTo>
                      <a:pt x="312" y="1093"/>
                      <a:pt x="323" y="1092"/>
                      <a:pt x="334" y="1091"/>
                    </a:cubicBezTo>
                    <a:cubicBezTo>
                      <a:pt x="341" y="1107"/>
                      <a:pt x="357" y="1118"/>
                      <a:pt x="375" y="1118"/>
                    </a:cubicBezTo>
                    <a:cubicBezTo>
                      <a:pt x="400" y="1118"/>
                      <a:pt x="421" y="1097"/>
                      <a:pt x="421" y="1071"/>
                    </a:cubicBezTo>
                    <a:cubicBezTo>
                      <a:pt x="421" y="1045"/>
                      <a:pt x="400" y="1024"/>
                      <a:pt x="375" y="1024"/>
                    </a:cubicBezTo>
                    <a:cubicBezTo>
                      <a:pt x="358" y="1024"/>
                      <a:pt x="343" y="1034"/>
                      <a:pt x="335" y="1049"/>
                    </a:cubicBezTo>
                    <a:cubicBezTo>
                      <a:pt x="334" y="1048"/>
                      <a:pt x="333" y="1048"/>
                      <a:pt x="332" y="1048"/>
                    </a:cubicBezTo>
                    <a:cubicBezTo>
                      <a:pt x="315" y="1048"/>
                      <a:pt x="298" y="1048"/>
                      <a:pt x="280" y="1048"/>
                    </a:cubicBezTo>
                    <a:cubicBezTo>
                      <a:pt x="274" y="1048"/>
                      <a:pt x="269" y="1048"/>
                      <a:pt x="263" y="1048"/>
                    </a:cubicBezTo>
                    <a:cubicBezTo>
                      <a:pt x="224" y="1054"/>
                      <a:pt x="210" y="1068"/>
                      <a:pt x="206" y="1106"/>
                    </a:cubicBezTo>
                    <a:cubicBezTo>
                      <a:pt x="207" y="1112"/>
                      <a:pt x="207" y="1118"/>
                      <a:pt x="206" y="1124"/>
                    </a:cubicBezTo>
                    <a:cubicBezTo>
                      <a:pt x="206" y="1141"/>
                      <a:pt x="206" y="1158"/>
                      <a:pt x="206" y="1176"/>
                    </a:cubicBezTo>
                    <a:cubicBezTo>
                      <a:pt x="207" y="1182"/>
                      <a:pt x="207" y="1187"/>
                      <a:pt x="206" y="1193"/>
                    </a:cubicBezTo>
                    <a:cubicBezTo>
                      <a:pt x="210" y="1224"/>
                      <a:pt x="207" y="1251"/>
                      <a:pt x="179" y="1270"/>
                    </a:cubicBezTo>
                    <a:cubicBezTo>
                      <a:pt x="175" y="1269"/>
                      <a:pt x="171" y="1268"/>
                      <a:pt x="167" y="1268"/>
                    </a:cubicBezTo>
                    <a:cubicBezTo>
                      <a:pt x="148" y="1268"/>
                      <a:pt x="132" y="1279"/>
                      <a:pt x="125" y="1295"/>
                    </a:cubicBezTo>
                    <a:cubicBezTo>
                      <a:pt x="125" y="1288"/>
                      <a:pt x="125" y="1217"/>
                      <a:pt x="125" y="1200"/>
                    </a:cubicBezTo>
                    <a:cubicBezTo>
                      <a:pt x="125" y="1194"/>
                      <a:pt x="125" y="1148"/>
                      <a:pt x="125" y="1131"/>
                    </a:cubicBezTo>
                    <a:cubicBezTo>
                      <a:pt x="125" y="1125"/>
                      <a:pt x="125" y="1079"/>
                      <a:pt x="125" y="1062"/>
                    </a:cubicBezTo>
                    <a:cubicBezTo>
                      <a:pt x="125" y="1059"/>
                      <a:pt x="125" y="1057"/>
                      <a:pt x="128" y="1055"/>
                    </a:cubicBezTo>
                    <a:cubicBezTo>
                      <a:pt x="140" y="1041"/>
                      <a:pt x="153" y="1029"/>
                      <a:pt x="167" y="1017"/>
                    </a:cubicBezTo>
                    <a:cubicBezTo>
                      <a:pt x="168" y="1014"/>
                      <a:pt x="170" y="1013"/>
                      <a:pt x="173" y="1012"/>
                    </a:cubicBezTo>
                    <a:cubicBezTo>
                      <a:pt x="190" y="1008"/>
                      <a:pt x="483" y="1010"/>
                      <a:pt x="501" y="1011"/>
                    </a:cubicBezTo>
                    <a:cubicBezTo>
                      <a:pt x="505" y="1011"/>
                      <a:pt x="511" y="1012"/>
                      <a:pt x="515" y="1012"/>
                    </a:cubicBezTo>
                    <a:cubicBezTo>
                      <a:pt x="517" y="1011"/>
                      <a:pt x="519" y="1011"/>
                      <a:pt x="520" y="1011"/>
                    </a:cubicBezTo>
                    <a:cubicBezTo>
                      <a:pt x="529" y="1024"/>
                      <a:pt x="543" y="1034"/>
                      <a:pt x="559" y="1034"/>
                    </a:cubicBezTo>
                    <a:cubicBezTo>
                      <a:pt x="561" y="1034"/>
                      <a:pt x="563" y="1033"/>
                      <a:pt x="566" y="1033"/>
                    </a:cubicBezTo>
                    <a:cubicBezTo>
                      <a:pt x="561" y="1037"/>
                      <a:pt x="557" y="1043"/>
                      <a:pt x="554" y="1049"/>
                    </a:cubicBezTo>
                    <a:cubicBezTo>
                      <a:pt x="548" y="1048"/>
                      <a:pt x="543" y="1048"/>
                      <a:pt x="539" y="1048"/>
                    </a:cubicBezTo>
                    <a:cubicBezTo>
                      <a:pt x="521" y="1048"/>
                      <a:pt x="504" y="1049"/>
                      <a:pt x="486" y="1049"/>
                    </a:cubicBezTo>
                    <a:cubicBezTo>
                      <a:pt x="481" y="1050"/>
                      <a:pt x="475" y="1051"/>
                      <a:pt x="470" y="1052"/>
                    </a:cubicBezTo>
                    <a:cubicBezTo>
                      <a:pt x="467" y="1053"/>
                      <a:pt x="465" y="1055"/>
                      <a:pt x="463" y="1056"/>
                    </a:cubicBezTo>
                    <a:cubicBezTo>
                      <a:pt x="439" y="1078"/>
                      <a:pt x="416" y="1100"/>
                      <a:pt x="394" y="1123"/>
                    </a:cubicBezTo>
                    <a:cubicBezTo>
                      <a:pt x="390" y="1122"/>
                      <a:pt x="385" y="1121"/>
                      <a:pt x="380" y="1121"/>
                    </a:cubicBezTo>
                    <a:cubicBezTo>
                      <a:pt x="356" y="1121"/>
                      <a:pt x="336" y="1141"/>
                      <a:pt x="336" y="1166"/>
                    </a:cubicBezTo>
                    <a:cubicBezTo>
                      <a:pt x="336" y="1190"/>
                      <a:pt x="356" y="1210"/>
                      <a:pt x="380" y="1210"/>
                    </a:cubicBezTo>
                    <a:cubicBezTo>
                      <a:pt x="404" y="1210"/>
                      <a:pt x="423" y="1190"/>
                      <a:pt x="423" y="1166"/>
                    </a:cubicBezTo>
                    <a:cubicBezTo>
                      <a:pt x="423" y="1161"/>
                      <a:pt x="423" y="1157"/>
                      <a:pt x="421" y="1153"/>
                    </a:cubicBezTo>
                    <a:cubicBezTo>
                      <a:pt x="437" y="1137"/>
                      <a:pt x="453" y="1123"/>
                      <a:pt x="468" y="1107"/>
                    </a:cubicBezTo>
                    <a:cubicBezTo>
                      <a:pt x="480" y="1095"/>
                      <a:pt x="492" y="1089"/>
                      <a:pt x="508" y="1093"/>
                    </a:cubicBezTo>
                    <a:cubicBezTo>
                      <a:pt x="524" y="1093"/>
                      <a:pt x="540" y="1093"/>
                      <a:pt x="556" y="1093"/>
                    </a:cubicBezTo>
                    <a:cubicBezTo>
                      <a:pt x="564" y="1107"/>
                      <a:pt x="579" y="1116"/>
                      <a:pt x="595" y="1116"/>
                    </a:cubicBezTo>
                    <a:cubicBezTo>
                      <a:pt x="621" y="1116"/>
                      <a:pt x="641" y="1095"/>
                      <a:pt x="641" y="1069"/>
                    </a:cubicBezTo>
                    <a:cubicBezTo>
                      <a:pt x="641" y="1043"/>
                      <a:pt x="621" y="1022"/>
                      <a:pt x="595" y="1022"/>
                    </a:cubicBezTo>
                    <a:cubicBezTo>
                      <a:pt x="593" y="1022"/>
                      <a:pt x="590" y="1022"/>
                      <a:pt x="588" y="1022"/>
                    </a:cubicBezTo>
                    <a:cubicBezTo>
                      <a:pt x="598" y="1013"/>
                      <a:pt x="605" y="999"/>
                      <a:pt x="605" y="984"/>
                    </a:cubicBezTo>
                    <a:cubicBezTo>
                      <a:pt x="605" y="965"/>
                      <a:pt x="595" y="949"/>
                      <a:pt x="581" y="941"/>
                    </a:cubicBezTo>
                    <a:cubicBezTo>
                      <a:pt x="590" y="941"/>
                      <a:pt x="598" y="941"/>
                      <a:pt x="607" y="940"/>
                    </a:cubicBezTo>
                    <a:cubicBezTo>
                      <a:pt x="615" y="955"/>
                      <a:pt x="630" y="966"/>
                      <a:pt x="647" y="966"/>
                    </a:cubicBezTo>
                    <a:cubicBezTo>
                      <a:pt x="672" y="966"/>
                      <a:pt x="692" y="945"/>
                      <a:pt x="692" y="920"/>
                    </a:cubicBezTo>
                    <a:cubicBezTo>
                      <a:pt x="692" y="894"/>
                      <a:pt x="672" y="874"/>
                      <a:pt x="647" y="874"/>
                    </a:cubicBezTo>
                    <a:close/>
                    <a:moveTo>
                      <a:pt x="98" y="19"/>
                    </a:moveTo>
                    <a:cubicBezTo>
                      <a:pt x="113" y="19"/>
                      <a:pt x="126" y="32"/>
                      <a:pt x="126" y="47"/>
                    </a:cubicBezTo>
                    <a:cubicBezTo>
                      <a:pt x="126" y="62"/>
                      <a:pt x="113" y="75"/>
                      <a:pt x="98" y="75"/>
                    </a:cubicBezTo>
                    <a:cubicBezTo>
                      <a:pt x="82" y="75"/>
                      <a:pt x="70" y="62"/>
                      <a:pt x="70" y="47"/>
                    </a:cubicBezTo>
                    <a:cubicBezTo>
                      <a:pt x="70" y="32"/>
                      <a:pt x="82" y="19"/>
                      <a:pt x="98" y="19"/>
                    </a:cubicBezTo>
                    <a:close/>
                    <a:moveTo>
                      <a:pt x="167" y="1288"/>
                    </a:moveTo>
                    <a:cubicBezTo>
                      <a:pt x="181" y="1288"/>
                      <a:pt x="193" y="1299"/>
                      <a:pt x="193" y="1313"/>
                    </a:cubicBezTo>
                    <a:cubicBezTo>
                      <a:pt x="193" y="1327"/>
                      <a:pt x="181" y="1339"/>
                      <a:pt x="167" y="1339"/>
                    </a:cubicBezTo>
                    <a:cubicBezTo>
                      <a:pt x="152" y="1339"/>
                      <a:pt x="140" y="1327"/>
                      <a:pt x="140" y="1313"/>
                    </a:cubicBezTo>
                    <a:cubicBezTo>
                      <a:pt x="140" y="1299"/>
                      <a:pt x="152" y="1288"/>
                      <a:pt x="167" y="1288"/>
                    </a:cubicBezTo>
                    <a:close/>
                    <a:moveTo>
                      <a:pt x="133" y="1613"/>
                    </a:moveTo>
                    <a:cubicBezTo>
                      <a:pt x="133" y="1629"/>
                      <a:pt x="121" y="1641"/>
                      <a:pt x="106" y="1641"/>
                    </a:cubicBezTo>
                    <a:cubicBezTo>
                      <a:pt x="92" y="1641"/>
                      <a:pt x="80" y="1629"/>
                      <a:pt x="80" y="1613"/>
                    </a:cubicBezTo>
                    <a:cubicBezTo>
                      <a:pt x="80" y="1598"/>
                      <a:pt x="92" y="1586"/>
                      <a:pt x="106" y="1586"/>
                    </a:cubicBezTo>
                    <a:cubicBezTo>
                      <a:pt x="121" y="1586"/>
                      <a:pt x="133" y="1598"/>
                      <a:pt x="133" y="1613"/>
                    </a:cubicBezTo>
                    <a:close/>
                    <a:moveTo>
                      <a:pt x="595" y="1041"/>
                    </a:moveTo>
                    <a:cubicBezTo>
                      <a:pt x="610" y="1041"/>
                      <a:pt x="622" y="1053"/>
                      <a:pt x="622" y="1069"/>
                    </a:cubicBezTo>
                    <a:cubicBezTo>
                      <a:pt x="622" y="1084"/>
                      <a:pt x="610" y="1097"/>
                      <a:pt x="595" y="1097"/>
                    </a:cubicBezTo>
                    <a:cubicBezTo>
                      <a:pt x="581" y="1097"/>
                      <a:pt x="569" y="1084"/>
                      <a:pt x="569" y="1069"/>
                    </a:cubicBezTo>
                    <a:cubicBezTo>
                      <a:pt x="569" y="1053"/>
                      <a:pt x="581" y="1041"/>
                      <a:pt x="595" y="1041"/>
                    </a:cubicBezTo>
                    <a:close/>
                    <a:moveTo>
                      <a:pt x="586" y="984"/>
                    </a:moveTo>
                    <a:cubicBezTo>
                      <a:pt x="586" y="1001"/>
                      <a:pt x="574" y="1014"/>
                      <a:pt x="559" y="1014"/>
                    </a:cubicBezTo>
                    <a:cubicBezTo>
                      <a:pt x="544" y="1014"/>
                      <a:pt x="532" y="1001"/>
                      <a:pt x="532" y="984"/>
                    </a:cubicBezTo>
                    <a:cubicBezTo>
                      <a:pt x="532" y="967"/>
                      <a:pt x="544" y="954"/>
                      <a:pt x="559" y="954"/>
                    </a:cubicBezTo>
                    <a:cubicBezTo>
                      <a:pt x="574" y="954"/>
                      <a:pt x="586" y="967"/>
                      <a:pt x="586" y="9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3" name="Freeform 12"/>
              <p:cNvSpPr>
                <a:spLocks/>
              </p:cNvSpPr>
              <p:nvPr/>
            </p:nvSpPr>
            <p:spPr bwMode="gray">
              <a:xfrm>
                <a:off x="3000" y="2420"/>
                <a:ext cx="807" cy="440"/>
              </a:xfrm>
              <a:custGeom>
                <a:avLst/>
                <a:gdLst>
                  <a:gd name="T0" fmla="*/ 296 w 341"/>
                  <a:gd name="T1" fmla="*/ 96 h 186"/>
                  <a:gd name="T2" fmla="*/ 256 w 341"/>
                  <a:gd name="T3" fmla="*/ 122 h 186"/>
                  <a:gd name="T4" fmla="*/ 234 w 341"/>
                  <a:gd name="T5" fmla="*/ 121 h 186"/>
                  <a:gd name="T6" fmla="*/ 216 w 341"/>
                  <a:gd name="T7" fmla="*/ 121 h 186"/>
                  <a:gd name="T8" fmla="*/ 164 w 341"/>
                  <a:gd name="T9" fmla="*/ 121 h 186"/>
                  <a:gd name="T10" fmla="*/ 146 w 341"/>
                  <a:gd name="T11" fmla="*/ 115 h 186"/>
                  <a:gd name="T12" fmla="*/ 126 w 341"/>
                  <a:gd name="T13" fmla="*/ 94 h 186"/>
                  <a:gd name="T14" fmla="*/ 116 w 341"/>
                  <a:gd name="T15" fmla="*/ 83 h 186"/>
                  <a:gd name="T16" fmla="*/ 88 w 341"/>
                  <a:gd name="T17" fmla="*/ 56 h 186"/>
                  <a:gd name="T18" fmla="*/ 87 w 341"/>
                  <a:gd name="T19" fmla="*/ 56 h 186"/>
                  <a:gd name="T20" fmla="*/ 89 w 341"/>
                  <a:gd name="T21" fmla="*/ 44 h 186"/>
                  <a:gd name="T22" fmla="*/ 44 w 341"/>
                  <a:gd name="T23" fmla="*/ 0 h 186"/>
                  <a:gd name="T24" fmla="*/ 0 w 341"/>
                  <a:gd name="T25" fmla="*/ 44 h 186"/>
                  <a:gd name="T26" fmla="*/ 44 w 341"/>
                  <a:gd name="T27" fmla="*/ 89 h 186"/>
                  <a:gd name="T28" fmla="*/ 57 w 341"/>
                  <a:gd name="T29" fmla="*/ 87 h 186"/>
                  <a:gd name="T30" fmla="*/ 61 w 341"/>
                  <a:gd name="T31" fmla="*/ 91 h 186"/>
                  <a:gd name="T32" fmla="*/ 81 w 341"/>
                  <a:gd name="T33" fmla="*/ 111 h 186"/>
                  <a:gd name="T34" fmla="*/ 95 w 341"/>
                  <a:gd name="T35" fmla="*/ 124 h 186"/>
                  <a:gd name="T36" fmla="*/ 116 w 341"/>
                  <a:gd name="T37" fmla="*/ 145 h 186"/>
                  <a:gd name="T38" fmla="*/ 126 w 341"/>
                  <a:gd name="T39" fmla="*/ 155 h 186"/>
                  <a:gd name="T40" fmla="*/ 168 w 341"/>
                  <a:gd name="T41" fmla="*/ 163 h 186"/>
                  <a:gd name="T42" fmla="*/ 182 w 341"/>
                  <a:gd name="T43" fmla="*/ 164 h 186"/>
                  <a:gd name="T44" fmla="*/ 236 w 341"/>
                  <a:gd name="T45" fmla="*/ 163 h 186"/>
                  <a:gd name="T46" fmla="*/ 254 w 341"/>
                  <a:gd name="T47" fmla="*/ 164 h 186"/>
                  <a:gd name="T48" fmla="*/ 258 w 341"/>
                  <a:gd name="T49" fmla="*/ 164 h 186"/>
                  <a:gd name="T50" fmla="*/ 296 w 341"/>
                  <a:gd name="T51" fmla="*/ 186 h 186"/>
                  <a:gd name="T52" fmla="*/ 341 w 341"/>
                  <a:gd name="T53" fmla="*/ 141 h 186"/>
                  <a:gd name="T54" fmla="*/ 296 w 341"/>
                  <a:gd name="T55" fmla="*/ 9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1" h="186">
                    <a:moveTo>
                      <a:pt x="296" y="96"/>
                    </a:moveTo>
                    <a:cubicBezTo>
                      <a:pt x="278" y="96"/>
                      <a:pt x="263" y="107"/>
                      <a:pt x="256" y="122"/>
                    </a:cubicBezTo>
                    <a:cubicBezTo>
                      <a:pt x="248" y="121"/>
                      <a:pt x="241" y="121"/>
                      <a:pt x="234" y="121"/>
                    </a:cubicBezTo>
                    <a:cubicBezTo>
                      <a:pt x="228" y="121"/>
                      <a:pt x="222" y="121"/>
                      <a:pt x="216" y="121"/>
                    </a:cubicBezTo>
                    <a:cubicBezTo>
                      <a:pt x="199" y="121"/>
                      <a:pt x="182" y="121"/>
                      <a:pt x="164" y="121"/>
                    </a:cubicBezTo>
                    <a:cubicBezTo>
                      <a:pt x="157" y="122"/>
                      <a:pt x="151" y="122"/>
                      <a:pt x="146" y="115"/>
                    </a:cubicBezTo>
                    <a:cubicBezTo>
                      <a:pt x="140" y="108"/>
                      <a:pt x="133" y="101"/>
                      <a:pt x="126" y="94"/>
                    </a:cubicBezTo>
                    <a:cubicBezTo>
                      <a:pt x="121" y="91"/>
                      <a:pt x="118" y="88"/>
                      <a:pt x="116" y="83"/>
                    </a:cubicBezTo>
                    <a:cubicBezTo>
                      <a:pt x="105" y="76"/>
                      <a:pt x="96" y="66"/>
                      <a:pt x="88" y="56"/>
                    </a:cubicBezTo>
                    <a:cubicBezTo>
                      <a:pt x="88" y="56"/>
                      <a:pt x="88" y="56"/>
                      <a:pt x="87" y="56"/>
                    </a:cubicBezTo>
                    <a:cubicBezTo>
                      <a:pt x="88" y="52"/>
                      <a:pt x="89" y="48"/>
                      <a:pt x="89" y="44"/>
                    </a:cubicBezTo>
                    <a:cubicBezTo>
                      <a:pt x="89" y="20"/>
                      <a:pt x="69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9"/>
                      <a:pt x="20" y="89"/>
                      <a:pt x="44" y="89"/>
                    </a:cubicBezTo>
                    <a:cubicBezTo>
                      <a:pt x="49" y="89"/>
                      <a:pt x="53" y="88"/>
                      <a:pt x="57" y="87"/>
                    </a:cubicBezTo>
                    <a:cubicBezTo>
                      <a:pt x="59" y="88"/>
                      <a:pt x="60" y="89"/>
                      <a:pt x="61" y="91"/>
                    </a:cubicBezTo>
                    <a:cubicBezTo>
                      <a:pt x="67" y="97"/>
                      <a:pt x="75" y="104"/>
                      <a:pt x="81" y="111"/>
                    </a:cubicBezTo>
                    <a:cubicBezTo>
                      <a:pt x="86" y="116"/>
                      <a:pt x="90" y="120"/>
                      <a:pt x="95" y="124"/>
                    </a:cubicBezTo>
                    <a:cubicBezTo>
                      <a:pt x="102" y="132"/>
                      <a:pt x="109" y="138"/>
                      <a:pt x="116" y="145"/>
                    </a:cubicBezTo>
                    <a:cubicBezTo>
                      <a:pt x="119" y="149"/>
                      <a:pt x="123" y="152"/>
                      <a:pt x="126" y="155"/>
                    </a:cubicBezTo>
                    <a:cubicBezTo>
                      <a:pt x="139" y="162"/>
                      <a:pt x="153" y="163"/>
                      <a:pt x="168" y="163"/>
                    </a:cubicBezTo>
                    <a:cubicBezTo>
                      <a:pt x="172" y="163"/>
                      <a:pt x="177" y="163"/>
                      <a:pt x="182" y="164"/>
                    </a:cubicBezTo>
                    <a:cubicBezTo>
                      <a:pt x="200" y="163"/>
                      <a:pt x="218" y="163"/>
                      <a:pt x="236" y="163"/>
                    </a:cubicBezTo>
                    <a:cubicBezTo>
                      <a:pt x="242" y="163"/>
                      <a:pt x="248" y="163"/>
                      <a:pt x="254" y="164"/>
                    </a:cubicBezTo>
                    <a:cubicBezTo>
                      <a:pt x="255" y="164"/>
                      <a:pt x="257" y="164"/>
                      <a:pt x="258" y="164"/>
                    </a:cubicBezTo>
                    <a:cubicBezTo>
                      <a:pt x="265" y="177"/>
                      <a:pt x="280" y="186"/>
                      <a:pt x="296" y="186"/>
                    </a:cubicBezTo>
                    <a:cubicBezTo>
                      <a:pt x="321" y="186"/>
                      <a:pt x="341" y="166"/>
                      <a:pt x="341" y="141"/>
                    </a:cubicBezTo>
                    <a:cubicBezTo>
                      <a:pt x="341" y="116"/>
                      <a:pt x="321" y="96"/>
                      <a:pt x="29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4" name="Freeform 13"/>
              <p:cNvSpPr>
                <a:spLocks noEditPoints="1"/>
              </p:cNvSpPr>
              <p:nvPr/>
            </p:nvSpPr>
            <p:spPr bwMode="gray">
              <a:xfrm>
                <a:off x="1973" y="1045"/>
                <a:ext cx="217" cy="784"/>
              </a:xfrm>
              <a:custGeom>
                <a:avLst/>
                <a:gdLst>
                  <a:gd name="T0" fmla="*/ 92 w 92"/>
                  <a:gd name="T1" fmla="*/ 44 h 331"/>
                  <a:gd name="T2" fmla="*/ 47 w 92"/>
                  <a:gd name="T3" fmla="*/ 0 h 331"/>
                  <a:gd name="T4" fmla="*/ 3 w 92"/>
                  <a:gd name="T5" fmla="*/ 44 h 331"/>
                  <a:gd name="T6" fmla="*/ 25 w 92"/>
                  <a:gd name="T7" fmla="*/ 83 h 331"/>
                  <a:gd name="T8" fmla="*/ 24 w 92"/>
                  <a:gd name="T9" fmla="*/ 85 h 331"/>
                  <a:gd name="T10" fmla="*/ 24 w 92"/>
                  <a:gd name="T11" fmla="*/ 242 h 331"/>
                  <a:gd name="T12" fmla="*/ 25 w 92"/>
                  <a:gd name="T13" fmla="*/ 245 h 331"/>
                  <a:gd name="T14" fmla="*/ 0 w 92"/>
                  <a:gd name="T15" fmla="*/ 285 h 331"/>
                  <a:gd name="T16" fmla="*/ 46 w 92"/>
                  <a:gd name="T17" fmla="*/ 331 h 331"/>
                  <a:gd name="T18" fmla="*/ 92 w 92"/>
                  <a:gd name="T19" fmla="*/ 285 h 331"/>
                  <a:gd name="T20" fmla="*/ 69 w 92"/>
                  <a:gd name="T21" fmla="*/ 246 h 331"/>
                  <a:gd name="T22" fmla="*/ 70 w 92"/>
                  <a:gd name="T23" fmla="*/ 245 h 331"/>
                  <a:gd name="T24" fmla="*/ 69 w 92"/>
                  <a:gd name="T25" fmla="*/ 83 h 331"/>
                  <a:gd name="T26" fmla="*/ 92 w 92"/>
                  <a:gd name="T27" fmla="*/ 44 h 331"/>
                  <a:gd name="T28" fmla="*/ 73 w 92"/>
                  <a:gd name="T29" fmla="*/ 285 h 331"/>
                  <a:gd name="T30" fmla="*/ 46 w 92"/>
                  <a:gd name="T31" fmla="*/ 312 h 331"/>
                  <a:gd name="T32" fmla="*/ 20 w 92"/>
                  <a:gd name="T33" fmla="*/ 285 h 331"/>
                  <a:gd name="T34" fmla="*/ 46 w 92"/>
                  <a:gd name="T35" fmla="*/ 259 h 331"/>
                  <a:gd name="T36" fmla="*/ 73 w 92"/>
                  <a:gd name="T37" fmla="*/ 285 h 331"/>
                  <a:gd name="T38" fmla="*/ 47 w 92"/>
                  <a:gd name="T39" fmla="*/ 70 h 331"/>
                  <a:gd name="T40" fmla="*/ 22 w 92"/>
                  <a:gd name="T41" fmla="*/ 44 h 331"/>
                  <a:gd name="T42" fmla="*/ 47 w 92"/>
                  <a:gd name="T43" fmla="*/ 19 h 331"/>
                  <a:gd name="T44" fmla="*/ 73 w 92"/>
                  <a:gd name="T45" fmla="*/ 44 h 331"/>
                  <a:gd name="T46" fmla="*/ 47 w 92"/>
                  <a:gd name="T47" fmla="*/ 7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2" h="331">
                    <a:moveTo>
                      <a:pt x="92" y="44"/>
                    </a:moveTo>
                    <a:cubicBezTo>
                      <a:pt x="92" y="20"/>
                      <a:pt x="72" y="0"/>
                      <a:pt x="47" y="0"/>
                    </a:cubicBezTo>
                    <a:cubicBezTo>
                      <a:pt x="23" y="0"/>
                      <a:pt x="3" y="20"/>
                      <a:pt x="3" y="44"/>
                    </a:cubicBezTo>
                    <a:cubicBezTo>
                      <a:pt x="3" y="61"/>
                      <a:pt x="12" y="75"/>
                      <a:pt x="25" y="83"/>
                    </a:cubicBezTo>
                    <a:cubicBezTo>
                      <a:pt x="25" y="84"/>
                      <a:pt x="25" y="85"/>
                      <a:pt x="24" y="85"/>
                    </a:cubicBezTo>
                    <a:cubicBezTo>
                      <a:pt x="24" y="91"/>
                      <a:pt x="24" y="236"/>
                      <a:pt x="24" y="242"/>
                    </a:cubicBezTo>
                    <a:cubicBezTo>
                      <a:pt x="25" y="243"/>
                      <a:pt x="25" y="244"/>
                      <a:pt x="25" y="245"/>
                    </a:cubicBezTo>
                    <a:cubicBezTo>
                      <a:pt x="10" y="253"/>
                      <a:pt x="0" y="268"/>
                      <a:pt x="0" y="285"/>
                    </a:cubicBezTo>
                    <a:cubicBezTo>
                      <a:pt x="0" y="311"/>
                      <a:pt x="21" y="331"/>
                      <a:pt x="46" y="331"/>
                    </a:cubicBezTo>
                    <a:cubicBezTo>
                      <a:pt x="72" y="331"/>
                      <a:pt x="92" y="311"/>
                      <a:pt x="92" y="285"/>
                    </a:cubicBezTo>
                    <a:cubicBezTo>
                      <a:pt x="92" y="268"/>
                      <a:pt x="83" y="254"/>
                      <a:pt x="69" y="246"/>
                    </a:cubicBezTo>
                    <a:cubicBezTo>
                      <a:pt x="69" y="245"/>
                      <a:pt x="70" y="245"/>
                      <a:pt x="70" y="245"/>
                    </a:cubicBezTo>
                    <a:cubicBezTo>
                      <a:pt x="68" y="227"/>
                      <a:pt x="69" y="91"/>
                      <a:pt x="69" y="83"/>
                    </a:cubicBezTo>
                    <a:cubicBezTo>
                      <a:pt x="83" y="76"/>
                      <a:pt x="92" y="61"/>
                      <a:pt x="92" y="44"/>
                    </a:cubicBezTo>
                    <a:close/>
                    <a:moveTo>
                      <a:pt x="73" y="285"/>
                    </a:moveTo>
                    <a:cubicBezTo>
                      <a:pt x="73" y="300"/>
                      <a:pt x="61" y="312"/>
                      <a:pt x="46" y="312"/>
                    </a:cubicBezTo>
                    <a:cubicBezTo>
                      <a:pt x="32" y="312"/>
                      <a:pt x="20" y="300"/>
                      <a:pt x="20" y="285"/>
                    </a:cubicBezTo>
                    <a:cubicBezTo>
                      <a:pt x="20" y="271"/>
                      <a:pt x="32" y="259"/>
                      <a:pt x="46" y="259"/>
                    </a:cubicBezTo>
                    <a:cubicBezTo>
                      <a:pt x="61" y="259"/>
                      <a:pt x="73" y="271"/>
                      <a:pt x="73" y="285"/>
                    </a:cubicBezTo>
                    <a:close/>
                    <a:moveTo>
                      <a:pt x="47" y="70"/>
                    </a:moveTo>
                    <a:cubicBezTo>
                      <a:pt x="33" y="70"/>
                      <a:pt x="22" y="58"/>
                      <a:pt x="22" y="44"/>
                    </a:cubicBezTo>
                    <a:cubicBezTo>
                      <a:pt x="22" y="30"/>
                      <a:pt x="33" y="19"/>
                      <a:pt x="47" y="19"/>
                    </a:cubicBezTo>
                    <a:cubicBezTo>
                      <a:pt x="61" y="19"/>
                      <a:pt x="73" y="30"/>
                      <a:pt x="73" y="44"/>
                    </a:cubicBezTo>
                    <a:cubicBezTo>
                      <a:pt x="73" y="58"/>
                      <a:pt x="61" y="70"/>
                      <a:pt x="47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5" name="Freeform 14"/>
              <p:cNvSpPr>
                <a:spLocks noEditPoints="1"/>
              </p:cNvSpPr>
              <p:nvPr/>
            </p:nvSpPr>
            <p:spPr bwMode="gray">
              <a:xfrm>
                <a:off x="4195" y="470"/>
                <a:ext cx="350" cy="701"/>
              </a:xfrm>
              <a:custGeom>
                <a:avLst/>
                <a:gdLst>
                  <a:gd name="T0" fmla="*/ 45 w 148"/>
                  <a:gd name="T1" fmla="*/ 0 h 296"/>
                  <a:gd name="T2" fmla="*/ 0 w 148"/>
                  <a:gd name="T3" fmla="*/ 45 h 296"/>
                  <a:gd name="T4" fmla="*/ 45 w 148"/>
                  <a:gd name="T5" fmla="*/ 90 h 296"/>
                  <a:gd name="T6" fmla="*/ 58 w 148"/>
                  <a:gd name="T7" fmla="*/ 88 h 296"/>
                  <a:gd name="T8" fmla="*/ 69 w 148"/>
                  <a:gd name="T9" fmla="*/ 100 h 296"/>
                  <a:gd name="T10" fmla="*/ 79 w 148"/>
                  <a:gd name="T11" fmla="*/ 115 h 296"/>
                  <a:gd name="T12" fmla="*/ 79 w 148"/>
                  <a:gd name="T13" fmla="*/ 211 h 296"/>
                  <a:gd name="T14" fmla="*/ 54 w 148"/>
                  <a:gd name="T15" fmla="*/ 251 h 296"/>
                  <a:gd name="T16" fmla="*/ 101 w 148"/>
                  <a:gd name="T17" fmla="*/ 296 h 296"/>
                  <a:gd name="T18" fmla="*/ 148 w 148"/>
                  <a:gd name="T19" fmla="*/ 251 h 296"/>
                  <a:gd name="T20" fmla="*/ 121 w 148"/>
                  <a:gd name="T21" fmla="*/ 211 h 296"/>
                  <a:gd name="T22" fmla="*/ 122 w 148"/>
                  <a:gd name="T23" fmla="*/ 118 h 296"/>
                  <a:gd name="T24" fmla="*/ 111 w 148"/>
                  <a:gd name="T25" fmla="*/ 80 h 296"/>
                  <a:gd name="T26" fmla="*/ 100 w 148"/>
                  <a:gd name="T27" fmla="*/ 69 h 296"/>
                  <a:gd name="T28" fmla="*/ 88 w 148"/>
                  <a:gd name="T29" fmla="*/ 58 h 296"/>
                  <a:gd name="T30" fmla="*/ 90 w 148"/>
                  <a:gd name="T31" fmla="*/ 45 h 296"/>
                  <a:gd name="T32" fmla="*/ 45 w 148"/>
                  <a:gd name="T33" fmla="*/ 0 h 296"/>
                  <a:gd name="T34" fmla="*/ 129 w 148"/>
                  <a:gd name="T35" fmla="*/ 251 h 296"/>
                  <a:gd name="T36" fmla="*/ 101 w 148"/>
                  <a:gd name="T37" fmla="*/ 276 h 296"/>
                  <a:gd name="T38" fmla="*/ 73 w 148"/>
                  <a:gd name="T39" fmla="*/ 251 h 296"/>
                  <a:gd name="T40" fmla="*/ 101 w 148"/>
                  <a:gd name="T41" fmla="*/ 226 h 296"/>
                  <a:gd name="T42" fmla="*/ 129 w 148"/>
                  <a:gd name="T43" fmla="*/ 251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8" h="296">
                    <a:moveTo>
                      <a:pt x="45" y="0"/>
                    </a:moveTo>
                    <a:cubicBezTo>
                      <a:pt x="21" y="0"/>
                      <a:pt x="0" y="21"/>
                      <a:pt x="0" y="45"/>
                    </a:cubicBezTo>
                    <a:cubicBezTo>
                      <a:pt x="0" y="70"/>
                      <a:pt x="21" y="90"/>
                      <a:pt x="45" y="90"/>
                    </a:cubicBezTo>
                    <a:cubicBezTo>
                      <a:pt x="50" y="90"/>
                      <a:pt x="54" y="89"/>
                      <a:pt x="58" y="88"/>
                    </a:cubicBezTo>
                    <a:cubicBezTo>
                      <a:pt x="62" y="92"/>
                      <a:pt x="66" y="96"/>
                      <a:pt x="69" y="100"/>
                    </a:cubicBezTo>
                    <a:cubicBezTo>
                      <a:pt x="74" y="104"/>
                      <a:pt x="79" y="107"/>
                      <a:pt x="79" y="115"/>
                    </a:cubicBezTo>
                    <a:cubicBezTo>
                      <a:pt x="78" y="132"/>
                      <a:pt x="79" y="202"/>
                      <a:pt x="79" y="211"/>
                    </a:cubicBezTo>
                    <a:cubicBezTo>
                      <a:pt x="64" y="219"/>
                      <a:pt x="54" y="234"/>
                      <a:pt x="54" y="251"/>
                    </a:cubicBezTo>
                    <a:cubicBezTo>
                      <a:pt x="54" y="276"/>
                      <a:pt x="75" y="296"/>
                      <a:pt x="101" y="296"/>
                    </a:cubicBezTo>
                    <a:cubicBezTo>
                      <a:pt x="127" y="296"/>
                      <a:pt x="148" y="276"/>
                      <a:pt x="148" y="251"/>
                    </a:cubicBezTo>
                    <a:cubicBezTo>
                      <a:pt x="148" y="233"/>
                      <a:pt x="137" y="218"/>
                      <a:pt x="121" y="211"/>
                    </a:cubicBezTo>
                    <a:cubicBezTo>
                      <a:pt x="121" y="206"/>
                      <a:pt x="122" y="124"/>
                      <a:pt x="122" y="118"/>
                    </a:cubicBezTo>
                    <a:cubicBezTo>
                      <a:pt x="122" y="104"/>
                      <a:pt x="117" y="92"/>
                      <a:pt x="111" y="80"/>
                    </a:cubicBezTo>
                    <a:cubicBezTo>
                      <a:pt x="107" y="77"/>
                      <a:pt x="103" y="73"/>
                      <a:pt x="100" y="69"/>
                    </a:cubicBezTo>
                    <a:cubicBezTo>
                      <a:pt x="96" y="66"/>
                      <a:pt x="92" y="62"/>
                      <a:pt x="88" y="58"/>
                    </a:cubicBezTo>
                    <a:cubicBezTo>
                      <a:pt x="89" y="54"/>
                      <a:pt x="90" y="50"/>
                      <a:pt x="90" y="45"/>
                    </a:cubicBezTo>
                    <a:cubicBezTo>
                      <a:pt x="90" y="21"/>
                      <a:pt x="70" y="0"/>
                      <a:pt x="45" y="0"/>
                    </a:cubicBezTo>
                    <a:close/>
                    <a:moveTo>
                      <a:pt x="129" y="251"/>
                    </a:moveTo>
                    <a:cubicBezTo>
                      <a:pt x="129" y="265"/>
                      <a:pt x="116" y="276"/>
                      <a:pt x="101" y="276"/>
                    </a:cubicBezTo>
                    <a:cubicBezTo>
                      <a:pt x="86" y="276"/>
                      <a:pt x="73" y="265"/>
                      <a:pt x="73" y="251"/>
                    </a:cubicBezTo>
                    <a:cubicBezTo>
                      <a:pt x="73" y="237"/>
                      <a:pt x="86" y="226"/>
                      <a:pt x="101" y="226"/>
                    </a:cubicBezTo>
                    <a:cubicBezTo>
                      <a:pt x="116" y="226"/>
                      <a:pt x="129" y="237"/>
                      <a:pt x="129" y="2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6" name="Freeform 15"/>
              <p:cNvSpPr>
                <a:spLocks noEditPoints="1"/>
              </p:cNvSpPr>
              <p:nvPr/>
            </p:nvSpPr>
            <p:spPr bwMode="gray">
              <a:xfrm>
                <a:off x="3198" y="203"/>
                <a:ext cx="826" cy="1803"/>
              </a:xfrm>
              <a:custGeom>
                <a:avLst/>
                <a:gdLst>
                  <a:gd name="T0" fmla="*/ 192 w 349"/>
                  <a:gd name="T1" fmla="*/ 104 h 762"/>
                  <a:gd name="T2" fmla="*/ 192 w 349"/>
                  <a:gd name="T3" fmla="*/ 173 h 762"/>
                  <a:gd name="T4" fmla="*/ 181 w 349"/>
                  <a:gd name="T5" fmla="*/ 212 h 762"/>
                  <a:gd name="T6" fmla="*/ 19 w 349"/>
                  <a:gd name="T7" fmla="*/ 413 h 762"/>
                  <a:gd name="T8" fmla="*/ 0 w 349"/>
                  <a:gd name="T9" fmla="*/ 717 h 762"/>
                  <a:gd name="T10" fmla="*/ 90 w 349"/>
                  <a:gd name="T11" fmla="*/ 717 h 762"/>
                  <a:gd name="T12" fmla="*/ 63 w 349"/>
                  <a:gd name="T13" fmla="*/ 657 h 762"/>
                  <a:gd name="T14" fmla="*/ 63 w 349"/>
                  <a:gd name="T15" fmla="*/ 588 h 762"/>
                  <a:gd name="T16" fmla="*/ 63 w 349"/>
                  <a:gd name="T17" fmla="*/ 520 h 762"/>
                  <a:gd name="T18" fmla="*/ 63 w 349"/>
                  <a:gd name="T19" fmla="*/ 451 h 762"/>
                  <a:gd name="T20" fmla="*/ 89 w 349"/>
                  <a:gd name="T21" fmla="*/ 363 h 762"/>
                  <a:gd name="T22" fmla="*/ 234 w 349"/>
                  <a:gd name="T23" fmla="*/ 207 h 762"/>
                  <a:gd name="T24" fmla="*/ 235 w 349"/>
                  <a:gd name="T25" fmla="*/ 142 h 762"/>
                  <a:gd name="T26" fmla="*/ 234 w 349"/>
                  <a:gd name="T27" fmla="*/ 93 h 762"/>
                  <a:gd name="T28" fmla="*/ 283 w 349"/>
                  <a:gd name="T29" fmla="*/ 88 h 762"/>
                  <a:gd name="T30" fmla="*/ 283 w 349"/>
                  <a:gd name="T31" fmla="*/ 372 h 762"/>
                  <a:gd name="T32" fmla="*/ 271 w 349"/>
                  <a:gd name="T33" fmla="*/ 457 h 762"/>
                  <a:gd name="T34" fmla="*/ 129 w 349"/>
                  <a:gd name="T35" fmla="*/ 578 h 762"/>
                  <a:gd name="T36" fmla="*/ 129 w 349"/>
                  <a:gd name="T37" fmla="*/ 668 h 762"/>
                  <a:gd name="T38" fmla="*/ 173 w 349"/>
                  <a:gd name="T39" fmla="*/ 614 h 762"/>
                  <a:gd name="T40" fmla="*/ 321 w 349"/>
                  <a:gd name="T41" fmla="*/ 465 h 762"/>
                  <a:gd name="T42" fmla="*/ 326 w 349"/>
                  <a:gd name="T43" fmla="*/ 100 h 762"/>
                  <a:gd name="T44" fmla="*/ 349 w 349"/>
                  <a:gd name="T45" fmla="*/ 47 h 762"/>
                  <a:gd name="T46" fmla="*/ 260 w 349"/>
                  <a:gd name="T47" fmla="*/ 39 h 762"/>
                  <a:gd name="T48" fmla="*/ 172 w 349"/>
                  <a:gd name="T49" fmla="*/ 51 h 762"/>
                  <a:gd name="T50" fmla="*/ 70 w 349"/>
                  <a:gd name="T51" fmla="*/ 717 h 762"/>
                  <a:gd name="T52" fmla="*/ 20 w 349"/>
                  <a:gd name="T53" fmla="*/ 717 h 762"/>
                  <a:gd name="T54" fmla="*/ 70 w 349"/>
                  <a:gd name="T55" fmla="*/ 717 h 762"/>
                  <a:gd name="T56" fmla="*/ 102 w 349"/>
                  <a:gd name="T57" fmla="*/ 623 h 762"/>
                  <a:gd name="T58" fmla="*/ 155 w 349"/>
                  <a:gd name="T59" fmla="*/ 623 h 762"/>
                  <a:gd name="T60" fmla="*/ 217 w 349"/>
                  <a:gd name="T61" fmla="*/ 24 h 762"/>
                  <a:gd name="T62" fmla="*/ 217 w 349"/>
                  <a:gd name="T63" fmla="*/ 77 h 762"/>
                  <a:gd name="T64" fmla="*/ 217 w 349"/>
                  <a:gd name="T65" fmla="*/ 24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9" h="762">
                    <a:moveTo>
                      <a:pt x="192" y="89"/>
                    </a:moveTo>
                    <a:cubicBezTo>
                      <a:pt x="192" y="94"/>
                      <a:pt x="192" y="99"/>
                      <a:pt x="192" y="104"/>
                    </a:cubicBezTo>
                    <a:cubicBezTo>
                      <a:pt x="192" y="110"/>
                      <a:pt x="192" y="115"/>
                      <a:pt x="192" y="121"/>
                    </a:cubicBezTo>
                    <a:cubicBezTo>
                      <a:pt x="192" y="138"/>
                      <a:pt x="192" y="156"/>
                      <a:pt x="192" y="173"/>
                    </a:cubicBezTo>
                    <a:cubicBezTo>
                      <a:pt x="193" y="179"/>
                      <a:pt x="194" y="185"/>
                      <a:pt x="191" y="190"/>
                    </a:cubicBezTo>
                    <a:cubicBezTo>
                      <a:pt x="193" y="200"/>
                      <a:pt x="187" y="206"/>
                      <a:pt x="181" y="212"/>
                    </a:cubicBezTo>
                    <a:cubicBezTo>
                      <a:pt x="138" y="255"/>
                      <a:pt x="96" y="299"/>
                      <a:pt x="51" y="341"/>
                    </a:cubicBezTo>
                    <a:cubicBezTo>
                      <a:pt x="30" y="362"/>
                      <a:pt x="17" y="384"/>
                      <a:pt x="19" y="413"/>
                    </a:cubicBezTo>
                    <a:cubicBezTo>
                      <a:pt x="22" y="419"/>
                      <a:pt x="20" y="666"/>
                      <a:pt x="19" y="681"/>
                    </a:cubicBezTo>
                    <a:cubicBezTo>
                      <a:pt x="8" y="689"/>
                      <a:pt x="0" y="702"/>
                      <a:pt x="0" y="717"/>
                    </a:cubicBezTo>
                    <a:cubicBezTo>
                      <a:pt x="0" y="742"/>
                      <a:pt x="20" y="762"/>
                      <a:pt x="45" y="762"/>
                    </a:cubicBezTo>
                    <a:cubicBezTo>
                      <a:pt x="70" y="762"/>
                      <a:pt x="90" y="742"/>
                      <a:pt x="90" y="717"/>
                    </a:cubicBezTo>
                    <a:cubicBezTo>
                      <a:pt x="90" y="699"/>
                      <a:pt x="79" y="683"/>
                      <a:pt x="62" y="676"/>
                    </a:cubicBezTo>
                    <a:cubicBezTo>
                      <a:pt x="63" y="670"/>
                      <a:pt x="63" y="664"/>
                      <a:pt x="63" y="657"/>
                    </a:cubicBezTo>
                    <a:cubicBezTo>
                      <a:pt x="63" y="652"/>
                      <a:pt x="63" y="646"/>
                      <a:pt x="63" y="640"/>
                    </a:cubicBezTo>
                    <a:cubicBezTo>
                      <a:pt x="63" y="623"/>
                      <a:pt x="63" y="606"/>
                      <a:pt x="63" y="588"/>
                    </a:cubicBezTo>
                    <a:cubicBezTo>
                      <a:pt x="63" y="583"/>
                      <a:pt x="63" y="577"/>
                      <a:pt x="63" y="571"/>
                    </a:cubicBezTo>
                    <a:cubicBezTo>
                      <a:pt x="63" y="554"/>
                      <a:pt x="63" y="537"/>
                      <a:pt x="63" y="520"/>
                    </a:cubicBezTo>
                    <a:cubicBezTo>
                      <a:pt x="63" y="514"/>
                      <a:pt x="63" y="508"/>
                      <a:pt x="63" y="503"/>
                    </a:cubicBezTo>
                    <a:cubicBezTo>
                      <a:pt x="63" y="485"/>
                      <a:pt x="63" y="468"/>
                      <a:pt x="63" y="451"/>
                    </a:cubicBezTo>
                    <a:cubicBezTo>
                      <a:pt x="63" y="446"/>
                      <a:pt x="63" y="440"/>
                      <a:pt x="63" y="434"/>
                    </a:cubicBezTo>
                    <a:cubicBezTo>
                      <a:pt x="58" y="405"/>
                      <a:pt x="66" y="384"/>
                      <a:pt x="89" y="363"/>
                    </a:cubicBezTo>
                    <a:cubicBezTo>
                      <a:pt x="130" y="326"/>
                      <a:pt x="168" y="285"/>
                      <a:pt x="209" y="245"/>
                    </a:cubicBezTo>
                    <a:cubicBezTo>
                      <a:pt x="220" y="234"/>
                      <a:pt x="228" y="222"/>
                      <a:pt x="234" y="207"/>
                    </a:cubicBezTo>
                    <a:cubicBezTo>
                      <a:pt x="234" y="202"/>
                      <a:pt x="234" y="198"/>
                      <a:pt x="235" y="193"/>
                    </a:cubicBezTo>
                    <a:cubicBezTo>
                      <a:pt x="235" y="176"/>
                      <a:pt x="235" y="159"/>
                      <a:pt x="235" y="142"/>
                    </a:cubicBezTo>
                    <a:cubicBezTo>
                      <a:pt x="235" y="136"/>
                      <a:pt x="235" y="130"/>
                      <a:pt x="235" y="125"/>
                    </a:cubicBezTo>
                    <a:cubicBezTo>
                      <a:pt x="235" y="114"/>
                      <a:pt x="234" y="104"/>
                      <a:pt x="234" y="93"/>
                    </a:cubicBezTo>
                    <a:cubicBezTo>
                      <a:pt x="248" y="87"/>
                      <a:pt x="258" y="74"/>
                      <a:pt x="261" y="59"/>
                    </a:cubicBezTo>
                    <a:cubicBezTo>
                      <a:pt x="264" y="72"/>
                      <a:pt x="272" y="82"/>
                      <a:pt x="283" y="88"/>
                    </a:cubicBezTo>
                    <a:cubicBezTo>
                      <a:pt x="283" y="91"/>
                      <a:pt x="283" y="94"/>
                      <a:pt x="283" y="96"/>
                    </a:cubicBezTo>
                    <a:cubicBezTo>
                      <a:pt x="283" y="114"/>
                      <a:pt x="283" y="366"/>
                      <a:pt x="283" y="372"/>
                    </a:cubicBezTo>
                    <a:cubicBezTo>
                      <a:pt x="283" y="390"/>
                      <a:pt x="283" y="407"/>
                      <a:pt x="283" y="424"/>
                    </a:cubicBezTo>
                    <a:cubicBezTo>
                      <a:pt x="286" y="438"/>
                      <a:pt x="280" y="448"/>
                      <a:pt x="271" y="457"/>
                    </a:cubicBezTo>
                    <a:cubicBezTo>
                      <a:pt x="229" y="499"/>
                      <a:pt x="188" y="540"/>
                      <a:pt x="146" y="582"/>
                    </a:cubicBezTo>
                    <a:cubicBezTo>
                      <a:pt x="141" y="580"/>
                      <a:pt x="135" y="578"/>
                      <a:pt x="129" y="578"/>
                    </a:cubicBezTo>
                    <a:cubicBezTo>
                      <a:pt x="103" y="578"/>
                      <a:pt x="83" y="598"/>
                      <a:pt x="83" y="623"/>
                    </a:cubicBezTo>
                    <a:cubicBezTo>
                      <a:pt x="83" y="648"/>
                      <a:pt x="103" y="668"/>
                      <a:pt x="129" y="668"/>
                    </a:cubicBezTo>
                    <a:cubicBezTo>
                      <a:pt x="154" y="668"/>
                      <a:pt x="175" y="648"/>
                      <a:pt x="175" y="623"/>
                    </a:cubicBezTo>
                    <a:cubicBezTo>
                      <a:pt x="175" y="620"/>
                      <a:pt x="174" y="617"/>
                      <a:pt x="173" y="614"/>
                    </a:cubicBezTo>
                    <a:cubicBezTo>
                      <a:pt x="196" y="594"/>
                      <a:pt x="216" y="572"/>
                      <a:pt x="237" y="551"/>
                    </a:cubicBezTo>
                    <a:cubicBezTo>
                      <a:pt x="265" y="523"/>
                      <a:pt x="295" y="496"/>
                      <a:pt x="321" y="465"/>
                    </a:cubicBezTo>
                    <a:cubicBezTo>
                      <a:pt x="323" y="458"/>
                      <a:pt x="325" y="451"/>
                      <a:pt x="326" y="445"/>
                    </a:cubicBezTo>
                    <a:cubicBezTo>
                      <a:pt x="326" y="428"/>
                      <a:pt x="326" y="104"/>
                      <a:pt x="326" y="100"/>
                    </a:cubicBezTo>
                    <a:cubicBezTo>
                      <a:pt x="326" y="96"/>
                      <a:pt x="326" y="92"/>
                      <a:pt x="326" y="88"/>
                    </a:cubicBezTo>
                    <a:cubicBezTo>
                      <a:pt x="339" y="80"/>
                      <a:pt x="349" y="65"/>
                      <a:pt x="349" y="47"/>
                    </a:cubicBezTo>
                    <a:cubicBezTo>
                      <a:pt x="349" y="21"/>
                      <a:pt x="329" y="0"/>
                      <a:pt x="304" y="0"/>
                    </a:cubicBezTo>
                    <a:cubicBezTo>
                      <a:pt x="282" y="0"/>
                      <a:pt x="264" y="17"/>
                      <a:pt x="260" y="39"/>
                    </a:cubicBezTo>
                    <a:cubicBezTo>
                      <a:pt x="255" y="19"/>
                      <a:pt x="238" y="5"/>
                      <a:pt x="217" y="5"/>
                    </a:cubicBezTo>
                    <a:cubicBezTo>
                      <a:pt x="192" y="5"/>
                      <a:pt x="172" y="25"/>
                      <a:pt x="172" y="51"/>
                    </a:cubicBezTo>
                    <a:cubicBezTo>
                      <a:pt x="172" y="66"/>
                      <a:pt x="180" y="81"/>
                      <a:pt x="192" y="89"/>
                    </a:cubicBezTo>
                    <a:close/>
                    <a:moveTo>
                      <a:pt x="70" y="717"/>
                    </a:moveTo>
                    <a:cubicBezTo>
                      <a:pt x="70" y="731"/>
                      <a:pt x="59" y="743"/>
                      <a:pt x="45" y="743"/>
                    </a:cubicBezTo>
                    <a:cubicBezTo>
                      <a:pt x="31" y="743"/>
                      <a:pt x="20" y="731"/>
                      <a:pt x="20" y="717"/>
                    </a:cubicBezTo>
                    <a:cubicBezTo>
                      <a:pt x="20" y="703"/>
                      <a:pt x="31" y="692"/>
                      <a:pt x="45" y="692"/>
                    </a:cubicBezTo>
                    <a:cubicBezTo>
                      <a:pt x="59" y="692"/>
                      <a:pt x="70" y="703"/>
                      <a:pt x="70" y="717"/>
                    </a:cubicBezTo>
                    <a:close/>
                    <a:moveTo>
                      <a:pt x="129" y="648"/>
                    </a:moveTo>
                    <a:cubicBezTo>
                      <a:pt x="114" y="648"/>
                      <a:pt x="102" y="637"/>
                      <a:pt x="102" y="623"/>
                    </a:cubicBezTo>
                    <a:cubicBezTo>
                      <a:pt x="102" y="609"/>
                      <a:pt x="114" y="598"/>
                      <a:pt x="129" y="598"/>
                    </a:cubicBezTo>
                    <a:cubicBezTo>
                      <a:pt x="143" y="598"/>
                      <a:pt x="155" y="609"/>
                      <a:pt x="155" y="623"/>
                    </a:cubicBezTo>
                    <a:cubicBezTo>
                      <a:pt x="155" y="637"/>
                      <a:pt x="143" y="648"/>
                      <a:pt x="129" y="648"/>
                    </a:cubicBezTo>
                    <a:close/>
                    <a:moveTo>
                      <a:pt x="217" y="24"/>
                    </a:moveTo>
                    <a:cubicBezTo>
                      <a:pt x="231" y="24"/>
                      <a:pt x="242" y="36"/>
                      <a:pt x="242" y="51"/>
                    </a:cubicBezTo>
                    <a:cubicBezTo>
                      <a:pt x="242" y="65"/>
                      <a:pt x="231" y="77"/>
                      <a:pt x="217" y="77"/>
                    </a:cubicBezTo>
                    <a:cubicBezTo>
                      <a:pt x="203" y="77"/>
                      <a:pt x="192" y="65"/>
                      <a:pt x="192" y="51"/>
                    </a:cubicBezTo>
                    <a:cubicBezTo>
                      <a:pt x="192" y="36"/>
                      <a:pt x="203" y="24"/>
                      <a:pt x="21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7" name="Freeform 16"/>
              <p:cNvSpPr>
                <a:spLocks noEditPoints="1"/>
              </p:cNvSpPr>
              <p:nvPr/>
            </p:nvSpPr>
            <p:spPr bwMode="gray">
              <a:xfrm>
                <a:off x="5044" y="756"/>
                <a:ext cx="424" cy="952"/>
              </a:xfrm>
              <a:custGeom>
                <a:avLst/>
                <a:gdLst>
                  <a:gd name="T0" fmla="*/ 24 w 179"/>
                  <a:gd name="T1" fmla="*/ 87 h 402"/>
                  <a:gd name="T2" fmla="*/ 24 w 179"/>
                  <a:gd name="T3" fmla="*/ 101 h 402"/>
                  <a:gd name="T4" fmla="*/ 24 w 179"/>
                  <a:gd name="T5" fmla="*/ 153 h 402"/>
                  <a:gd name="T6" fmla="*/ 24 w 179"/>
                  <a:gd name="T7" fmla="*/ 170 h 402"/>
                  <a:gd name="T8" fmla="*/ 24 w 179"/>
                  <a:gd name="T9" fmla="*/ 221 h 402"/>
                  <a:gd name="T10" fmla="*/ 24 w 179"/>
                  <a:gd name="T11" fmla="*/ 238 h 402"/>
                  <a:gd name="T12" fmla="*/ 31 w 179"/>
                  <a:gd name="T13" fmla="*/ 283 h 402"/>
                  <a:gd name="T14" fmla="*/ 41 w 179"/>
                  <a:gd name="T15" fmla="*/ 293 h 402"/>
                  <a:gd name="T16" fmla="*/ 66 w 179"/>
                  <a:gd name="T17" fmla="*/ 320 h 402"/>
                  <a:gd name="T18" fmla="*/ 68 w 179"/>
                  <a:gd name="T19" fmla="*/ 323 h 402"/>
                  <a:gd name="T20" fmla="*/ 91 w 179"/>
                  <a:gd name="T21" fmla="*/ 343 h 402"/>
                  <a:gd name="T22" fmla="*/ 89 w 179"/>
                  <a:gd name="T23" fmla="*/ 356 h 402"/>
                  <a:gd name="T24" fmla="*/ 134 w 179"/>
                  <a:gd name="T25" fmla="*/ 402 h 402"/>
                  <a:gd name="T26" fmla="*/ 179 w 179"/>
                  <a:gd name="T27" fmla="*/ 356 h 402"/>
                  <a:gd name="T28" fmla="*/ 134 w 179"/>
                  <a:gd name="T29" fmla="*/ 310 h 402"/>
                  <a:gd name="T30" fmla="*/ 119 w 179"/>
                  <a:gd name="T31" fmla="*/ 313 h 402"/>
                  <a:gd name="T32" fmla="*/ 102 w 179"/>
                  <a:gd name="T33" fmla="*/ 294 h 402"/>
                  <a:gd name="T34" fmla="*/ 95 w 179"/>
                  <a:gd name="T35" fmla="*/ 287 h 402"/>
                  <a:gd name="T36" fmla="*/ 68 w 179"/>
                  <a:gd name="T37" fmla="*/ 259 h 402"/>
                  <a:gd name="T38" fmla="*/ 68 w 179"/>
                  <a:gd name="T39" fmla="*/ 242 h 402"/>
                  <a:gd name="T40" fmla="*/ 68 w 179"/>
                  <a:gd name="T41" fmla="*/ 190 h 402"/>
                  <a:gd name="T42" fmla="*/ 68 w 179"/>
                  <a:gd name="T43" fmla="*/ 173 h 402"/>
                  <a:gd name="T44" fmla="*/ 68 w 179"/>
                  <a:gd name="T45" fmla="*/ 122 h 402"/>
                  <a:gd name="T46" fmla="*/ 68 w 179"/>
                  <a:gd name="T47" fmla="*/ 104 h 402"/>
                  <a:gd name="T48" fmla="*/ 67 w 179"/>
                  <a:gd name="T49" fmla="*/ 86 h 402"/>
                  <a:gd name="T50" fmla="*/ 89 w 179"/>
                  <a:gd name="T51" fmla="*/ 46 h 402"/>
                  <a:gd name="T52" fmla="*/ 45 w 179"/>
                  <a:gd name="T53" fmla="*/ 0 h 402"/>
                  <a:gd name="T54" fmla="*/ 0 w 179"/>
                  <a:gd name="T55" fmla="*/ 46 h 402"/>
                  <a:gd name="T56" fmla="*/ 24 w 179"/>
                  <a:gd name="T57" fmla="*/ 87 h 402"/>
                  <a:gd name="T58" fmla="*/ 134 w 179"/>
                  <a:gd name="T59" fmla="*/ 330 h 402"/>
                  <a:gd name="T60" fmla="*/ 160 w 179"/>
                  <a:gd name="T61" fmla="*/ 356 h 402"/>
                  <a:gd name="T62" fmla="*/ 134 w 179"/>
                  <a:gd name="T63" fmla="*/ 383 h 402"/>
                  <a:gd name="T64" fmla="*/ 109 w 179"/>
                  <a:gd name="T65" fmla="*/ 356 h 402"/>
                  <a:gd name="T66" fmla="*/ 134 w 179"/>
                  <a:gd name="T67" fmla="*/ 330 h 402"/>
                  <a:gd name="T68" fmla="*/ 45 w 179"/>
                  <a:gd name="T69" fmla="*/ 20 h 402"/>
                  <a:gd name="T70" fmla="*/ 70 w 179"/>
                  <a:gd name="T71" fmla="*/ 46 h 402"/>
                  <a:gd name="T72" fmla="*/ 45 w 179"/>
                  <a:gd name="T73" fmla="*/ 73 h 402"/>
                  <a:gd name="T74" fmla="*/ 19 w 179"/>
                  <a:gd name="T75" fmla="*/ 46 h 402"/>
                  <a:gd name="T76" fmla="*/ 45 w 179"/>
                  <a:gd name="T77" fmla="*/ 2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9" h="402">
                    <a:moveTo>
                      <a:pt x="24" y="87"/>
                    </a:moveTo>
                    <a:cubicBezTo>
                      <a:pt x="24" y="92"/>
                      <a:pt x="24" y="96"/>
                      <a:pt x="24" y="101"/>
                    </a:cubicBezTo>
                    <a:cubicBezTo>
                      <a:pt x="24" y="118"/>
                      <a:pt x="24" y="135"/>
                      <a:pt x="24" y="153"/>
                    </a:cubicBezTo>
                    <a:cubicBezTo>
                      <a:pt x="24" y="158"/>
                      <a:pt x="24" y="164"/>
                      <a:pt x="24" y="170"/>
                    </a:cubicBezTo>
                    <a:cubicBezTo>
                      <a:pt x="24" y="186"/>
                      <a:pt x="24" y="204"/>
                      <a:pt x="24" y="221"/>
                    </a:cubicBezTo>
                    <a:cubicBezTo>
                      <a:pt x="24" y="227"/>
                      <a:pt x="24" y="233"/>
                      <a:pt x="24" y="238"/>
                    </a:cubicBezTo>
                    <a:cubicBezTo>
                      <a:pt x="24" y="253"/>
                      <a:pt x="25" y="269"/>
                      <a:pt x="31" y="283"/>
                    </a:cubicBezTo>
                    <a:cubicBezTo>
                      <a:pt x="34" y="287"/>
                      <a:pt x="38" y="289"/>
                      <a:pt x="41" y="293"/>
                    </a:cubicBezTo>
                    <a:cubicBezTo>
                      <a:pt x="49" y="303"/>
                      <a:pt x="57" y="312"/>
                      <a:pt x="66" y="320"/>
                    </a:cubicBezTo>
                    <a:cubicBezTo>
                      <a:pt x="67" y="321"/>
                      <a:pt x="68" y="322"/>
                      <a:pt x="68" y="323"/>
                    </a:cubicBezTo>
                    <a:cubicBezTo>
                      <a:pt x="76" y="329"/>
                      <a:pt x="84" y="336"/>
                      <a:pt x="91" y="343"/>
                    </a:cubicBezTo>
                    <a:cubicBezTo>
                      <a:pt x="90" y="347"/>
                      <a:pt x="89" y="352"/>
                      <a:pt x="89" y="356"/>
                    </a:cubicBezTo>
                    <a:cubicBezTo>
                      <a:pt x="89" y="382"/>
                      <a:pt x="109" y="402"/>
                      <a:pt x="134" y="402"/>
                    </a:cubicBezTo>
                    <a:cubicBezTo>
                      <a:pt x="159" y="402"/>
                      <a:pt x="179" y="382"/>
                      <a:pt x="179" y="356"/>
                    </a:cubicBezTo>
                    <a:cubicBezTo>
                      <a:pt x="179" y="331"/>
                      <a:pt x="159" y="310"/>
                      <a:pt x="134" y="310"/>
                    </a:cubicBezTo>
                    <a:cubicBezTo>
                      <a:pt x="129" y="310"/>
                      <a:pt x="124" y="312"/>
                      <a:pt x="119" y="313"/>
                    </a:cubicBezTo>
                    <a:cubicBezTo>
                      <a:pt x="113" y="307"/>
                      <a:pt x="107" y="300"/>
                      <a:pt x="102" y="294"/>
                    </a:cubicBezTo>
                    <a:cubicBezTo>
                      <a:pt x="99" y="292"/>
                      <a:pt x="97" y="289"/>
                      <a:pt x="95" y="287"/>
                    </a:cubicBezTo>
                    <a:cubicBezTo>
                      <a:pt x="85" y="278"/>
                      <a:pt x="76" y="270"/>
                      <a:pt x="68" y="259"/>
                    </a:cubicBezTo>
                    <a:cubicBezTo>
                      <a:pt x="65" y="253"/>
                      <a:pt x="65" y="248"/>
                      <a:pt x="68" y="242"/>
                    </a:cubicBezTo>
                    <a:cubicBezTo>
                      <a:pt x="68" y="225"/>
                      <a:pt x="68" y="208"/>
                      <a:pt x="68" y="190"/>
                    </a:cubicBezTo>
                    <a:cubicBezTo>
                      <a:pt x="65" y="184"/>
                      <a:pt x="65" y="179"/>
                      <a:pt x="68" y="173"/>
                    </a:cubicBezTo>
                    <a:cubicBezTo>
                      <a:pt x="68" y="156"/>
                      <a:pt x="68" y="139"/>
                      <a:pt x="68" y="122"/>
                    </a:cubicBezTo>
                    <a:cubicBezTo>
                      <a:pt x="65" y="116"/>
                      <a:pt x="65" y="110"/>
                      <a:pt x="68" y="104"/>
                    </a:cubicBezTo>
                    <a:cubicBezTo>
                      <a:pt x="66" y="98"/>
                      <a:pt x="67" y="92"/>
                      <a:pt x="67" y="86"/>
                    </a:cubicBezTo>
                    <a:cubicBezTo>
                      <a:pt x="80" y="78"/>
                      <a:pt x="89" y="63"/>
                      <a:pt x="89" y="46"/>
                    </a:cubicBezTo>
                    <a:cubicBezTo>
                      <a:pt x="89" y="21"/>
                      <a:pt x="69" y="0"/>
                      <a:pt x="45" y="0"/>
                    </a:cubicBezTo>
                    <a:cubicBezTo>
                      <a:pt x="20" y="0"/>
                      <a:pt x="0" y="21"/>
                      <a:pt x="0" y="46"/>
                    </a:cubicBezTo>
                    <a:cubicBezTo>
                      <a:pt x="0" y="64"/>
                      <a:pt x="10" y="79"/>
                      <a:pt x="24" y="87"/>
                    </a:cubicBezTo>
                    <a:close/>
                    <a:moveTo>
                      <a:pt x="134" y="330"/>
                    </a:moveTo>
                    <a:cubicBezTo>
                      <a:pt x="148" y="330"/>
                      <a:pt x="160" y="342"/>
                      <a:pt x="160" y="356"/>
                    </a:cubicBezTo>
                    <a:cubicBezTo>
                      <a:pt x="160" y="371"/>
                      <a:pt x="148" y="383"/>
                      <a:pt x="134" y="383"/>
                    </a:cubicBezTo>
                    <a:cubicBezTo>
                      <a:pt x="120" y="383"/>
                      <a:pt x="109" y="371"/>
                      <a:pt x="109" y="356"/>
                    </a:cubicBezTo>
                    <a:cubicBezTo>
                      <a:pt x="109" y="342"/>
                      <a:pt x="120" y="330"/>
                      <a:pt x="134" y="330"/>
                    </a:cubicBezTo>
                    <a:close/>
                    <a:moveTo>
                      <a:pt x="45" y="20"/>
                    </a:moveTo>
                    <a:cubicBezTo>
                      <a:pt x="59" y="20"/>
                      <a:pt x="70" y="32"/>
                      <a:pt x="70" y="46"/>
                    </a:cubicBezTo>
                    <a:cubicBezTo>
                      <a:pt x="70" y="61"/>
                      <a:pt x="59" y="73"/>
                      <a:pt x="45" y="73"/>
                    </a:cubicBezTo>
                    <a:cubicBezTo>
                      <a:pt x="31" y="73"/>
                      <a:pt x="19" y="61"/>
                      <a:pt x="19" y="46"/>
                    </a:cubicBezTo>
                    <a:cubicBezTo>
                      <a:pt x="19" y="32"/>
                      <a:pt x="31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8" name="Freeform 17"/>
              <p:cNvSpPr>
                <a:spLocks noEditPoints="1"/>
              </p:cNvSpPr>
              <p:nvPr/>
            </p:nvSpPr>
            <p:spPr bwMode="gray">
              <a:xfrm>
                <a:off x="2179" y="747"/>
                <a:ext cx="378" cy="1384"/>
              </a:xfrm>
              <a:custGeom>
                <a:avLst/>
                <a:gdLst>
                  <a:gd name="T0" fmla="*/ 115 w 160"/>
                  <a:gd name="T1" fmla="*/ 496 h 585"/>
                  <a:gd name="T2" fmla="*/ 109 w 160"/>
                  <a:gd name="T3" fmla="*/ 497 h 585"/>
                  <a:gd name="T4" fmla="*/ 95 w 160"/>
                  <a:gd name="T5" fmla="*/ 481 h 585"/>
                  <a:gd name="T6" fmla="*/ 88 w 160"/>
                  <a:gd name="T7" fmla="*/ 474 h 585"/>
                  <a:gd name="T8" fmla="*/ 68 w 160"/>
                  <a:gd name="T9" fmla="*/ 440 h 585"/>
                  <a:gd name="T10" fmla="*/ 68 w 160"/>
                  <a:gd name="T11" fmla="*/ 88 h 585"/>
                  <a:gd name="T12" fmla="*/ 92 w 160"/>
                  <a:gd name="T13" fmla="*/ 47 h 585"/>
                  <a:gd name="T14" fmla="*/ 46 w 160"/>
                  <a:gd name="T15" fmla="*/ 0 h 585"/>
                  <a:gd name="T16" fmla="*/ 0 w 160"/>
                  <a:gd name="T17" fmla="*/ 47 h 585"/>
                  <a:gd name="T18" fmla="*/ 25 w 160"/>
                  <a:gd name="T19" fmla="*/ 88 h 585"/>
                  <a:gd name="T20" fmla="*/ 27 w 160"/>
                  <a:gd name="T21" fmla="*/ 466 h 585"/>
                  <a:gd name="T22" fmla="*/ 35 w 160"/>
                  <a:gd name="T23" fmla="*/ 481 h 585"/>
                  <a:gd name="T24" fmla="*/ 57 w 160"/>
                  <a:gd name="T25" fmla="*/ 505 h 585"/>
                  <a:gd name="T26" fmla="*/ 67 w 160"/>
                  <a:gd name="T27" fmla="*/ 515 h 585"/>
                  <a:gd name="T28" fmla="*/ 75 w 160"/>
                  <a:gd name="T29" fmla="*/ 522 h 585"/>
                  <a:gd name="T30" fmla="*/ 71 w 160"/>
                  <a:gd name="T31" fmla="*/ 541 h 585"/>
                  <a:gd name="T32" fmla="*/ 115 w 160"/>
                  <a:gd name="T33" fmla="*/ 585 h 585"/>
                  <a:gd name="T34" fmla="*/ 160 w 160"/>
                  <a:gd name="T35" fmla="*/ 541 h 585"/>
                  <a:gd name="T36" fmla="*/ 115 w 160"/>
                  <a:gd name="T37" fmla="*/ 496 h 585"/>
                  <a:gd name="T38" fmla="*/ 20 w 160"/>
                  <a:gd name="T39" fmla="*/ 47 h 585"/>
                  <a:gd name="T40" fmla="*/ 46 w 160"/>
                  <a:gd name="T41" fmla="*/ 19 h 585"/>
                  <a:gd name="T42" fmla="*/ 73 w 160"/>
                  <a:gd name="T43" fmla="*/ 47 h 585"/>
                  <a:gd name="T44" fmla="*/ 46 w 160"/>
                  <a:gd name="T45" fmla="*/ 75 h 585"/>
                  <a:gd name="T46" fmla="*/ 20 w 160"/>
                  <a:gd name="T47" fmla="*/ 47 h 585"/>
                  <a:gd name="T48" fmla="*/ 115 w 160"/>
                  <a:gd name="T49" fmla="*/ 566 h 585"/>
                  <a:gd name="T50" fmla="*/ 90 w 160"/>
                  <a:gd name="T51" fmla="*/ 541 h 585"/>
                  <a:gd name="T52" fmla="*/ 115 w 160"/>
                  <a:gd name="T53" fmla="*/ 515 h 585"/>
                  <a:gd name="T54" fmla="*/ 141 w 160"/>
                  <a:gd name="T55" fmla="*/ 541 h 585"/>
                  <a:gd name="T56" fmla="*/ 115 w 160"/>
                  <a:gd name="T57" fmla="*/ 566 h 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585">
                    <a:moveTo>
                      <a:pt x="115" y="496"/>
                    </a:moveTo>
                    <a:cubicBezTo>
                      <a:pt x="113" y="496"/>
                      <a:pt x="111" y="496"/>
                      <a:pt x="109" y="497"/>
                    </a:cubicBezTo>
                    <a:cubicBezTo>
                      <a:pt x="104" y="491"/>
                      <a:pt x="100" y="486"/>
                      <a:pt x="95" y="481"/>
                    </a:cubicBezTo>
                    <a:cubicBezTo>
                      <a:pt x="91" y="480"/>
                      <a:pt x="89" y="477"/>
                      <a:pt x="88" y="474"/>
                    </a:cubicBezTo>
                    <a:cubicBezTo>
                      <a:pt x="77" y="465"/>
                      <a:pt x="63" y="457"/>
                      <a:pt x="68" y="440"/>
                    </a:cubicBezTo>
                    <a:cubicBezTo>
                      <a:pt x="67" y="434"/>
                      <a:pt x="68" y="91"/>
                      <a:pt x="68" y="88"/>
                    </a:cubicBezTo>
                    <a:cubicBezTo>
                      <a:pt x="82" y="80"/>
                      <a:pt x="92" y="65"/>
                      <a:pt x="92" y="47"/>
                    </a:cubicBezTo>
                    <a:cubicBezTo>
                      <a:pt x="92" y="21"/>
                      <a:pt x="72" y="0"/>
                      <a:pt x="46" y="0"/>
                    </a:cubicBezTo>
                    <a:cubicBezTo>
                      <a:pt x="21" y="0"/>
                      <a:pt x="0" y="21"/>
                      <a:pt x="0" y="47"/>
                    </a:cubicBezTo>
                    <a:cubicBezTo>
                      <a:pt x="0" y="65"/>
                      <a:pt x="10" y="80"/>
                      <a:pt x="25" y="88"/>
                    </a:cubicBezTo>
                    <a:cubicBezTo>
                      <a:pt x="25" y="101"/>
                      <a:pt x="26" y="450"/>
                      <a:pt x="27" y="466"/>
                    </a:cubicBezTo>
                    <a:cubicBezTo>
                      <a:pt x="30" y="471"/>
                      <a:pt x="32" y="476"/>
                      <a:pt x="35" y="481"/>
                    </a:cubicBezTo>
                    <a:cubicBezTo>
                      <a:pt x="42" y="489"/>
                      <a:pt x="49" y="497"/>
                      <a:pt x="57" y="505"/>
                    </a:cubicBezTo>
                    <a:cubicBezTo>
                      <a:pt x="60" y="508"/>
                      <a:pt x="63" y="512"/>
                      <a:pt x="67" y="515"/>
                    </a:cubicBezTo>
                    <a:cubicBezTo>
                      <a:pt x="69" y="518"/>
                      <a:pt x="72" y="520"/>
                      <a:pt x="75" y="522"/>
                    </a:cubicBezTo>
                    <a:cubicBezTo>
                      <a:pt x="72" y="528"/>
                      <a:pt x="71" y="534"/>
                      <a:pt x="71" y="541"/>
                    </a:cubicBezTo>
                    <a:cubicBezTo>
                      <a:pt x="71" y="565"/>
                      <a:pt x="91" y="585"/>
                      <a:pt x="115" y="585"/>
                    </a:cubicBezTo>
                    <a:cubicBezTo>
                      <a:pt x="140" y="585"/>
                      <a:pt x="160" y="565"/>
                      <a:pt x="160" y="541"/>
                    </a:cubicBezTo>
                    <a:cubicBezTo>
                      <a:pt x="160" y="516"/>
                      <a:pt x="140" y="496"/>
                      <a:pt x="115" y="496"/>
                    </a:cubicBezTo>
                    <a:close/>
                    <a:moveTo>
                      <a:pt x="20" y="47"/>
                    </a:moveTo>
                    <a:cubicBezTo>
                      <a:pt x="20" y="32"/>
                      <a:pt x="32" y="19"/>
                      <a:pt x="46" y="19"/>
                    </a:cubicBezTo>
                    <a:cubicBezTo>
                      <a:pt x="61" y="19"/>
                      <a:pt x="73" y="32"/>
                      <a:pt x="73" y="47"/>
                    </a:cubicBezTo>
                    <a:cubicBezTo>
                      <a:pt x="73" y="62"/>
                      <a:pt x="61" y="75"/>
                      <a:pt x="46" y="75"/>
                    </a:cubicBezTo>
                    <a:cubicBezTo>
                      <a:pt x="32" y="75"/>
                      <a:pt x="20" y="62"/>
                      <a:pt x="20" y="47"/>
                    </a:cubicBezTo>
                    <a:close/>
                    <a:moveTo>
                      <a:pt x="115" y="566"/>
                    </a:moveTo>
                    <a:cubicBezTo>
                      <a:pt x="101" y="566"/>
                      <a:pt x="90" y="555"/>
                      <a:pt x="90" y="541"/>
                    </a:cubicBezTo>
                    <a:cubicBezTo>
                      <a:pt x="90" y="527"/>
                      <a:pt x="101" y="515"/>
                      <a:pt x="115" y="515"/>
                    </a:cubicBezTo>
                    <a:cubicBezTo>
                      <a:pt x="129" y="515"/>
                      <a:pt x="141" y="527"/>
                      <a:pt x="141" y="541"/>
                    </a:cubicBezTo>
                    <a:cubicBezTo>
                      <a:pt x="141" y="555"/>
                      <a:pt x="129" y="566"/>
                      <a:pt x="115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9" name="Freeform 18"/>
              <p:cNvSpPr>
                <a:spLocks noEditPoints="1"/>
              </p:cNvSpPr>
              <p:nvPr/>
            </p:nvSpPr>
            <p:spPr bwMode="gray">
              <a:xfrm>
                <a:off x="2420" y="311"/>
                <a:ext cx="939" cy="1707"/>
              </a:xfrm>
              <a:custGeom>
                <a:avLst/>
                <a:gdLst>
                  <a:gd name="T0" fmla="*/ 162 w 397"/>
                  <a:gd name="T1" fmla="*/ 675 h 721"/>
                  <a:gd name="T2" fmla="*/ 137 w 397"/>
                  <a:gd name="T3" fmla="*/ 634 h 721"/>
                  <a:gd name="T4" fmla="*/ 137 w 397"/>
                  <a:gd name="T5" fmla="*/ 592 h 721"/>
                  <a:gd name="T6" fmla="*/ 135 w 397"/>
                  <a:gd name="T7" fmla="*/ 580 h 721"/>
                  <a:gd name="T8" fmla="*/ 111 w 397"/>
                  <a:gd name="T9" fmla="*/ 548 h 721"/>
                  <a:gd name="T10" fmla="*/ 104 w 397"/>
                  <a:gd name="T11" fmla="*/ 541 h 721"/>
                  <a:gd name="T12" fmla="*/ 76 w 397"/>
                  <a:gd name="T13" fmla="*/ 513 h 721"/>
                  <a:gd name="T14" fmla="*/ 70 w 397"/>
                  <a:gd name="T15" fmla="*/ 506 h 721"/>
                  <a:gd name="T16" fmla="*/ 46 w 397"/>
                  <a:gd name="T17" fmla="*/ 482 h 721"/>
                  <a:gd name="T18" fmla="*/ 44 w 397"/>
                  <a:gd name="T19" fmla="*/ 460 h 721"/>
                  <a:gd name="T20" fmla="*/ 44 w 397"/>
                  <a:gd name="T21" fmla="*/ 409 h 721"/>
                  <a:gd name="T22" fmla="*/ 44 w 397"/>
                  <a:gd name="T23" fmla="*/ 392 h 721"/>
                  <a:gd name="T24" fmla="*/ 44 w 397"/>
                  <a:gd name="T25" fmla="*/ 340 h 721"/>
                  <a:gd name="T26" fmla="*/ 43 w 397"/>
                  <a:gd name="T27" fmla="*/ 322 h 721"/>
                  <a:gd name="T28" fmla="*/ 43 w 397"/>
                  <a:gd name="T29" fmla="*/ 285 h 721"/>
                  <a:gd name="T30" fmla="*/ 61 w 397"/>
                  <a:gd name="T31" fmla="*/ 267 h 721"/>
                  <a:gd name="T32" fmla="*/ 95 w 397"/>
                  <a:gd name="T33" fmla="*/ 268 h 721"/>
                  <a:gd name="T34" fmla="*/ 112 w 397"/>
                  <a:gd name="T35" fmla="*/ 269 h 721"/>
                  <a:gd name="T36" fmla="*/ 167 w 397"/>
                  <a:gd name="T37" fmla="*/ 261 h 721"/>
                  <a:gd name="T38" fmla="*/ 343 w 397"/>
                  <a:gd name="T39" fmla="*/ 85 h 721"/>
                  <a:gd name="T40" fmla="*/ 353 w 397"/>
                  <a:gd name="T41" fmla="*/ 87 h 721"/>
                  <a:gd name="T42" fmla="*/ 397 w 397"/>
                  <a:gd name="T43" fmla="*/ 43 h 721"/>
                  <a:gd name="T44" fmla="*/ 353 w 397"/>
                  <a:gd name="T45" fmla="*/ 0 h 721"/>
                  <a:gd name="T46" fmla="*/ 310 w 397"/>
                  <a:gd name="T47" fmla="*/ 43 h 721"/>
                  <a:gd name="T48" fmla="*/ 313 w 397"/>
                  <a:gd name="T49" fmla="*/ 59 h 721"/>
                  <a:gd name="T50" fmla="*/ 179 w 397"/>
                  <a:gd name="T51" fmla="*/ 193 h 721"/>
                  <a:gd name="T52" fmla="*/ 91 w 397"/>
                  <a:gd name="T53" fmla="*/ 225 h 721"/>
                  <a:gd name="T54" fmla="*/ 74 w 397"/>
                  <a:gd name="T55" fmla="*/ 225 h 721"/>
                  <a:gd name="T56" fmla="*/ 57 w 397"/>
                  <a:gd name="T57" fmla="*/ 226 h 721"/>
                  <a:gd name="T58" fmla="*/ 1 w 397"/>
                  <a:gd name="T59" fmla="*/ 283 h 721"/>
                  <a:gd name="T60" fmla="*/ 0 w 397"/>
                  <a:gd name="T61" fmla="*/ 301 h 721"/>
                  <a:gd name="T62" fmla="*/ 1 w 397"/>
                  <a:gd name="T63" fmla="*/ 319 h 721"/>
                  <a:gd name="T64" fmla="*/ 0 w 397"/>
                  <a:gd name="T65" fmla="*/ 370 h 721"/>
                  <a:gd name="T66" fmla="*/ 1 w 397"/>
                  <a:gd name="T67" fmla="*/ 388 h 721"/>
                  <a:gd name="T68" fmla="*/ 0 w 397"/>
                  <a:gd name="T69" fmla="*/ 440 h 721"/>
                  <a:gd name="T70" fmla="*/ 1 w 397"/>
                  <a:gd name="T71" fmla="*/ 457 h 721"/>
                  <a:gd name="T72" fmla="*/ 7 w 397"/>
                  <a:gd name="T73" fmla="*/ 502 h 721"/>
                  <a:gd name="T74" fmla="*/ 15 w 397"/>
                  <a:gd name="T75" fmla="*/ 512 h 721"/>
                  <a:gd name="T76" fmla="*/ 36 w 397"/>
                  <a:gd name="T77" fmla="*/ 536 h 721"/>
                  <a:gd name="T78" fmla="*/ 47 w 397"/>
                  <a:gd name="T79" fmla="*/ 546 h 721"/>
                  <a:gd name="T80" fmla="*/ 71 w 397"/>
                  <a:gd name="T81" fmla="*/ 570 h 721"/>
                  <a:gd name="T82" fmla="*/ 82 w 397"/>
                  <a:gd name="T83" fmla="*/ 581 h 721"/>
                  <a:gd name="T84" fmla="*/ 95 w 397"/>
                  <a:gd name="T85" fmla="*/ 608 h 721"/>
                  <a:gd name="T86" fmla="*/ 94 w 397"/>
                  <a:gd name="T87" fmla="*/ 634 h 721"/>
                  <a:gd name="T88" fmla="*/ 68 w 397"/>
                  <a:gd name="T89" fmla="*/ 675 h 721"/>
                  <a:gd name="T90" fmla="*/ 115 w 397"/>
                  <a:gd name="T91" fmla="*/ 721 h 721"/>
                  <a:gd name="T92" fmla="*/ 162 w 397"/>
                  <a:gd name="T93" fmla="*/ 675 h 721"/>
                  <a:gd name="T94" fmla="*/ 353 w 397"/>
                  <a:gd name="T95" fmla="*/ 19 h 721"/>
                  <a:gd name="T96" fmla="*/ 378 w 397"/>
                  <a:gd name="T97" fmla="*/ 43 h 721"/>
                  <a:gd name="T98" fmla="*/ 353 w 397"/>
                  <a:gd name="T99" fmla="*/ 67 h 721"/>
                  <a:gd name="T100" fmla="*/ 329 w 397"/>
                  <a:gd name="T101" fmla="*/ 43 h 721"/>
                  <a:gd name="T102" fmla="*/ 353 w 397"/>
                  <a:gd name="T103" fmla="*/ 19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7" h="721">
                    <a:moveTo>
                      <a:pt x="162" y="675"/>
                    </a:moveTo>
                    <a:cubicBezTo>
                      <a:pt x="162" y="657"/>
                      <a:pt x="152" y="642"/>
                      <a:pt x="137" y="634"/>
                    </a:cubicBezTo>
                    <a:cubicBezTo>
                      <a:pt x="137" y="620"/>
                      <a:pt x="137" y="606"/>
                      <a:pt x="137" y="592"/>
                    </a:cubicBezTo>
                    <a:cubicBezTo>
                      <a:pt x="136" y="587"/>
                      <a:pt x="135" y="584"/>
                      <a:pt x="135" y="580"/>
                    </a:cubicBezTo>
                    <a:cubicBezTo>
                      <a:pt x="129" y="567"/>
                      <a:pt x="120" y="557"/>
                      <a:pt x="111" y="548"/>
                    </a:cubicBezTo>
                    <a:cubicBezTo>
                      <a:pt x="109" y="545"/>
                      <a:pt x="106" y="543"/>
                      <a:pt x="104" y="541"/>
                    </a:cubicBezTo>
                    <a:cubicBezTo>
                      <a:pt x="94" y="533"/>
                      <a:pt x="84" y="523"/>
                      <a:pt x="76" y="513"/>
                    </a:cubicBezTo>
                    <a:cubicBezTo>
                      <a:pt x="74" y="511"/>
                      <a:pt x="72" y="508"/>
                      <a:pt x="70" y="506"/>
                    </a:cubicBezTo>
                    <a:cubicBezTo>
                      <a:pt x="61" y="499"/>
                      <a:pt x="53" y="491"/>
                      <a:pt x="46" y="482"/>
                    </a:cubicBezTo>
                    <a:cubicBezTo>
                      <a:pt x="41" y="475"/>
                      <a:pt x="44" y="468"/>
                      <a:pt x="44" y="460"/>
                    </a:cubicBezTo>
                    <a:cubicBezTo>
                      <a:pt x="44" y="443"/>
                      <a:pt x="44" y="426"/>
                      <a:pt x="44" y="409"/>
                    </a:cubicBezTo>
                    <a:cubicBezTo>
                      <a:pt x="44" y="403"/>
                      <a:pt x="44" y="397"/>
                      <a:pt x="44" y="392"/>
                    </a:cubicBezTo>
                    <a:cubicBezTo>
                      <a:pt x="44" y="374"/>
                      <a:pt x="44" y="357"/>
                      <a:pt x="44" y="340"/>
                    </a:cubicBezTo>
                    <a:cubicBezTo>
                      <a:pt x="44" y="334"/>
                      <a:pt x="44" y="328"/>
                      <a:pt x="43" y="322"/>
                    </a:cubicBezTo>
                    <a:cubicBezTo>
                      <a:pt x="43" y="309"/>
                      <a:pt x="43" y="297"/>
                      <a:pt x="43" y="285"/>
                    </a:cubicBezTo>
                    <a:cubicBezTo>
                      <a:pt x="42" y="272"/>
                      <a:pt x="49" y="267"/>
                      <a:pt x="61" y="267"/>
                    </a:cubicBezTo>
                    <a:cubicBezTo>
                      <a:pt x="72" y="268"/>
                      <a:pt x="83" y="268"/>
                      <a:pt x="95" y="268"/>
                    </a:cubicBezTo>
                    <a:cubicBezTo>
                      <a:pt x="101" y="267"/>
                      <a:pt x="106" y="267"/>
                      <a:pt x="112" y="269"/>
                    </a:cubicBezTo>
                    <a:cubicBezTo>
                      <a:pt x="130" y="266"/>
                      <a:pt x="149" y="271"/>
                      <a:pt x="167" y="261"/>
                    </a:cubicBezTo>
                    <a:cubicBezTo>
                      <a:pt x="226" y="203"/>
                      <a:pt x="284" y="144"/>
                      <a:pt x="343" y="85"/>
                    </a:cubicBezTo>
                    <a:cubicBezTo>
                      <a:pt x="346" y="86"/>
                      <a:pt x="350" y="87"/>
                      <a:pt x="353" y="87"/>
                    </a:cubicBezTo>
                    <a:cubicBezTo>
                      <a:pt x="377" y="87"/>
                      <a:pt x="397" y="67"/>
                      <a:pt x="397" y="43"/>
                    </a:cubicBezTo>
                    <a:cubicBezTo>
                      <a:pt x="397" y="19"/>
                      <a:pt x="377" y="0"/>
                      <a:pt x="353" y="0"/>
                    </a:cubicBezTo>
                    <a:cubicBezTo>
                      <a:pt x="329" y="0"/>
                      <a:pt x="310" y="19"/>
                      <a:pt x="310" y="43"/>
                    </a:cubicBezTo>
                    <a:cubicBezTo>
                      <a:pt x="310" y="49"/>
                      <a:pt x="311" y="54"/>
                      <a:pt x="313" y="59"/>
                    </a:cubicBezTo>
                    <a:cubicBezTo>
                      <a:pt x="268" y="103"/>
                      <a:pt x="221" y="146"/>
                      <a:pt x="179" y="193"/>
                    </a:cubicBezTo>
                    <a:cubicBezTo>
                      <a:pt x="154" y="221"/>
                      <a:pt x="126" y="232"/>
                      <a:pt x="91" y="225"/>
                    </a:cubicBezTo>
                    <a:cubicBezTo>
                      <a:pt x="86" y="225"/>
                      <a:pt x="80" y="225"/>
                      <a:pt x="74" y="225"/>
                    </a:cubicBezTo>
                    <a:cubicBezTo>
                      <a:pt x="68" y="225"/>
                      <a:pt x="62" y="226"/>
                      <a:pt x="57" y="226"/>
                    </a:cubicBezTo>
                    <a:cubicBezTo>
                      <a:pt x="23" y="227"/>
                      <a:pt x="2" y="249"/>
                      <a:pt x="1" y="283"/>
                    </a:cubicBezTo>
                    <a:cubicBezTo>
                      <a:pt x="1" y="289"/>
                      <a:pt x="1" y="295"/>
                      <a:pt x="0" y="301"/>
                    </a:cubicBezTo>
                    <a:cubicBezTo>
                      <a:pt x="1" y="307"/>
                      <a:pt x="1" y="313"/>
                      <a:pt x="1" y="319"/>
                    </a:cubicBezTo>
                    <a:cubicBezTo>
                      <a:pt x="1" y="336"/>
                      <a:pt x="1" y="353"/>
                      <a:pt x="0" y="370"/>
                    </a:cubicBezTo>
                    <a:cubicBezTo>
                      <a:pt x="1" y="376"/>
                      <a:pt x="1" y="382"/>
                      <a:pt x="1" y="388"/>
                    </a:cubicBezTo>
                    <a:cubicBezTo>
                      <a:pt x="1" y="405"/>
                      <a:pt x="1" y="423"/>
                      <a:pt x="0" y="440"/>
                    </a:cubicBezTo>
                    <a:cubicBezTo>
                      <a:pt x="1" y="445"/>
                      <a:pt x="1" y="451"/>
                      <a:pt x="1" y="457"/>
                    </a:cubicBezTo>
                    <a:cubicBezTo>
                      <a:pt x="2" y="472"/>
                      <a:pt x="0" y="487"/>
                      <a:pt x="7" y="502"/>
                    </a:cubicBezTo>
                    <a:cubicBezTo>
                      <a:pt x="9" y="505"/>
                      <a:pt x="12" y="509"/>
                      <a:pt x="15" y="512"/>
                    </a:cubicBezTo>
                    <a:cubicBezTo>
                      <a:pt x="22" y="520"/>
                      <a:pt x="30" y="528"/>
                      <a:pt x="36" y="536"/>
                    </a:cubicBezTo>
                    <a:cubicBezTo>
                      <a:pt x="40" y="539"/>
                      <a:pt x="44" y="542"/>
                      <a:pt x="47" y="546"/>
                    </a:cubicBezTo>
                    <a:cubicBezTo>
                      <a:pt x="55" y="554"/>
                      <a:pt x="63" y="562"/>
                      <a:pt x="71" y="570"/>
                    </a:cubicBezTo>
                    <a:cubicBezTo>
                      <a:pt x="75" y="573"/>
                      <a:pt x="78" y="577"/>
                      <a:pt x="82" y="581"/>
                    </a:cubicBezTo>
                    <a:cubicBezTo>
                      <a:pt x="92" y="587"/>
                      <a:pt x="95" y="596"/>
                      <a:pt x="95" y="608"/>
                    </a:cubicBezTo>
                    <a:cubicBezTo>
                      <a:pt x="94" y="617"/>
                      <a:pt x="94" y="625"/>
                      <a:pt x="94" y="634"/>
                    </a:cubicBezTo>
                    <a:cubicBezTo>
                      <a:pt x="79" y="641"/>
                      <a:pt x="68" y="657"/>
                      <a:pt x="68" y="675"/>
                    </a:cubicBezTo>
                    <a:cubicBezTo>
                      <a:pt x="68" y="700"/>
                      <a:pt x="89" y="721"/>
                      <a:pt x="115" y="721"/>
                    </a:cubicBezTo>
                    <a:cubicBezTo>
                      <a:pt x="141" y="721"/>
                      <a:pt x="162" y="700"/>
                      <a:pt x="162" y="675"/>
                    </a:cubicBezTo>
                    <a:close/>
                    <a:moveTo>
                      <a:pt x="353" y="19"/>
                    </a:moveTo>
                    <a:cubicBezTo>
                      <a:pt x="367" y="19"/>
                      <a:pt x="378" y="30"/>
                      <a:pt x="378" y="43"/>
                    </a:cubicBezTo>
                    <a:cubicBezTo>
                      <a:pt x="378" y="57"/>
                      <a:pt x="367" y="67"/>
                      <a:pt x="353" y="67"/>
                    </a:cubicBezTo>
                    <a:cubicBezTo>
                      <a:pt x="340" y="67"/>
                      <a:pt x="329" y="57"/>
                      <a:pt x="329" y="43"/>
                    </a:cubicBezTo>
                    <a:cubicBezTo>
                      <a:pt x="329" y="30"/>
                      <a:pt x="340" y="19"/>
                      <a:pt x="35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0" name="Freeform 19"/>
              <p:cNvSpPr>
                <a:spLocks noEditPoints="1"/>
              </p:cNvSpPr>
              <p:nvPr/>
            </p:nvSpPr>
            <p:spPr bwMode="gray">
              <a:xfrm>
                <a:off x="2702" y="1279"/>
                <a:ext cx="1471" cy="1106"/>
              </a:xfrm>
              <a:custGeom>
                <a:avLst/>
                <a:gdLst>
                  <a:gd name="T0" fmla="*/ 527 w 622"/>
                  <a:gd name="T1" fmla="*/ 47 h 467"/>
                  <a:gd name="T2" fmla="*/ 554 w 622"/>
                  <a:gd name="T3" fmla="*/ 119 h 467"/>
                  <a:gd name="T4" fmla="*/ 554 w 622"/>
                  <a:gd name="T5" fmla="*/ 185 h 467"/>
                  <a:gd name="T6" fmla="*/ 554 w 622"/>
                  <a:gd name="T7" fmla="*/ 257 h 467"/>
                  <a:gd name="T8" fmla="*/ 535 w 622"/>
                  <a:gd name="T9" fmla="*/ 326 h 467"/>
                  <a:gd name="T10" fmla="*/ 424 w 622"/>
                  <a:gd name="T11" fmla="*/ 402 h 467"/>
                  <a:gd name="T12" fmla="*/ 356 w 622"/>
                  <a:gd name="T13" fmla="*/ 402 h 467"/>
                  <a:gd name="T14" fmla="*/ 287 w 622"/>
                  <a:gd name="T15" fmla="*/ 402 h 467"/>
                  <a:gd name="T16" fmla="*/ 217 w 622"/>
                  <a:gd name="T17" fmla="*/ 402 h 467"/>
                  <a:gd name="T18" fmla="*/ 149 w 622"/>
                  <a:gd name="T19" fmla="*/ 402 h 467"/>
                  <a:gd name="T20" fmla="*/ 127 w 622"/>
                  <a:gd name="T21" fmla="*/ 402 h 467"/>
                  <a:gd name="T22" fmla="*/ 71 w 622"/>
                  <a:gd name="T23" fmla="*/ 383 h 467"/>
                  <a:gd name="T24" fmla="*/ 107 w 622"/>
                  <a:gd name="T25" fmla="*/ 367 h 467"/>
                  <a:gd name="T26" fmla="*/ 176 w 622"/>
                  <a:gd name="T27" fmla="*/ 367 h 467"/>
                  <a:gd name="T28" fmla="*/ 245 w 622"/>
                  <a:gd name="T29" fmla="*/ 367 h 467"/>
                  <a:gd name="T30" fmla="*/ 314 w 622"/>
                  <a:gd name="T31" fmla="*/ 367 h 467"/>
                  <a:gd name="T32" fmla="*/ 378 w 622"/>
                  <a:gd name="T33" fmla="*/ 369 h 467"/>
                  <a:gd name="T34" fmla="*/ 418 w 622"/>
                  <a:gd name="T35" fmla="*/ 343 h 467"/>
                  <a:gd name="T36" fmla="*/ 493 w 622"/>
                  <a:gd name="T37" fmla="*/ 285 h 467"/>
                  <a:gd name="T38" fmla="*/ 493 w 622"/>
                  <a:gd name="T39" fmla="*/ 193 h 467"/>
                  <a:gd name="T40" fmla="*/ 450 w 622"/>
                  <a:gd name="T41" fmla="*/ 252 h 467"/>
                  <a:gd name="T42" fmla="*/ 362 w 622"/>
                  <a:gd name="T43" fmla="*/ 324 h 467"/>
                  <a:gd name="T44" fmla="*/ 293 w 622"/>
                  <a:gd name="T45" fmla="*/ 323 h 467"/>
                  <a:gd name="T46" fmla="*/ 224 w 622"/>
                  <a:gd name="T47" fmla="*/ 324 h 467"/>
                  <a:gd name="T48" fmla="*/ 155 w 622"/>
                  <a:gd name="T49" fmla="*/ 324 h 467"/>
                  <a:gd name="T50" fmla="*/ 86 w 622"/>
                  <a:gd name="T51" fmla="*/ 324 h 467"/>
                  <a:gd name="T52" fmla="*/ 44 w 622"/>
                  <a:gd name="T53" fmla="*/ 300 h 467"/>
                  <a:gd name="T54" fmla="*/ 44 w 622"/>
                  <a:gd name="T55" fmla="*/ 392 h 467"/>
                  <a:gd name="T56" fmla="*/ 41 w 622"/>
                  <a:gd name="T57" fmla="*/ 423 h 467"/>
                  <a:gd name="T58" fmla="*/ 127 w 622"/>
                  <a:gd name="T59" fmla="*/ 444 h 467"/>
                  <a:gd name="T60" fmla="*/ 170 w 622"/>
                  <a:gd name="T61" fmla="*/ 444 h 467"/>
                  <a:gd name="T62" fmla="*/ 238 w 622"/>
                  <a:gd name="T63" fmla="*/ 444 h 467"/>
                  <a:gd name="T64" fmla="*/ 307 w 622"/>
                  <a:gd name="T65" fmla="*/ 444 h 467"/>
                  <a:gd name="T66" fmla="*/ 376 w 622"/>
                  <a:gd name="T67" fmla="*/ 444 h 467"/>
                  <a:gd name="T68" fmla="*/ 445 w 622"/>
                  <a:gd name="T69" fmla="*/ 444 h 467"/>
                  <a:gd name="T70" fmla="*/ 572 w 622"/>
                  <a:gd name="T71" fmla="*/ 348 h 467"/>
                  <a:gd name="T72" fmla="*/ 598 w 622"/>
                  <a:gd name="T73" fmla="*/ 275 h 467"/>
                  <a:gd name="T74" fmla="*/ 598 w 622"/>
                  <a:gd name="T75" fmla="*/ 206 h 467"/>
                  <a:gd name="T76" fmla="*/ 598 w 622"/>
                  <a:gd name="T77" fmla="*/ 137 h 467"/>
                  <a:gd name="T78" fmla="*/ 622 w 622"/>
                  <a:gd name="T79" fmla="*/ 47 h 467"/>
                  <a:gd name="T80" fmla="*/ 44 w 622"/>
                  <a:gd name="T81" fmla="*/ 373 h 467"/>
                  <a:gd name="T82" fmla="*/ 44 w 622"/>
                  <a:gd name="T83" fmla="*/ 319 h 467"/>
                  <a:gd name="T84" fmla="*/ 44 w 622"/>
                  <a:gd name="T85" fmla="*/ 373 h 467"/>
                  <a:gd name="T86" fmla="*/ 547 w 622"/>
                  <a:gd name="T87" fmla="*/ 47 h 467"/>
                  <a:gd name="T88" fmla="*/ 602 w 622"/>
                  <a:gd name="T89" fmla="*/ 47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22" h="467">
                    <a:moveTo>
                      <a:pt x="575" y="0"/>
                    </a:moveTo>
                    <a:cubicBezTo>
                      <a:pt x="549" y="0"/>
                      <a:pt x="527" y="21"/>
                      <a:pt x="527" y="47"/>
                    </a:cubicBezTo>
                    <a:cubicBezTo>
                      <a:pt x="527" y="66"/>
                      <a:pt x="539" y="82"/>
                      <a:pt x="555" y="90"/>
                    </a:cubicBezTo>
                    <a:cubicBezTo>
                      <a:pt x="554" y="99"/>
                      <a:pt x="554" y="109"/>
                      <a:pt x="554" y="119"/>
                    </a:cubicBezTo>
                    <a:cubicBezTo>
                      <a:pt x="554" y="124"/>
                      <a:pt x="554" y="129"/>
                      <a:pt x="554" y="133"/>
                    </a:cubicBezTo>
                    <a:cubicBezTo>
                      <a:pt x="556" y="151"/>
                      <a:pt x="556" y="168"/>
                      <a:pt x="554" y="185"/>
                    </a:cubicBezTo>
                    <a:cubicBezTo>
                      <a:pt x="556" y="191"/>
                      <a:pt x="556" y="197"/>
                      <a:pt x="554" y="203"/>
                    </a:cubicBezTo>
                    <a:cubicBezTo>
                      <a:pt x="555" y="221"/>
                      <a:pt x="556" y="239"/>
                      <a:pt x="554" y="257"/>
                    </a:cubicBezTo>
                    <a:cubicBezTo>
                      <a:pt x="554" y="263"/>
                      <a:pt x="554" y="267"/>
                      <a:pt x="554" y="271"/>
                    </a:cubicBezTo>
                    <a:cubicBezTo>
                      <a:pt x="558" y="294"/>
                      <a:pt x="553" y="311"/>
                      <a:pt x="535" y="326"/>
                    </a:cubicBezTo>
                    <a:cubicBezTo>
                      <a:pt x="514" y="343"/>
                      <a:pt x="496" y="362"/>
                      <a:pt x="479" y="382"/>
                    </a:cubicBezTo>
                    <a:cubicBezTo>
                      <a:pt x="464" y="400"/>
                      <a:pt x="446" y="406"/>
                      <a:pt x="424" y="402"/>
                    </a:cubicBezTo>
                    <a:cubicBezTo>
                      <a:pt x="419" y="402"/>
                      <a:pt x="413" y="403"/>
                      <a:pt x="407" y="401"/>
                    </a:cubicBezTo>
                    <a:cubicBezTo>
                      <a:pt x="389" y="403"/>
                      <a:pt x="372" y="402"/>
                      <a:pt x="356" y="402"/>
                    </a:cubicBezTo>
                    <a:cubicBezTo>
                      <a:pt x="350" y="402"/>
                      <a:pt x="344" y="403"/>
                      <a:pt x="338" y="401"/>
                    </a:cubicBezTo>
                    <a:cubicBezTo>
                      <a:pt x="321" y="403"/>
                      <a:pt x="304" y="402"/>
                      <a:pt x="287" y="402"/>
                    </a:cubicBezTo>
                    <a:cubicBezTo>
                      <a:pt x="281" y="403"/>
                      <a:pt x="275" y="403"/>
                      <a:pt x="269" y="401"/>
                    </a:cubicBezTo>
                    <a:cubicBezTo>
                      <a:pt x="252" y="403"/>
                      <a:pt x="234" y="402"/>
                      <a:pt x="217" y="402"/>
                    </a:cubicBezTo>
                    <a:cubicBezTo>
                      <a:pt x="212" y="403"/>
                      <a:pt x="206" y="403"/>
                      <a:pt x="200" y="401"/>
                    </a:cubicBezTo>
                    <a:cubicBezTo>
                      <a:pt x="183" y="403"/>
                      <a:pt x="166" y="402"/>
                      <a:pt x="149" y="402"/>
                    </a:cubicBezTo>
                    <a:cubicBezTo>
                      <a:pt x="143" y="403"/>
                      <a:pt x="137" y="403"/>
                      <a:pt x="131" y="402"/>
                    </a:cubicBezTo>
                    <a:cubicBezTo>
                      <a:pt x="130" y="402"/>
                      <a:pt x="128" y="402"/>
                      <a:pt x="127" y="402"/>
                    </a:cubicBezTo>
                    <a:cubicBezTo>
                      <a:pt x="119" y="389"/>
                      <a:pt x="104" y="380"/>
                      <a:pt x="87" y="380"/>
                    </a:cubicBezTo>
                    <a:cubicBezTo>
                      <a:pt x="81" y="380"/>
                      <a:pt x="76" y="381"/>
                      <a:pt x="71" y="383"/>
                    </a:cubicBezTo>
                    <a:cubicBezTo>
                      <a:pt x="77" y="378"/>
                      <a:pt x="81" y="373"/>
                      <a:pt x="84" y="367"/>
                    </a:cubicBezTo>
                    <a:cubicBezTo>
                      <a:pt x="92" y="367"/>
                      <a:pt x="99" y="367"/>
                      <a:pt x="107" y="367"/>
                    </a:cubicBezTo>
                    <a:cubicBezTo>
                      <a:pt x="125" y="366"/>
                      <a:pt x="143" y="366"/>
                      <a:pt x="162" y="366"/>
                    </a:cubicBezTo>
                    <a:cubicBezTo>
                      <a:pt x="166" y="366"/>
                      <a:pt x="171" y="366"/>
                      <a:pt x="176" y="367"/>
                    </a:cubicBezTo>
                    <a:cubicBezTo>
                      <a:pt x="193" y="366"/>
                      <a:pt x="210" y="366"/>
                      <a:pt x="227" y="366"/>
                    </a:cubicBezTo>
                    <a:cubicBezTo>
                      <a:pt x="233" y="366"/>
                      <a:pt x="239" y="366"/>
                      <a:pt x="245" y="367"/>
                    </a:cubicBezTo>
                    <a:cubicBezTo>
                      <a:pt x="262" y="366"/>
                      <a:pt x="279" y="366"/>
                      <a:pt x="296" y="366"/>
                    </a:cubicBezTo>
                    <a:cubicBezTo>
                      <a:pt x="302" y="366"/>
                      <a:pt x="308" y="366"/>
                      <a:pt x="314" y="367"/>
                    </a:cubicBezTo>
                    <a:cubicBezTo>
                      <a:pt x="331" y="366"/>
                      <a:pt x="348" y="366"/>
                      <a:pt x="365" y="366"/>
                    </a:cubicBezTo>
                    <a:cubicBezTo>
                      <a:pt x="370" y="368"/>
                      <a:pt x="374" y="370"/>
                      <a:pt x="378" y="369"/>
                    </a:cubicBezTo>
                    <a:cubicBezTo>
                      <a:pt x="380" y="369"/>
                      <a:pt x="381" y="367"/>
                      <a:pt x="382" y="366"/>
                    </a:cubicBezTo>
                    <a:cubicBezTo>
                      <a:pt x="396" y="362"/>
                      <a:pt x="408" y="355"/>
                      <a:pt x="418" y="343"/>
                    </a:cubicBezTo>
                    <a:cubicBezTo>
                      <a:pt x="438" y="323"/>
                      <a:pt x="458" y="303"/>
                      <a:pt x="478" y="283"/>
                    </a:cubicBezTo>
                    <a:cubicBezTo>
                      <a:pt x="483" y="284"/>
                      <a:pt x="488" y="285"/>
                      <a:pt x="493" y="285"/>
                    </a:cubicBezTo>
                    <a:cubicBezTo>
                      <a:pt x="519" y="285"/>
                      <a:pt x="539" y="265"/>
                      <a:pt x="539" y="239"/>
                    </a:cubicBezTo>
                    <a:cubicBezTo>
                      <a:pt x="539" y="214"/>
                      <a:pt x="519" y="193"/>
                      <a:pt x="493" y="193"/>
                    </a:cubicBezTo>
                    <a:cubicBezTo>
                      <a:pt x="468" y="193"/>
                      <a:pt x="448" y="214"/>
                      <a:pt x="448" y="239"/>
                    </a:cubicBezTo>
                    <a:cubicBezTo>
                      <a:pt x="448" y="244"/>
                      <a:pt x="448" y="248"/>
                      <a:pt x="450" y="252"/>
                    </a:cubicBezTo>
                    <a:cubicBezTo>
                      <a:pt x="429" y="273"/>
                      <a:pt x="409" y="292"/>
                      <a:pt x="389" y="314"/>
                    </a:cubicBezTo>
                    <a:cubicBezTo>
                      <a:pt x="381" y="322"/>
                      <a:pt x="373" y="326"/>
                      <a:pt x="362" y="324"/>
                    </a:cubicBezTo>
                    <a:cubicBezTo>
                      <a:pt x="356" y="323"/>
                      <a:pt x="350" y="323"/>
                      <a:pt x="345" y="323"/>
                    </a:cubicBezTo>
                    <a:cubicBezTo>
                      <a:pt x="328" y="323"/>
                      <a:pt x="310" y="323"/>
                      <a:pt x="293" y="323"/>
                    </a:cubicBezTo>
                    <a:cubicBezTo>
                      <a:pt x="287" y="323"/>
                      <a:pt x="281" y="323"/>
                      <a:pt x="275" y="323"/>
                    </a:cubicBezTo>
                    <a:cubicBezTo>
                      <a:pt x="258" y="324"/>
                      <a:pt x="241" y="324"/>
                      <a:pt x="224" y="324"/>
                    </a:cubicBezTo>
                    <a:cubicBezTo>
                      <a:pt x="218" y="324"/>
                      <a:pt x="212" y="324"/>
                      <a:pt x="207" y="324"/>
                    </a:cubicBezTo>
                    <a:cubicBezTo>
                      <a:pt x="190" y="324"/>
                      <a:pt x="172" y="324"/>
                      <a:pt x="155" y="324"/>
                    </a:cubicBezTo>
                    <a:cubicBezTo>
                      <a:pt x="149" y="323"/>
                      <a:pt x="143" y="323"/>
                      <a:pt x="138" y="323"/>
                    </a:cubicBezTo>
                    <a:cubicBezTo>
                      <a:pt x="120" y="323"/>
                      <a:pt x="103" y="323"/>
                      <a:pt x="86" y="324"/>
                    </a:cubicBezTo>
                    <a:cubicBezTo>
                      <a:pt x="85" y="324"/>
                      <a:pt x="85" y="324"/>
                      <a:pt x="84" y="324"/>
                    </a:cubicBezTo>
                    <a:cubicBezTo>
                      <a:pt x="76" y="310"/>
                      <a:pt x="61" y="300"/>
                      <a:pt x="44" y="300"/>
                    </a:cubicBezTo>
                    <a:cubicBezTo>
                      <a:pt x="20" y="300"/>
                      <a:pt x="0" y="321"/>
                      <a:pt x="0" y="346"/>
                    </a:cubicBezTo>
                    <a:cubicBezTo>
                      <a:pt x="0" y="371"/>
                      <a:pt x="20" y="392"/>
                      <a:pt x="44" y="392"/>
                    </a:cubicBezTo>
                    <a:cubicBezTo>
                      <a:pt x="49" y="392"/>
                      <a:pt x="54" y="391"/>
                      <a:pt x="58" y="389"/>
                    </a:cubicBezTo>
                    <a:cubicBezTo>
                      <a:pt x="48" y="397"/>
                      <a:pt x="41" y="410"/>
                      <a:pt x="41" y="423"/>
                    </a:cubicBezTo>
                    <a:cubicBezTo>
                      <a:pt x="41" y="447"/>
                      <a:pt x="61" y="467"/>
                      <a:pt x="87" y="467"/>
                    </a:cubicBezTo>
                    <a:cubicBezTo>
                      <a:pt x="104" y="467"/>
                      <a:pt x="119" y="458"/>
                      <a:pt x="127" y="444"/>
                    </a:cubicBezTo>
                    <a:cubicBezTo>
                      <a:pt x="135" y="444"/>
                      <a:pt x="144" y="444"/>
                      <a:pt x="152" y="444"/>
                    </a:cubicBezTo>
                    <a:cubicBezTo>
                      <a:pt x="158" y="444"/>
                      <a:pt x="164" y="444"/>
                      <a:pt x="170" y="444"/>
                    </a:cubicBezTo>
                    <a:cubicBezTo>
                      <a:pt x="186" y="444"/>
                      <a:pt x="203" y="444"/>
                      <a:pt x="220" y="444"/>
                    </a:cubicBezTo>
                    <a:cubicBezTo>
                      <a:pt x="226" y="444"/>
                      <a:pt x="232" y="444"/>
                      <a:pt x="238" y="444"/>
                    </a:cubicBezTo>
                    <a:cubicBezTo>
                      <a:pt x="255" y="444"/>
                      <a:pt x="273" y="444"/>
                      <a:pt x="290" y="444"/>
                    </a:cubicBezTo>
                    <a:cubicBezTo>
                      <a:pt x="296" y="444"/>
                      <a:pt x="302" y="444"/>
                      <a:pt x="307" y="444"/>
                    </a:cubicBezTo>
                    <a:cubicBezTo>
                      <a:pt x="325" y="444"/>
                      <a:pt x="341" y="444"/>
                      <a:pt x="358" y="444"/>
                    </a:cubicBezTo>
                    <a:cubicBezTo>
                      <a:pt x="364" y="444"/>
                      <a:pt x="370" y="444"/>
                      <a:pt x="376" y="444"/>
                    </a:cubicBezTo>
                    <a:cubicBezTo>
                      <a:pt x="393" y="444"/>
                      <a:pt x="410" y="444"/>
                      <a:pt x="428" y="444"/>
                    </a:cubicBezTo>
                    <a:cubicBezTo>
                      <a:pt x="434" y="444"/>
                      <a:pt x="439" y="444"/>
                      <a:pt x="445" y="444"/>
                    </a:cubicBezTo>
                    <a:cubicBezTo>
                      <a:pt x="468" y="445"/>
                      <a:pt x="485" y="436"/>
                      <a:pt x="501" y="419"/>
                    </a:cubicBezTo>
                    <a:cubicBezTo>
                      <a:pt x="524" y="395"/>
                      <a:pt x="547" y="371"/>
                      <a:pt x="572" y="348"/>
                    </a:cubicBezTo>
                    <a:cubicBezTo>
                      <a:pt x="589" y="333"/>
                      <a:pt x="598" y="315"/>
                      <a:pt x="598" y="292"/>
                    </a:cubicBezTo>
                    <a:cubicBezTo>
                      <a:pt x="598" y="286"/>
                      <a:pt x="598" y="280"/>
                      <a:pt x="598" y="275"/>
                    </a:cubicBezTo>
                    <a:cubicBezTo>
                      <a:pt x="598" y="257"/>
                      <a:pt x="598" y="240"/>
                      <a:pt x="598" y="223"/>
                    </a:cubicBezTo>
                    <a:cubicBezTo>
                      <a:pt x="598" y="218"/>
                      <a:pt x="598" y="212"/>
                      <a:pt x="598" y="206"/>
                    </a:cubicBezTo>
                    <a:cubicBezTo>
                      <a:pt x="598" y="189"/>
                      <a:pt x="598" y="172"/>
                      <a:pt x="598" y="154"/>
                    </a:cubicBezTo>
                    <a:cubicBezTo>
                      <a:pt x="598" y="148"/>
                      <a:pt x="598" y="143"/>
                      <a:pt x="598" y="137"/>
                    </a:cubicBezTo>
                    <a:cubicBezTo>
                      <a:pt x="598" y="120"/>
                      <a:pt x="598" y="104"/>
                      <a:pt x="598" y="88"/>
                    </a:cubicBezTo>
                    <a:cubicBezTo>
                      <a:pt x="612" y="80"/>
                      <a:pt x="622" y="65"/>
                      <a:pt x="622" y="47"/>
                    </a:cubicBezTo>
                    <a:cubicBezTo>
                      <a:pt x="622" y="21"/>
                      <a:pt x="601" y="0"/>
                      <a:pt x="575" y="0"/>
                    </a:cubicBezTo>
                    <a:close/>
                    <a:moveTo>
                      <a:pt x="44" y="373"/>
                    </a:moveTo>
                    <a:cubicBezTo>
                      <a:pt x="30" y="373"/>
                      <a:pt x="19" y="361"/>
                      <a:pt x="19" y="346"/>
                    </a:cubicBezTo>
                    <a:cubicBezTo>
                      <a:pt x="19" y="331"/>
                      <a:pt x="30" y="319"/>
                      <a:pt x="44" y="319"/>
                    </a:cubicBezTo>
                    <a:cubicBezTo>
                      <a:pt x="58" y="319"/>
                      <a:pt x="70" y="331"/>
                      <a:pt x="70" y="346"/>
                    </a:cubicBezTo>
                    <a:cubicBezTo>
                      <a:pt x="70" y="361"/>
                      <a:pt x="58" y="373"/>
                      <a:pt x="44" y="373"/>
                    </a:cubicBezTo>
                    <a:close/>
                    <a:moveTo>
                      <a:pt x="575" y="75"/>
                    </a:moveTo>
                    <a:cubicBezTo>
                      <a:pt x="559" y="75"/>
                      <a:pt x="547" y="62"/>
                      <a:pt x="547" y="47"/>
                    </a:cubicBezTo>
                    <a:cubicBezTo>
                      <a:pt x="547" y="32"/>
                      <a:pt x="559" y="19"/>
                      <a:pt x="575" y="19"/>
                    </a:cubicBezTo>
                    <a:cubicBezTo>
                      <a:pt x="590" y="19"/>
                      <a:pt x="602" y="32"/>
                      <a:pt x="602" y="47"/>
                    </a:cubicBezTo>
                    <a:cubicBezTo>
                      <a:pt x="602" y="62"/>
                      <a:pt x="590" y="75"/>
                      <a:pt x="575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1" name="Freeform 20"/>
              <p:cNvSpPr>
                <a:spLocks noEditPoints="1"/>
              </p:cNvSpPr>
              <p:nvPr/>
            </p:nvSpPr>
            <p:spPr bwMode="gray">
              <a:xfrm>
                <a:off x="2673" y="1005"/>
                <a:ext cx="206" cy="549"/>
              </a:xfrm>
              <a:custGeom>
                <a:avLst/>
                <a:gdLst>
                  <a:gd name="T0" fmla="*/ 87 w 87"/>
                  <a:gd name="T1" fmla="*/ 46 h 232"/>
                  <a:gd name="T2" fmla="*/ 43 w 87"/>
                  <a:gd name="T3" fmla="*/ 0 h 232"/>
                  <a:gd name="T4" fmla="*/ 0 w 87"/>
                  <a:gd name="T5" fmla="*/ 46 h 232"/>
                  <a:gd name="T6" fmla="*/ 21 w 87"/>
                  <a:gd name="T7" fmla="*/ 85 h 232"/>
                  <a:gd name="T8" fmla="*/ 21 w 87"/>
                  <a:gd name="T9" fmla="*/ 101 h 232"/>
                  <a:gd name="T10" fmla="*/ 23 w 87"/>
                  <a:gd name="T11" fmla="*/ 148 h 232"/>
                  <a:gd name="T12" fmla="*/ 0 w 87"/>
                  <a:gd name="T13" fmla="*/ 187 h 232"/>
                  <a:gd name="T14" fmla="*/ 43 w 87"/>
                  <a:gd name="T15" fmla="*/ 232 h 232"/>
                  <a:gd name="T16" fmla="*/ 87 w 87"/>
                  <a:gd name="T17" fmla="*/ 187 h 232"/>
                  <a:gd name="T18" fmla="*/ 64 w 87"/>
                  <a:gd name="T19" fmla="*/ 148 h 232"/>
                  <a:gd name="T20" fmla="*/ 65 w 87"/>
                  <a:gd name="T21" fmla="*/ 122 h 232"/>
                  <a:gd name="T22" fmla="*/ 65 w 87"/>
                  <a:gd name="T23" fmla="*/ 105 h 232"/>
                  <a:gd name="T24" fmla="*/ 64 w 87"/>
                  <a:gd name="T25" fmla="*/ 86 h 232"/>
                  <a:gd name="T26" fmla="*/ 87 w 87"/>
                  <a:gd name="T27" fmla="*/ 46 h 232"/>
                  <a:gd name="T28" fmla="*/ 67 w 87"/>
                  <a:gd name="T29" fmla="*/ 187 h 232"/>
                  <a:gd name="T30" fmla="*/ 43 w 87"/>
                  <a:gd name="T31" fmla="*/ 213 h 232"/>
                  <a:gd name="T32" fmla="*/ 19 w 87"/>
                  <a:gd name="T33" fmla="*/ 187 h 232"/>
                  <a:gd name="T34" fmla="*/ 43 w 87"/>
                  <a:gd name="T35" fmla="*/ 162 h 232"/>
                  <a:gd name="T36" fmla="*/ 67 w 87"/>
                  <a:gd name="T37" fmla="*/ 187 h 232"/>
                  <a:gd name="T38" fmla="*/ 43 w 87"/>
                  <a:gd name="T39" fmla="*/ 72 h 232"/>
                  <a:gd name="T40" fmla="*/ 19 w 87"/>
                  <a:gd name="T41" fmla="*/ 46 h 232"/>
                  <a:gd name="T42" fmla="*/ 43 w 87"/>
                  <a:gd name="T43" fmla="*/ 19 h 232"/>
                  <a:gd name="T44" fmla="*/ 67 w 87"/>
                  <a:gd name="T45" fmla="*/ 46 h 232"/>
                  <a:gd name="T46" fmla="*/ 43 w 87"/>
                  <a:gd name="T47" fmla="*/ 7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7" h="232">
                    <a:moveTo>
                      <a:pt x="87" y="46"/>
                    </a:moveTo>
                    <a:cubicBezTo>
                      <a:pt x="87" y="20"/>
                      <a:pt x="67" y="0"/>
                      <a:pt x="43" y="0"/>
                    </a:cubicBezTo>
                    <a:cubicBezTo>
                      <a:pt x="19" y="0"/>
                      <a:pt x="0" y="20"/>
                      <a:pt x="0" y="46"/>
                    </a:cubicBezTo>
                    <a:cubicBezTo>
                      <a:pt x="0" y="63"/>
                      <a:pt x="8" y="77"/>
                      <a:pt x="21" y="85"/>
                    </a:cubicBezTo>
                    <a:cubicBezTo>
                      <a:pt x="21" y="91"/>
                      <a:pt x="21" y="96"/>
                      <a:pt x="21" y="101"/>
                    </a:cubicBezTo>
                    <a:cubicBezTo>
                      <a:pt x="22" y="117"/>
                      <a:pt x="22" y="132"/>
                      <a:pt x="23" y="148"/>
                    </a:cubicBezTo>
                    <a:cubicBezTo>
                      <a:pt x="9" y="156"/>
                      <a:pt x="0" y="170"/>
                      <a:pt x="0" y="187"/>
                    </a:cubicBezTo>
                    <a:cubicBezTo>
                      <a:pt x="0" y="212"/>
                      <a:pt x="19" y="232"/>
                      <a:pt x="43" y="232"/>
                    </a:cubicBezTo>
                    <a:cubicBezTo>
                      <a:pt x="67" y="232"/>
                      <a:pt x="87" y="212"/>
                      <a:pt x="87" y="187"/>
                    </a:cubicBezTo>
                    <a:cubicBezTo>
                      <a:pt x="87" y="170"/>
                      <a:pt x="77" y="156"/>
                      <a:pt x="64" y="148"/>
                    </a:cubicBezTo>
                    <a:cubicBezTo>
                      <a:pt x="64" y="139"/>
                      <a:pt x="64" y="130"/>
                      <a:pt x="65" y="122"/>
                    </a:cubicBezTo>
                    <a:cubicBezTo>
                      <a:pt x="63" y="116"/>
                      <a:pt x="63" y="110"/>
                      <a:pt x="65" y="105"/>
                    </a:cubicBezTo>
                    <a:cubicBezTo>
                      <a:pt x="65" y="98"/>
                      <a:pt x="64" y="92"/>
                      <a:pt x="64" y="86"/>
                    </a:cubicBezTo>
                    <a:cubicBezTo>
                      <a:pt x="77" y="78"/>
                      <a:pt x="87" y="63"/>
                      <a:pt x="87" y="46"/>
                    </a:cubicBezTo>
                    <a:close/>
                    <a:moveTo>
                      <a:pt x="67" y="187"/>
                    </a:moveTo>
                    <a:cubicBezTo>
                      <a:pt x="67" y="201"/>
                      <a:pt x="56" y="213"/>
                      <a:pt x="43" y="213"/>
                    </a:cubicBezTo>
                    <a:cubicBezTo>
                      <a:pt x="30" y="213"/>
                      <a:pt x="19" y="201"/>
                      <a:pt x="19" y="187"/>
                    </a:cubicBezTo>
                    <a:cubicBezTo>
                      <a:pt x="19" y="173"/>
                      <a:pt x="30" y="162"/>
                      <a:pt x="43" y="162"/>
                    </a:cubicBezTo>
                    <a:cubicBezTo>
                      <a:pt x="56" y="162"/>
                      <a:pt x="67" y="173"/>
                      <a:pt x="67" y="187"/>
                    </a:cubicBezTo>
                    <a:close/>
                    <a:moveTo>
                      <a:pt x="43" y="72"/>
                    </a:moveTo>
                    <a:cubicBezTo>
                      <a:pt x="30" y="72"/>
                      <a:pt x="19" y="60"/>
                      <a:pt x="19" y="46"/>
                    </a:cubicBezTo>
                    <a:cubicBezTo>
                      <a:pt x="19" y="31"/>
                      <a:pt x="30" y="19"/>
                      <a:pt x="43" y="19"/>
                    </a:cubicBezTo>
                    <a:cubicBezTo>
                      <a:pt x="56" y="19"/>
                      <a:pt x="67" y="31"/>
                      <a:pt x="67" y="46"/>
                    </a:cubicBezTo>
                    <a:cubicBezTo>
                      <a:pt x="67" y="60"/>
                      <a:pt x="56" y="72"/>
                      <a:pt x="43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2" name="Freeform 21"/>
              <p:cNvSpPr>
                <a:spLocks noEditPoints="1"/>
              </p:cNvSpPr>
              <p:nvPr/>
            </p:nvSpPr>
            <p:spPr bwMode="gray">
              <a:xfrm>
                <a:off x="3371" y="946"/>
                <a:ext cx="459" cy="471"/>
              </a:xfrm>
              <a:custGeom>
                <a:avLst/>
                <a:gdLst>
                  <a:gd name="T0" fmla="*/ 46 w 194"/>
                  <a:gd name="T1" fmla="*/ 109 h 199"/>
                  <a:gd name="T2" fmla="*/ 0 w 194"/>
                  <a:gd name="T3" fmla="*/ 154 h 199"/>
                  <a:gd name="T4" fmla="*/ 46 w 194"/>
                  <a:gd name="T5" fmla="*/ 199 h 199"/>
                  <a:gd name="T6" fmla="*/ 92 w 194"/>
                  <a:gd name="T7" fmla="*/ 154 h 199"/>
                  <a:gd name="T8" fmla="*/ 90 w 194"/>
                  <a:gd name="T9" fmla="*/ 141 h 199"/>
                  <a:gd name="T10" fmla="*/ 138 w 194"/>
                  <a:gd name="T11" fmla="*/ 93 h 199"/>
                  <a:gd name="T12" fmla="*/ 149 w 194"/>
                  <a:gd name="T13" fmla="*/ 95 h 199"/>
                  <a:gd name="T14" fmla="*/ 194 w 194"/>
                  <a:gd name="T15" fmla="*/ 48 h 199"/>
                  <a:gd name="T16" fmla="*/ 149 w 194"/>
                  <a:gd name="T17" fmla="*/ 0 h 199"/>
                  <a:gd name="T18" fmla="*/ 104 w 194"/>
                  <a:gd name="T19" fmla="*/ 48 h 199"/>
                  <a:gd name="T20" fmla="*/ 107 w 194"/>
                  <a:gd name="T21" fmla="*/ 65 h 199"/>
                  <a:gd name="T22" fmla="*/ 61 w 194"/>
                  <a:gd name="T23" fmla="*/ 112 h 199"/>
                  <a:gd name="T24" fmla="*/ 46 w 194"/>
                  <a:gd name="T25" fmla="*/ 109 h 199"/>
                  <a:gd name="T26" fmla="*/ 149 w 194"/>
                  <a:gd name="T27" fmla="*/ 20 h 199"/>
                  <a:gd name="T28" fmla="*/ 174 w 194"/>
                  <a:gd name="T29" fmla="*/ 48 h 199"/>
                  <a:gd name="T30" fmla="*/ 149 w 194"/>
                  <a:gd name="T31" fmla="*/ 75 h 199"/>
                  <a:gd name="T32" fmla="*/ 123 w 194"/>
                  <a:gd name="T33" fmla="*/ 48 h 199"/>
                  <a:gd name="T34" fmla="*/ 149 w 194"/>
                  <a:gd name="T35" fmla="*/ 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4" h="199">
                    <a:moveTo>
                      <a:pt x="46" y="109"/>
                    </a:moveTo>
                    <a:cubicBezTo>
                      <a:pt x="21" y="109"/>
                      <a:pt x="0" y="129"/>
                      <a:pt x="0" y="154"/>
                    </a:cubicBezTo>
                    <a:cubicBezTo>
                      <a:pt x="0" y="179"/>
                      <a:pt x="21" y="199"/>
                      <a:pt x="46" y="199"/>
                    </a:cubicBezTo>
                    <a:cubicBezTo>
                      <a:pt x="71" y="199"/>
                      <a:pt x="92" y="179"/>
                      <a:pt x="92" y="154"/>
                    </a:cubicBezTo>
                    <a:cubicBezTo>
                      <a:pt x="92" y="149"/>
                      <a:pt x="91" y="145"/>
                      <a:pt x="90" y="141"/>
                    </a:cubicBezTo>
                    <a:cubicBezTo>
                      <a:pt x="106" y="125"/>
                      <a:pt x="122" y="109"/>
                      <a:pt x="138" y="93"/>
                    </a:cubicBezTo>
                    <a:cubicBezTo>
                      <a:pt x="142" y="94"/>
                      <a:pt x="145" y="95"/>
                      <a:pt x="149" y="95"/>
                    </a:cubicBezTo>
                    <a:cubicBezTo>
                      <a:pt x="173" y="95"/>
                      <a:pt x="194" y="74"/>
                      <a:pt x="194" y="48"/>
                    </a:cubicBezTo>
                    <a:cubicBezTo>
                      <a:pt x="194" y="22"/>
                      <a:pt x="173" y="0"/>
                      <a:pt x="149" y="0"/>
                    </a:cubicBezTo>
                    <a:cubicBezTo>
                      <a:pt x="124" y="0"/>
                      <a:pt x="104" y="22"/>
                      <a:pt x="104" y="48"/>
                    </a:cubicBezTo>
                    <a:cubicBezTo>
                      <a:pt x="104" y="54"/>
                      <a:pt x="105" y="60"/>
                      <a:pt x="107" y="65"/>
                    </a:cubicBezTo>
                    <a:cubicBezTo>
                      <a:pt x="92" y="81"/>
                      <a:pt x="76" y="96"/>
                      <a:pt x="61" y="112"/>
                    </a:cubicBezTo>
                    <a:cubicBezTo>
                      <a:pt x="56" y="110"/>
                      <a:pt x="51" y="109"/>
                      <a:pt x="46" y="109"/>
                    </a:cubicBezTo>
                    <a:close/>
                    <a:moveTo>
                      <a:pt x="149" y="20"/>
                    </a:moveTo>
                    <a:cubicBezTo>
                      <a:pt x="163" y="20"/>
                      <a:pt x="174" y="32"/>
                      <a:pt x="174" y="48"/>
                    </a:cubicBezTo>
                    <a:cubicBezTo>
                      <a:pt x="174" y="63"/>
                      <a:pt x="163" y="75"/>
                      <a:pt x="149" y="75"/>
                    </a:cubicBezTo>
                    <a:cubicBezTo>
                      <a:pt x="135" y="75"/>
                      <a:pt x="123" y="63"/>
                      <a:pt x="123" y="48"/>
                    </a:cubicBezTo>
                    <a:cubicBezTo>
                      <a:pt x="123" y="32"/>
                      <a:pt x="135" y="20"/>
                      <a:pt x="149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3" name="Gruppieren 180"/>
          <p:cNvGrpSpPr/>
          <p:nvPr/>
        </p:nvGrpSpPr>
        <p:grpSpPr bwMode="gray">
          <a:xfrm>
            <a:off x="6085427" y="5420866"/>
            <a:ext cx="5054948" cy="890073"/>
            <a:chOff x="6660803" y="4190046"/>
            <a:chExt cx="5054948" cy="1072067"/>
          </a:xfrm>
        </p:grpSpPr>
        <p:sp>
          <p:nvSpPr>
            <p:cNvPr id="175" name="Freihandform 174"/>
            <p:cNvSpPr/>
            <p:nvPr/>
          </p:nvSpPr>
          <p:spPr bwMode="gray">
            <a:xfrm>
              <a:off x="6761559" y="4295955"/>
              <a:ext cx="4954192" cy="966158"/>
            </a:xfrm>
            <a:custGeom>
              <a:avLst/>
              <a:gdLst>
                <a:gd name="connsiteX0" fmla="*/ 0 w 5296619"/>
                <a:gd name="connsiteY0" fmla="*/ 0 h 966158"/>
                <a:gd name="connsiteX1" fmla="*/ 1026544 w 5296619"/>
                <a:gd name="connsiteY1" fmla="*/ 966158 h 966158"/>
                <a:gd name="connsiteX2" fmla="*/ 5296619 w 5296619"/>
                <a:gd name="connsiteY2" fmla="*/ 966158 h 966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96619" h="966158">
                  <a:moveTo>
                    <a:pt x="0" y="0"/>
                  </a:moveTo>
                  <a:lnTo>
                    <a:pt x="1026544" y="966158"/>
                  </a:lnTo>
                  <a:lnTo>
                    <a:pt x="5296619" y="966158"/>
                  </a:lnTo>
                </a:path>
              </a:pathLst>
            </a:custGeom>
            <a:noFill/>
            <a:ln w="19050">
              <a:solidFill>
                <a:srgbClr val="00646E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6" name="Ellipse 175"/>
            <p:cNvSpPr/>
            <p:nvPr/>
          </p:nvSpPr>
          <p:spPr bwMode="gray">
            <a:xfrm>
              <a:off x="6660803" y="4190046"/>
              <a:ext cx="228190" cy="246767"/>
            </a:xfrm>
            <a:prstGeom prst="ellipse">
              <a:avLst/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24" name="Gruppieren 223"/>
          <p:cNvGrpSpPr/>
          <p:nvPr/>
        </p:nvGrpSpPr>
        <p:grpSpPr>
          <a:xfrm>
            <a:off x="627063" y="5703043"/>
            <a:ext cx="3743920" cy="437199"/>
            <a:chOff x="627063" y="5703043"/>
            <a:chExt cx="3743920" cy="437199"/>
          </a:xfrm>
        </p:grpSpPr>
        <p:sp>
          <p:nvSpPr>
            <p:cNvPr id="171" name="Rechteck 170"/>
            <p:cNvSpPr>
              <a:spLocks/>
            </p:cNvSpPr>
            <p:nvPr/>
          </p:nvSpPr>
          <p:spPr bwMode="gray">
            <a:xfrm>
              <a:off x="627063" y="5894021"/>
              <a:ext cx="3172167" cy="246221"/>
            </a:xfrm>
            <a:prstGeom prst="rect">
              <a:avLst/>
            </a:prstGeom>
            <a:noFill/>
            <a:extLst/>
          </p:spPr>
          <p:txBody>
            <a:bodyPr wrap="square" lIns="0" tIns="0" rIns="0" bIns="0" rtlCol="0">
              <a:spAutoFit/>
            </a:bodyPr>
            <a:lstStyle/>
            <a:p>
              <a:pPr marL="0" lvl="1">
                <a:spcBef>
                  <a:spcPts val="1200"/>
                </a:spcBef>
              </a:pPr>
              <a:r>
                <a:rPr lang="en-US" sz="1600" b="1" dirty="0" smtClean="0">
                  <a:solidFill>
                    <a:schemeClr val="bg1"/>
                  </a:solidFill>
                  <a:latin typeface="+mn-lt"/>
                </a:rPr>
                <a:t>Strong installed base</a:t>
              </a:r>
            </a:p>
          </p:txBody>
        </p:sp>
        <p:sp>
          <p:nvSpPr>
            <p:cNvPr id="262" name="Freeform 6"/>
            <p:cNvSpPr>
              <a:spLocks noChangeAspect="1" noEditPoints="1"/>
            </p:cNvSpPr>
            <p:nvPr/>
          </p:nvSpPr>
          <p:spPr bwMode="auto">
            <a:xfrm>
              <a:off x="4133069" y="5824192"/>
              <a:ext cx="237914" cy="274568"/>
            </a:xfrm>
            <a:custGeom>
              <a:avLst/>
              <a:gdLst>
                <a:gd name="T0" fmla="*/ 0 w 2929"/>
                <a:gd name="T1" fmla="*/ 2315 h 3118"/>
                <a:gd name="T2" fmla="*/ 662 w 2929"/>
                <a:gd name="T3" fmla="*/ 2315 h 3118"/>
                <a:gd name="T4" fmla="*/ 662 w 2929"/>
                <a:gd name="T5" fmla="*/ 2882 h 3118"/>
                <a:gd name="T6" fmla="*/ 189 w 2929"/>
                <a:gd name="T7" fmla="*/ 2882 h 3118"/>
                <a:gd name="T8" fmla="*/ 0 w 2929"/>
                <a:gd name="T9" fmla="*/ 2315 h 3118"/>
                <a:gd name="T10" fmla="*/ 189 w 2929"/>
                <a:gd name="T11" fmla="*/ 1843 h 3118"/>
                <a:gd name="T12" fmla="*/ 662 w 2929"/>
                <a:gd name="T13" fmla="*/ 1843 h 3118"/>
                <a:gd name="T14" fmla="*/ 662 w 2929"/>
                <a:gd name="T15" fmla="*/ 1276 h 3118"/>
                <a:gd name="T16" fmla="*/ 0 w 2929"/>
                <a:gd name="T17" fmla="*/ 1276 h 3118"/>
                <a:gd name="T18" fmla="*/ 189 w 2929"/>
                <a:gd name="T19" fmla="*/ 1843 h 3118"/>
                <a:gd name="T20" fmla="*/ 189 w 2929"/>
                <a:gd name="T21" fmla="*/ 756 h 3118"/>
                <a:gd name="T22" fmla="*/ 662 w 2929"/>
                <a:gd name="T23" fmla="*/ 756 h 3118"/>
                <a:gd name="T24" fmla="*/ 662 w 2929"/>
                <a:gd name="T25" fmla="*/ 189 h 3118"/>
                <a:gd name="T26" fmla="*/ 0 w 2929"/>
                <a:gd name="T27" fmla="*/ 189 h 3118"/>
                <a:gd name="T28" fmla="*/ 189 w 2929"/>
                <a:gd name="T29" fmla="*/ 756 h 3118"/>
                <a:gd name="T30" fmla="*/ 2268 w 2929"/>
                <a:gd name="T31" fmla="*/ 2882 h 3118"/>
                <a:gd name="T32" fmla="*/ 2740 w 2929"/>
                <a:gd name="T33" fmla="*/ 2882 h 3118"/>
                <a:gd name="T34" fmla="*/ 2929 w 2929"/>
                <a:gd name="T35" fmla="*/ 2315 h 3118"/>
                <a:gd name="T36" fmla="*/ 2268 w 2929"/>
                <a:gd name="T37" fmla="*/ 2315 h 3118"/>
                <a:gd name="T38" fmla="*/ 2268 w 2929"/>
                <a:gd name="T39" fmla="*/ 2882 h 3118"/>
                <a:gd name="T40" fmla="*/ 2268 w 2929"/>
                <a:gd name="T41" fmla="*/ 1843 h 3118"/>
                <a:gd name="T42" fmla="*/ 2740 w 2929"/>
                <a:gd name="T43" fmla="*/ 1843 h 3118"/>
                <a:gd name="T44" fmla="*/ 2929 w 2929"/>
                <a:gd name="T45" fmla="*/ 1276 h 3118"/>
                <a:gd name="T46" fmla="*/ 2268 w 2929"/>
                <a:gd name="T47" fmla="*/ 1276 h 3118"/>
                <a:gd name="T48" fmla="*/ 2268 w 2929"/>
                <a:gd name="T49" fmla="*/ 1843 h 3118"/>
                <a:gd name="T50" fmla="*/ 2929 w 2929"/>
                <a:gd name="T51" fmla="*/ 237 h 3118"/>
                <a:gd name="T52" fmla="*/ 2268 w 2929"/>
                <a:gd name="T53" fmla="*/ 237 h 3118"/>
                <a:gd name="T54" fmla="*/ 2268 w 2929"/>
                <a:gd name="T55" fmla="*/ 803 h 3118"/>
                <a:gd name="T56" fmla="*/ 2740 w 2929"/>
                <a:gd name="T57" fmla="*/ 803 h 3118"/>
                <a:gd name="T58" fmla="*/ 2929 w 2929"/>
                <a:gd name="T59" fmla="*/ 237 h 3118"/>
                <a:gd name="T60" fmla="*/ 851 w 2929"/>
                <a:gd name="T61" fmla="*/ 0 h 3118"/>
                <a:gd name="T62" fmla="*/ 2079 w 2929"/>
                <a:gd name="T63" fmla="*/ 0 h 3118"/>
                <a:gd name="T64" fmla="*/ 2079 w 2929"/>
                <a:gd name="T65" fmla="*/ 3118 h 3118"/>
                <a:gd name="T66" fmla="*/ 851 w 2929"/>
                <a:gd name="T67" fmla="*/ 3118 h 3118"/>
                <a:gd name="T68" fmla="*/ 851 w 2929"/>
                <a:gd name="T69" fmla="*/ 0 h 3118"/>
                <a:gd name="T70" fmla="*/ 1181 w 2929"/>
                <a:gd name="T71" fmla="*/ 523 h 3118"/>
                <a:gd name="T72" fmla="*/ 1468 w 2929"/>
                <a:gd name="T73" fmla="*/ 803 h 3118"/>
                <a:gd name="T74" fmla="*/ 1748 w 2929"/>
                <a:gd name="T75" fmla="*/ 516 h 3118"/>
                <a:gd name="T76" fmla="*/ 1461 w 2929"/>
                <a:gd name="T77" fmla="*/ 237 h 3118"/>
                <a:gd name="T78" fmla="*/ 1181 w 2929"/>
                <a:gd name="T79" fmla="*/ 523 h 3118"/>
                <a:gd name="T80" fmla="*/ 1181 w 2929"/>
                <a:gd name="T81" fmla="*/ 1563 h 3118"/>
                <a:gd name="T82" fmla="*/ 1468 w 2929"/>
                <a:gd name="T83" fmla="*/ 1843 h 3118"/>
                <a:gd name="T84" fmla="*/ 1748 w 2929"/>
                <a:gd name="T85" fmla="*/ 1556 h 3118"/>
                <a:gd name="T86" fmla="*/ 1461 w 2929"/>
                <a:gd name="T87" fmla="*/ 1276 h 3118"/>
                <a:gd name="T88" fmla="*/ 1181 w 2929"/>
                <a:gd name="T89" fmla="*/ 1563 h 3118"/>
                <a:gd name="T90" fmla="*/ 1181 w 2929"/>
                <a:gd name="T91" fmla="*/ 2602 h 3118"/>
                <a:gd name="T92" fmla="*/ 1468 w 2929"/>
                <a:gd name="T93" fmla="*/ 2882 h 3118"/>
                <a:gd name="T94" fmla="*/ 1748 w 2929"/>
                <a:gd name="T95" fmla="*/ 2595 h 3118"/>
                <a:gd name="T96" fmla="*/ 1461 w 2929"/>
                <a:gd name="T97" fmla="*/ 2315 h 3118"/>
                <a:gd name="T98" fmla="*/ 1181 w 2929"/>
                <a:gd name="T99" fmla="*/ 2602 h 3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9" h="3118">
                  <a:moveTo>
                    <a:pt x="0" y="2315"/>
                  </a:moveTo>
                  <a:lnTo>
                    <a:pt x="662" y="2315"/>
                  </a:lnTo>
                  <a:lnTo>
                    <a:pt x="662" y="2882"/>
                  </a:lnTo>
                  <a:lnTo>
                    <a:pt x="189" y="2882"/>
                  </a:lnTo>
                  <a:lnTo>
                    <a:pt x="0" y="2315"/>
                  </a:lnTo>
                  <a:close/>
                  <a:moveTo>
                    <a:pt x="189" y="1843"/>
                  </a:moveTo>
                  <a:lnTo>
                    <a:pt x="662" y="1843"/>
                  </a:lnTo>
                  <a:lnTo>
                    <a:pt x="662" y="1276"/>
                  </a:lnTo>
                  <a:lnTo>
                    <a:pt x="0" y="1276"/>
                  </a:lnTo>
                  <a:lnTo>
                    <a:pt x="189" y="1843"/>
                  </a:lnTo>
                  <a:close/>
                  <a:moveTo>
                    <a:pt x="189" y="756"/>
                  </a:moveTo>
                  <a:lnTo>
                    <a:pt x="662" y="756"/>
                  </a:lnTo>
                  <a:lnTo>
                    <a:pt x="662" y="189"/>
                  </a:lnTo>
                  <a:lnTo>
                    <a:pt x="0" y="189"/>
                  </a:lnTo>
                  <a:lnTo>
                    <a:pt x="189" y="756"/>
                  </a:lnTo>
                  <a:close/>
                  <a:moveTo>
                    <a:pt x="2268" y="2882"/>
                  </a:moveTo>
                  <a:lnTo>
                    <a:pt x="2740" y="2882"/>
                  </a:lnTo>
                  <a:lnTo>
                    <a:pt x="2929" y="2315"/>
                  </a:lnTo>
                  <a:lnTo>
                    <a:pt x="2268" y="2315"/>
                  </a:lnTo>
                  <a:lnTo>
                    <a:pt x="2268" y="2882"/>
                  </a:lnTo>
                  <a:close/>
                  <a:moveTo>
                    <a:pt x="2268" y="1843"/>
                  </a:moveTo>
                  <a:lnTo>
                    <a:pt x="2740" y="1843"/>
                  </a:lnTo>
                  <a:lnTo>
                    <a:pt x="2929" y="1276"/>
                  </a:lnTo>
                  <a:lnTo>
                    <a:pt x="2268" y="1276"/>
                  </a:lnTo>
                  <a:lnTo>
                    <a:pt x="2268" y="1843"/>
                  </a:lnTo>
                  <a:close/>
                  <a:moveTo>
                    <a:pt x="2929" y="237"/>
                  </a:moveTo>
                  <a:lnTo>
                    <a:pt x="2268" y="237"/>
                  </a:lnTo>
                  <a:lnTo>
                    <a:pt x="2268" y="803"/>
                  </a:lnTo>
                  <a:lnTo>
                    <a:pt x="2740" y="803"/>
                  </a:lnTo>
                  <a:lnTo>
                    <a:pt x="2929" y="237"/>
                  </a:lnTo>
                  <a:close/>
                  <a:moveTo>
                    <a:pt x="851" y="0"/>
                  </a:moveTo>
                  <a:lnTo>
                    <a:pt x="2079" y="0"/>
                  </a:lnTo>
                  <a:lnTo>
                    <a:pt x="2079" y="3118"/>
                  </a:lnTo>
                  <a:lnTo>
                    <a:pt x="851" y="3118"/>
                  </a:lnTo>
                  <a:lnTo>
                    <a:pt x="851" y="0"/>
                  </a:lnTo>
                  <a:close/>
                  <a:moveTo>
                    <a:pt x="1181" y="523"/>
                  </a:moveTo>
                  <a:cubicBezTo>
                    <a:pt x="1183" y="680"/>
                    <a:pt x="1312" y="805"/>
                    <a:pt x="1468" y="803"/>
                  </a:cubicBezTo>
                  <a:cubicBezTo>
                    <a:pt x="1625" y="801"/>
                    <a:pt x="1750" y="673"/>
                    <a:pt x="1748" y="516"/>
                  </a:cubicBezTo>
                  <a:cubicBezTo>
                    <a:pt x="1746" y="360"/>
                    <a:pt x="1618" y="235"/>
                    <a:pt x="1461" y="237"/>
                  </a:cubicBezTo>
                  <a:cubicBezTo>
                    <a:pt x="1305" y="238"/>
                    <a:pt x="1179" y="367"/>
                    <a:pt x="1181" y="523"/>
                  </a:cubicBezTo>
                  <a:close/>
                  <a:moveTo>
                    <a:pt x="1181" y="1563"/>
                  </a:moveTo>
                  <a:cubicBezTo>
                    <a:pt x="1183" y="1719"/>
                    <a:pt x="1312" y="1845"/>
                    <a:pt x="1468" y="1843"/>
                  </a:cubicBezTo>
                  <a:cubicBezTo>
                    <a:pt x="1625" y="1841"/>
                    <a:pt x="1750" y="1712"/>
                    <a:pt x="1748" y="1556"/>
                  </a:cubicBezTo>
                  <a:cubicBezTo>
                    <a:pt x="1746" y="1399"/>
                    <a:pt x="1618" y="1274"/>
                    <a:pt x="1461" y="1276"/>
                  </a:cubicBezTo>
                  <a:cubicBezTo>
                    <a:pt x="1305" y="1278"/>
                    <a:pt x="1179" y="1406"/>
                    <a:pt x="1181" y="1563"/>
                  </a:cubicBezTo>
                  <a:close/>
                  <a:moveTo>
                    <a:pt x="1181" y="2602"/>
                  </a:moveTo>
                  <a:cubicBezTo>
                    <a:pt x="1183" y="2759"/>
                    <a:pt x="1312" y="2884"/>
                    <a:pt x="1468" y="2882"/>
                  </a:cubicBezTo>
                  <a:cubicBezTo>
                    <a:pt x="1625" y="2880"/>
                    <a:pt x="1750" y="2752"/>
                    <a:pt x="1748" y="2595"/>
                  </a:cubicBezTo>
                  <a:cubicBezTo>
                    <a:pt x="1746" y="2439"/>
                    <a:pt x="1618" y="2313"/>
                    <a:pt x="1461" y="2315"/>
                  </a:cubicBezTo>
                  <a:cubicBezTo>
                    <a:pt x="1305" y="2317"/>
                    <a:pt x="1179" y="2446"/>
                    <a:pt x="1181" y="2602"/>
                  </a:cubicBezTo>
                </a:path>
              </a:pathLst>
            </a:custGeom>
            <a:solidFill>
              <a:srgbClr val="005F8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669"/>
                </a:solidFill>
              </a:endParaRPr>
            </a:p>
          </p:txBody>
        </p:sp>
        <p:sp>
          <p:nvSpPr>
            <p:cNvPr id="263" name="Freeform 6"/>
            <p:cNvSpPr>
              <a:spLocks noChangeAspect="1" noEditPoints="1"/>
            </p:cNvSpPr>
            <p:nvPr/>
          </p:nvSpPr>
          <p:spPr bwMode="auto">
            <a:xfrm>
              <a:off x="3021753" y="5834299"/>
              <a:ext cx="355354" cy="274568"/>
            </a:xfrm>
            <a:custGeom>
              <a:avLst/>
              <a:gdLst>
                <a:gd name="T0" fmla="*/ 3023 w 4346"/>
                <a:gd name="T1" fmla="*/ 0 h 2740"/>
                <a:gd name="T2" fmla="*/ 3023 w 4346"/>
                <a:gd name="T3" fmla="*/ 2079 h 2740"/>
                <a:gd name="T4" fmla="*/ 3401 w 4346"/>
                <a:gd name="T5" fmla="*/ 2079 h 2740"/>
                <a:gd name="T6" fmla="*/ 3401 w 4346"/>
                <a:gd name="T7" fmla="*/ 2268 h 2740"/>
                <a:gd name="T8" fmla="*/ 2645 w 4346"/>
                <a:gd name="T9" fmla="*/ 2268 h 2740"/>
                <a:gd name="T10" fmla="*/ 2645 w 4346"/>
                <a:gd name="T11" fmla="*/ 2079 h 2740"/>
                <a:gd name="T12" fmla="*/ 2834 w 4346"/>
                <a:gd name="T13" fmla="*/ 2079 h 2740"/>
                <a:gd name="T14" fmla="*/ 2834 w 4346"/>
                <a:gd name="T15" fmla="*/ 0 h 2740"/>
                <a:gd name="T16" fmla="*/ 1511 w 4346"/>
                <a:gd name="T17" fmla="*/ 0 h 2740"/>
                <a:gd name="T18" fmla="*/ 1511 w 4346"/>
                <a:gd name="T19" fmla="*/ 2079 h 2740"/>
                <a:gd name="T20" fmla="*/ 1700 w 4346"/>
                <a:gd name="T21" fmla="*/ 2079 h 2740"/>
                <a:gd name="T22" fmla="*/ 1700 w 4346"/>
                <a:gd name="T23" fmla="*/ 2268 h 2740"/>
                <a:gd name="T24" fmla="*/ 850 w 4346"/>
                <a:gd name="T25" fmla="*/ 2268 h 2740"/>
                <a:gd name="T26" fmla="*/ 850 w 4346"/>
                <a:gd name="T27" fmla="*/ 2079 h 2740"/>
                <a:gd name="T28" fmla="*/ 1322 w 4346"/>
                <a:gd name="T29" fmla="*/ 2079 h 2740"/>
                <a:gd name="T30" fmla="*/ 1322 w 4346"/>
                <a:gd name="T31" fmla="*/ 0 h 2740"/>
                <a:gd name="T32" fmla="*/ 0 w 4346"/>
                <a:gd name="T33" fmla="*/ 0 h 2740"/>
                <a:gd name="T34" fmla="*/ 0 w 4346"/>
                <a:gd name="T35" fmla="*/ 2079 h 2740"/>
                <a:gd name="T36" fmla="*/ 661 w 4346"/>
                <a:gd name="T37" fmla="*/ 2079 h 2740"/>
                <a:gd name="T38" fmla="*/ 661 w 4346"/>
                <a:gd name="T39" fmla="*/ 2457 h 2740"/>
                <a:gd name="T40" fmla="*/ 1889 w 4346"/>
                <a:gd name="T41" fmla="*/ 2457 h 2740"/>
                <a:gd name="T42" fmla="*/ 1889 w 4346"/>
                <a:gd name="T43" fmla="*/ 2079 h 2740"/>
                <a:gd name="T44" fmla="*/ 2078 w 4346"/>
                <a:gd name="T45" fmla="*/ 2079 h 2740"/>
                <a:gd name="T46" fmla="*/ 2078 w 4346"/>
                <a:gd name="T47" fmla="*/ 2740 h 2740"/>
                <a:gd name="T48" fmla="*/ 2267 w 4346"/>
                <a:gd name="T49" fmla="*/ 2740 h 2740"/>
                <a:gd name="T50" fmla="*/ 2267 w 4346"/>
                <a:gd name="T51" fmla="*/ 2079 h 2740"/>
                <a:gd name="T52" fmla="*/ 2456 w 4346"/>
                <a:gd name="T53" fmla="*/ 2079 h 2740"/>
                <a:gd name="T54" fmla="*/ 2456 w 4346"/>
                <a:gd name="T55" fmla="*/ 2457 h 2740"/>
                <a:gd name="T56" fmla="*/ 3590 w 4346"/>
                <a:gd name="T57" fmla="*/ 2457 h 2740"/>
                <a:gd name="T58" fmla="*/ 3590 w 4346"/>
                <a:gd name="T59" fmla="*/ 2079 h 2740"/>
                <a:gd name="T60" fmla="*/ 4346 w 4346"/>
                <a:gd name="T61" fmla="*/ 2079 h 2740"/>
                <a:gd name="T62" fmla="*/ 4346 w 4346"/>
                <a:gd name="T63" fmla="*/ 0 h 2740"/>
                <a:gd name="T64" fmla="*/ 3023 w 4346"/>
                <a:gd name="T65" fmla="*/ 0 h 2740"/>
                <a:gd name="T66" fmla="*/ 332 w 4346"/>
                <a:gd name="T67" fmla="*/ 1892 h 2740"/>
                <a:gd name="T68" fmla="*/ 186 w 4346"/>
                <a:gd name="T69" fmla="*/ 1750 h 2740"/>
                <a:gd name="T70" fmla="*/ 329 w 4346"/>
                <a:gd name="T71" fmla="*/ 1604 h 2740"/>
                <a:gd name="T72" fmla="*/ 474 w 4346"/>
                <a:gd name="T73" fmla="*/ 1747 h 2740"/>
                <a:gd name="T74" fmla="*/ 332 w 4346"/>
                <a:gd name="T75" fmla="*/ 1892 h 2740"/>
                <a:gd name="T76" fmla="*/ 567 w 4346"/>
                <a:gd name="T77" fmla="*/ 381 h 2740"/>
                <a:gd name="T78" fmla="*/ 567 w 4346"/>
                <a:gd name="T79" fmla="*/ 187 h 2740"/>
                <a:gd name="T80" fmla="*/ 1134 w 4346"/>
                <a:gd name="T81" fmla="*/ 187 h 2740"/>
                <a:gd name="T82" fmla="*/ 1134 w 4346"/>
                <a:gd name="T83" fmla="*/ 381 h 2740"/>
                <a:gd name="T84" fmla="*/ 567 w 4346"/>
                <a:gd name="T85" fmla="*/ 381 h 2740"/>
                <a:gd name="T86" fmla="*/ 1844 w 4346"/>
                <a:gd name="T87" fmla="*/ 1892 h 2740"/>
                <a:gd name="T88" fmla="*/ 1698 w 4346"/>
                <a:gd name="T89" fmla="*/ 1750 h 2740"/>
                <a:gd name="T90" fmla="*/ 1840 w 4346"/>
                <a:gd name="T91" fmla="*/ 1604 h 2740"/>
                <a:gd name="T92" fmla="*/ 1986 w 4346"/>
                <a:gd name="T93" fmla="*/ 1747 h 2740"/>
                <a:gd name="T94" fmla="*/ 1844 w 4346"/>
                <a:gd name="T95" fmla="*/ 1892 h 2740"/>
                <a:gd name="T96" fmla="*/ 2078 w 4346"/>
                <a:gd name="T97" fmla="*/ 381 h 2740"/>
                <a:gd name="T98" fmla="*/ 2078 w 4346"/>
                <a:gd name="T99" fmla="*/ 187 h 2740"/>
                <a:gd name="T100" fmla="*/ 2645 w 4346"/>
                <a:gd name="T101" fmla="*/ 187 h 2740"/>
                <a:gd name="T102" fmla="*/ 2645 w 4346"/>
                <a:gd name="T103" fmla="*/ 381 h 2740"/>
                <a:gd name="T104" fmla="*/ 2078 w 4346"/>
                <a:gd name="T105" fmla="*/ 381 h 2740"/>
                <a:gd name="T106" fmla="*/ 3356 w 4346"/>
                <a:gd name="T107" fmla="*/ 1892 h 2740"/>
                <a:gd name="T108" fmla="*/ 3210 w 4346"/>
                <a:gd name="T109" fmla="*/ 1750 h 2740"/>
                <a:gd name="T110" fmla="*/ 3352 w 4346"/>
                <a:gd name="T111" fmla="*/ 1604 h 2740"/>
                <a:gd name="T112" fmla="*/ 3498 w 4346"/>
                <a:gd name="T113" fmla="*/ 1747 h 2740"/>
                <a:gd name="T114" fmla="*/ 3356 w 4346"/>
                <a:gd name="T115" fmla="*/ 1892 h 2740"/>
                <a:gd name="T116" fmla="*/ 4157 w 4346"/>
                <a:gd name="T117" fmla="*/ 381 h 2740"/>
                <a:gd name="T118" fmla="*/ 3590 w 4346"/>
                <a:gd name="T119" fmla="*/ 381 h 2740"/>
                <a:gd name="T120" fmla="*/ 3590 w 4346"/>
                <a:gd name="T121" fmla="*/ 187 h 2740"/>
                <a:gd name="T122" fmla="*/ 4157 w 4346"/>
                <a:gd name="T123" fmla="*/ 187 h 2740"/>
                <a:gd name="T124" fmla="*/ 4157 w 4346"/>
                <a:gd name="T125" fmla="*/ 381 h 2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46" h="2740">
                  <a:moveTo>
                    <a:pt x="3023" y="0"/>
                  </a:moveTo>
                  <a:lnTo>
                    <a:pt x="3023" y="2079"/>
                  </a:lnTo>
                  <a:lnTo>
                    <a:pt x="3401" y="2079"/>
                  </a:lnTo>
                  <a:lnTo>
                    <a:pt x="3401" y="2268"/>
                  </a:lnTo>
                  <a:lnTo>
                    <a:pt x="2645" y="2268"/>
                  </a:lnTo>
                  <a:lnTo>
                    <a:pt x="2645" y="2079"/>
                  </a:lnTo>
                  <a:lnTo>
                    <a:pt x="2834" y="2079"/>
                  </a:lnTo>
                  <a:lnTo>
                    <a:pt x="2834" y="0"/>
                  </a:lnTo>
                  <a:lnTo>
                    <a:pt x="1511" y="0"/>
                  </a:lnTo>
                  <a:lnTo>
                    <a:pt x="1511" y="2079"/>
                  </a:lnTo>
                  <a:lnTo>
                    <a:pt x="1700" y="2079"/>
                  </a:lnTo>
                  <a:lnTo>
                    <a:pt x="1700" y="2268"/>
                  </a:lnTo>
                  <a:lnTo>
                    <a:pt x="850" y="2268"/>
                  </a:lnTo>
                  <a:lnTo>
                    <a:pt x="850" y="2079"/>
                  </a:lnTo>
                  <a:lnTo>
                    <a:pt x="1322" y="2079"/>
                  </a:lnTo>
                  <a:lnTo>
                    <a:pt x="1322" y="0"/>
                  </a:lnTo>
                  <a:lnTo>
                    <a:pt x="0" y="0"/>
                  </a:lnTo>
                  <a:lnTo>
                    <a:pt x="0" y="2079"/>
                  </a:lnTo>
                  <a:lnTo>
                    <a:pt x="661" y="2079"/>
                  </a:lnTo>
                  <a:lnTo>
                    <a:pt x="661" y="2457"/>
                  </a:lnTo>
                  <a:lnTo>
                    <a:pt x="1889" y="2457"/>
                  </a:lnTo>
                  <a:lnTo>
                    <a:pt x="1889" y="2079"/>
                  </a:lnTo>
                  <a:lnTo>
                    <a:pt x="2078" y="2079"/>
                  </a:lnTo>
                  <a:lnTo>
                    <a:pt x="2078" y="2740"/>
                  </a:lnTo>
                  <a:lnTo>
                    <a:pt x="2267" y="2740"/>
                  </a:lnTo>
                  <a:lnTo>
                    <a:pt x="2267" y="2079"/>
                  </a:lnTo>
                  <a:lnTo>
                    <a:pt x="2456" y="2079"/>
                  </a:lnTo>
                  <a:lnTo>
                    <a:pt x="2456" y="2457"/>
                  </a:lnTo>
                  <a:lnTo>
                    <a:pt x="3590" y="2457"/>
                  </a:lnTo>
                  <a:lnTo>
                    <a:pt x="3590" y="2079"/>
                  </a:lnTo>
                  <a:lnTo>
                    <a:pt x="4346" y="2079"/>
                  </a:lnTo>
                  <a:lnTo>
                    <a:pt x="4346" y="0"/>
                  </a:lnTo>
                  <a:lnTo>
                    <a:pt x="3023" y="0"/>
                  </a:lnTo>
                  <a:close/>
                  <a:moveTo>
                    <a:pt x="332" y="1892"/>
                  </a:moveTo>
                  <a:cubicBezTo>
                    <a:pt x="253" y="1893"/>
                    <a:pt x="187" y="1830"/>
                    <a:pt x="186" y="1750"/>
                  </a:cubicBezTo>
                  <a:cubicBezTo>
                    <a:pt x="185" y="1671"/>
                    <a:pt x="249" y="1605"/>
                    <a:pt x="329" y="1604"/>
                  </a:cubicBezTo>
                  <a:cubicBezTo>
                    <a:pt x="408" y="1603"/>
                    <a:pt x="473" y="1667"/>
                    <a:pt x="474" y="1747"/>
                  </a:cubicBezTo>
                  <a:cubicBezTo>
                    <a:pt x="475" y="1826"/>
                    <a:pt x="412" y="1891"/>
                    <a:pt x="332" y="1892"/>
                  </a:cubicBezTo>
                  <a:close/>
                  <a:moveTo>
                    <a:pt x="567" y="381"/>
                  </a:moveTo>
                  <a:lnTo>
                    <a:pt x="567" y="187"/>
                  </a:lnTo>
                  <a:lnTo>
                    <a:pt x="1134" y="187"/>
                  </a:lnTo>
                  <a:lnTo>
                    <a:pt x="1134" y="381"/>
                  </a:lnTo>
                  <a:lnTo>
                    <a:pt x="567" y="381"/>
                  </a:lnTo>
                  <a:close/>
                  <a:moveTo>
                    <a:pt x="1844" y="1892"/>
                  </a:moveTo>
                  <a:cubicBezTo>
                    <a:pt x="1764" y="1893"/>
                    <a:pt x="1699" y="1830"/>
                    <a:pt x="1698" y="1750"/>
                  </a:cubicBezTo>
                  <a:cubicBezTo>
                    <a:pt x="1697" y="1671"/>
                    <a:pt x="1761" y="1605"/>
                    <a:pt x="1840" y="1604"/>
                  </a:cubicBezTo>
                  <a:cubicBezTo>
                    <a:pt x="1920" y="1603"/>
                    <a:pt x="1985" y="1667"/>
                    <a:pt x="1986" y="1747"/>
                  </a:cubicBezTo>
                  <a:cubicBezTo>
                    <a:pt x="1987" y="1826"/>
                    <a:pt x="1924" y="1891"/>
                    <a:pt x="1844" y="1892"/>
                  </a:cubicBezTo>
                  <a:close/>
                  <a:moveTo>
                    <a:pt x="2078" y="381"/>
                  </a:moveTo>
                  <a:lnTo>
                    <a:pt x="2078" y="187"/>
                  </a:lnTo>
                  <a:lnTo>
                    <a:pt x="2645" y="187"/>
                  </a:lnTo>
                  <a:lnTo>
                    <a:pt x="2645" y="381"/>
                  </a:lnTo>
                  <a:lnTo>
                    <a:pt x="2078" y="381"/>
                  </a:lnTo>
                  <a:close/>
                  <a:moveTo>
                    <a:pt x="3356" y="1892"/>
                  </a:moveTo>
                  <a:cubicBezTo>
                    <a:pt x="3276" y="1893"/>
                    <a:pt x="3211" y="1830"/>
                    <a:pt x="3210" y="1750"/>
                  </a:cubicBezTo>
                  <a:cubicBezTo>
                    <a:pt x="3209" y="1671"/>
                    <a:pt x="3273" y="1605"/>
                    <a:pt x="3352" y="1604"/>
                  </a:cubicBezTo>
                  <a:cubicBezTo>
                    <a:pt x="3432" y="1603"/>
                    <a:pt x="3497" y="1667"/>
                    <a:pt x="3498" y="1747"/>
                  </a:cubicBezTo>
                  <a:cubicBezTo>
                    <a:pt x="3499" y="1826"/>
                    <a:pt x="3435" y="1891"/>
                    <a:pt x="3356" y="1892"/>
                  </a:cubicBezTo>
                  <a:close/>
                  <a:moveTo>
                    <a:pt x="4157" y="381"/>
                  </a:moveTo>
                  <a:lnTo>
                    <a:pt x="3590" y="381"/>
                  </a:lnTo>
                  <a:lnTo>
                    <a:pt x="3590" y="187"/>
                  </a:lnTo>
                  <a:lnTo>
                    <a:pt x="4157" y="187"/>
                  </a:lnTo>
                  <a:lnTo>
                    <a:pt x="4157" y="381"/>
                  </a:lnTo>
                </a:path>
              </a:pathLst>
            </a:custGeom>
            <a:solidFill>
              <a:srgbClr val="005F8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669"/>
                </a:solidFill>
              </a:endParaRPr>
            </a:p>
          </p:txBody>
        </p:sp>
        <p:grpSp>
          <p:nvGrpSpPr>
            <p:cNvPr id="265" name="Group 5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3644528" y="5703043"/>
              <a:ext cx="299548" cy="397566"/>
              <a:chOff x="146" y="4104"/>
              <a:chExt cx="804" cy="1039"/>
            </a:xfrm>
            <a:solidFill>
              <a:srgbClr val="005F87"/>
            </a:solidFill>
          </p:grpSpPr>
          <p:sp>
            <p:nvSpPr>
              <p:cNvPr id="266" name="Freeform 55"/>
              <p:cNvSpPr>
                <a:spLocks/>
              </p:cNvSpPr>
              <p:nvPr/>
            </p:nvSpPr>
            <p:spPr bwMode="gray">
              <a:xfrm>
                <a:off x="149" y="4952"/>
                <a:ext cx="798" cy="191"/>
              </a:xfrm>
              <a:custGeom>
                <a:avLst/>
                <a:gdLst>
                  <a:gd name="T0" fmla="*/ 798 w 798"/>
                  <a:gd name="T1" fmla="*/ 191 h 191"/>
                  <a:gd name="T2" fmla="*/ 607 w 798"/>
                  <a:gd name="T3" fmla="*/ 0 h 191"/>
                  <a:gd name="T4" fmla="*/ 508 w 798"/>
                  <a:gd name="T5" fmla="*/ 0 h 191"/>
                  <a:gd name="T6" fmla="*/ 569 w 798"/>
                  <a:gd name="T7" fmla="*/ 61 h 191"/>
                  <a:gd name="T8" fmla="*/ 229 w 798"/>
                  <a:gd name="T9" fmla="*/ 61 h 191"/>
                  <a:gd name="T10" fmla="*/ 290 w 798"/>
                  <a:gd name="T11" fmla="*/ 0 h 191"/>
                  <a:gd name="T12" fmla="*/ 191 w 798"/>
                  <a:gd name="T13" fmla="*/ 0 h 191"/>
                  <a:gd name="T14" fmla="*/ 0 w 798"/>
                  <a:gd name="T15" fmla="*/ 191 h 191"/>
                  <a:gd name="T16" fmla="*/ 99 w 798"/>
                  <a:gd name="T17" fmla="*/ 191 h 191"/>
                  <a:gd name="T18" fmla="*/ 160 w 798"/>
                  <a:gd name="T19" fmla="*/ 130 h 191"/>
                  <a:gd name="T20" fmla="*/ 637 w 798"/>
                  <a:gd name="T21" fmla="*/ 130 h 191"/>
                  <a:gd name="T22" fmla="*/ 637 w 798"/>
                  <a:gd name="T23" fmla="*/ 129 h 191"/>
                  <a:gd name="T24" fmla="*/ 699 w 798"/>
                  <a:gd name="T25" fmla="*/ 191 h 191"/>
                  <a:gd name="T26" fmla="*/ 798 w 798"/>
                  <a:gd name="T27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8" h="191">
                    <a:moveTo>
                      <a:pt x="798" y="191"/>
                    </a:moveTo>
                    <a:lnTo>
                      <a:pt x="607" y="0"/>
                    </a:lnTo>
                    <a:lnTo>
                      <a:pt x="508" y="0"/>
                    </a:lnTo>
                    <a:lnTo>
                      <a:pt x="569" y="61"/>
                    </a:lnTo>
                    <a:lnTo>
                      <a:pt x="229" y="61"/>
                    </a:lnTo>
                    <a:lnTo>
                      <a:pt x="290" y="0"/>
                    </a:lnTo>
                    <a:lnTo>
                      <a:pt x="191" y="0"/>
                    </a:lnTo>
                    <a:lnTo>
                      <a:pt x="0" y="191"/>
                    </a:lnTo>
                    <a:lnTo>
                      <a:pt x="99" y="191"/>
                    </a:lnTo>
                    <a:lnTo>
                      <a:pt x="160" y="130"/>
                    </a:lnTo>
                    <a:lnTo>
                      <a:pt x="637" y="130"/>
                    </a:lnTo>
                    <a:lnTo>
                      <a:pt x="637" y="129"/>
                    </a:lnTo>
                    <a:lnTo>
                      <a:pt x="699" y="191"/>
                    </a:lnTo>
                    <a:lnTo>
                      <a:pt x="798" y="1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00" kern="1400" dirty="0">
                  <a:solidFill>
                    <a:srgbClr val="004669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267" name="Freeform 56"/>
              <p:cNvSpPr>
                <a:spLocks noEditPoints="1"/>
              </p:cNvSpPr>
              <p:nvPr/>
            </p:nvSpPr>
            <p:spPr bwMode="gray">
              <a:xfrm>
                <a:off x="146" y="4104"/>
                <a:ext cx="804" cy="814"/>
              </a:xfrm>
              <a:custGeom>
                <a:avLst/>
                <a:gdLst>
                  <a:gd name="T0" fmla="*/ 616 w 618"/>
                  <a:gd name="T1" fmla="*/ 533 h 627"/>
                  <a:gd name="T2" fmla="*/ 597 w 618"/>
                  <a:gd name="T3" fmla="*/ 93 h 627"/>
                  <a:gd name="T4" fmla="*/ 498 w 618"/>
                  <a:gd name="T5" fmla="*/ 0 h 627"/>
                  <a:gd name="T6" fmla="*/ 120 w 618"/>
                  <a:gd name="T7" fmla="*/ 0 h 627"/>
                  <a:gd name="T8" fmla="*/ 21 w 618"/>
                  <a:gd name="T9" fmla="*/ 93 h 627"/>
                  <a:gd name="T10" fmla="*/ 2 w 618"/>
                  <a:gd name="T11" fmla="*/ 533 h 627"/>
                  <a:gd name="T12" fmla="*/ 93 w 618"/>
                  <a:gd name="T13" fmla="*/ 627 h 627"/>
                  <a:gd name="T14" fmla="*/ 525 w 618"/>
                  <a:gd name="T15" fmla="*/ 627 h 627"/>
                  <a:gd name="T16" fmla="*/ 616 w 618"/>
                  <a:gd name="T17" fmla="*/ 533 h 627"/>
                  <a:gd name="T18" fmla="*/ 109 w 618"/>
                  <a:gd name="T19" fmla="*/ 553 h 627"/>
                  <a:gd name="T20" fmla="*/ 69 w 618"/>
                  <a:gd name="T21" fmla="*/ 513 h 627"/>
                  <a:gd name="T22" fmla="*/ 109 w 618"/>
                  <a:gd name="T23" fmla="*/ 473 h 627"/>
                  <a:gd name="T24" fmla="*/ 149 w 618"/>
                  <a:gd name="T25" fmla="*/ 513 h 627"/>
                  <a:gd name="T26" fmla="*/ 109 w 618"/>
                  <a:gd name="T27" fmla="*/ 553 h 627"/>
                  <a:gd name="T28" fmla="*/ 509 w 618"/>
                  <a:gd name="T29" fmla="*/ 553 h 627"/>
                  <a:gd name="T30" fmla="*/ 469 w 618"/>
                  <a:gd name="T31" fmla="*/ 513 h 627"/>
                  <a:gd name="T32" fmla="*/ 509 w 618"/>
                  <a:gd name="T33" fmla="*/ 473 h 627"/>
                  <a:gd name="T34" fmla="*/ 549 w 618"/>
                  <a:gd name="T35" fmla="*/ 513 h 627"/>
                  <a:gd name="T36" fmla="*/ 509 w 618"/>
                  <a:gd name="T37" fmla="*/ 553 h 627"/>
                  <a:gd name="T38" fmla="*/ 526 w 618"/>
                  <a:gd name="T39" fmla="*/ 301 h 627"/>
                  <a:gd name="T40" fmla="*/ 92 w 618"/>
                  <a:gd name="T41" fmla="*/ 301 h 627"/>
                  <a:gd name="T42" fmla="*/ 67 w 618"/>
                  <a:gd name="T43" fmla="*/ 274 h 627"/>
                  <a:gd name="T44" fmla="*/ 73 w 618"/>
                  <a:gd name="T45" fmla="*/ 127 h 627"/>
                  <a:gd name="T46" fmla="*/ 101 w 618"/>
                  <a:gd name="T47" fmla="*/ 101 h 627"/>
                  <a:gd name="T48" fmla="*/ 517 w 618"/>
                  <a:gd name="T49" fmla="*/ 101 h 627"/>
                  <a:gd name="T50" fmla="*/ 545 w 618"/>
                  <a:gd name="T51" fmla="*/ 127 h 627"/>
                  <a:gd name="T52" fmla="*/ 551 w 618"/>
                  <a:gd name="T53" fmla="*/ 274 h 627"/>
                  <a:gd name="T54" fmla="*/ 526 w 618"/>
                  <a:gd name="T55" fmla="*/ 301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18" h="627">
                    <a:moveTo>
                      <a:pt x="616" y="533"/>
                    </a:moveTo>
                    <a:cubicBezTo>
                      <a:pt x="597" y="93"/>
                      <a:pt x="597" y="93"/>
                      <a:pt x="597" y="93"/>
                    </a:cubicBezTo>
                    <a:cubicBezTo>
                      <a:pt x="594" y="42"/>
                      <a:pt x="550" y="0"/>
                      <a:pt x="498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68" y="0"/>
                      <a:pt x="24" y="42"/>
                      <a:pt x="21" y="93"/>
                    </a:cubicBezTo>
                    <a:cubicBezTo>
                      <a:pt x="2" y="533"/>
                      <a:pt x="2" y="533"/>
                      <a:pt x="2" y="533"/>
                    </a:cubicBezTo>
                    <a:cubicBezTo>
                      <a:pt x="0" y="585"/>
                      <a:pt x="41" y="627"/>
                      <a:pt x="93" y="627"/>
                    </a:cubicBezTo>
                    <a:cubicBezTo>
                      <a:pt x="525" y="627"/>
                      <a:pt x="525" y="627"/>
                      <a:pt x="525" y="627"/>
                    </a:cubicBezTo>
                    <a:cubicBezTo>
                      <a:pt x="577" y="627"/>
                      <a:pt x="618" y="585"/>
                      <a:pt x="616" y="533"/>
                    </a:cubicBezTo>
                    <a:close/>
                    <a:moveTo>
                      <a:pt x="109" y="553"/>
                    </a:moveTo>
                    <a:cubicBezTo>
                      <a:pt x="87" y="553"/>
                      <a:pt x="69" y="535"/>
                      <a:pt x="69" y="513"/>
                    </a:cubicBezTo>
                    <a:cubicBezTo>
                      <a:pt x="69" y="491"/>
                      <a:pt x="87" y="473"/>
                      <a:pt x="109" y="473"/>
                    </a:cubicBezTo>
                    <a:cubicBezTo>
                      <a:pt x="131" y="473"/>
                      <a:pt x="149" y="491"/>
                      <a:pt x="149" y="513"/>
                    </a:cubicBezTo>
                    <a:cubicBezTo>
                      <a:pt x="149" y="535"/>
                      <a:pt x="131" y="553"/>
                      <a:pt x="109" y="553"/>
                    </a:cubicBezTo>
                    <a:close/>
                    <a:moveTo>
                      <a:pt x="509" y="553"/>
                    </a:moveTo>
                    <a:cubicBezTo>
                      <a:pt x="487" y="553"/>
                      <a:pt x="469" y="535"/>
                      <a:pt x="469" y="513"/>
                    </a:cubicBezTo>
                    <a:cubicBezTo>
                      <a:pt x="469" y="491"/>
                      <a:pt x="487" y="473"/>
                      <a:pt x="509" y="473"/>
                    </a:cubicBezTo>
                    <a:cubicBezTo>
                      <a:pt x="531" y="473"/>
                      <a:pt x="549" y="491"/>
                      <a:pt x="549" y="513"/>
                    </a:cubicBezTo>
                    <a:cubicBezTo>
                      <a:pt x="549" y="535"/>
                      <a:pt x="531" y="553"/>
                      <a:pt x="509" y="553"/>
                    </a:cubicBezTo>
                    <a:close/>
                    <a:moveTo>
                      <a:pt x="526" y="301"/>
                    </a:moveTo>
                    <a:cubicBezTo>
                      <a:pt x="92" y="301"/>
                      <a:pt x="92" y="301"/>
                      <a:pt x="92" y="301"/>
                    </a:cubicBezTo>
                    <a:cubicBezTo>
                      <a:pt x="78" y="301"/>
                      <a:pt x="66" y="289"/>
                      <a:pt x="67" y="274"/>
                    </a:cubicBezTo>
                    <a:cubicBezTo>
                      <a:pt x="73" y="127"/>
                      <a:pt x="73" y="127"/>
                      <a:pt x="73" y="127"/>
                    </a:cubicBezTo>
                    <a:cubicBezTo>
                      <a:pt x="74" y="113"/>
                      <a:pt x="86" y="101"/>
                      <a:pt x="101" y="101"/>
                    </a:cubicBezTo>
                    <a:cubicBezTo>
                      <a:pt x="517" y="101"/>
                      <a:pt x="517" y="101"/>
                      <a:pt x="517" y="101"/>
                    </a:cubicBezTo>
                    <a:cubicBezTo>
                      <a:pt x="532" y="101"/>
                      <a:pt x="544" y="113"/>
                      <a:pt x="545" y="127"/>
                    </a:cubicBezTo>
                    <a:cubicBezTo>
                      <a:pt x="551" y="274"/>
                      <a:pt x="551" y="274"/>
                      <a:pt x="551" y="274"/>
                    </a:cubicBezTo>
                    <a:cubicBezTo>
                      <a:pt x="552" y="289"/>
                      <a:pt x="540" y="301"/>
                      <a:pt x="526" y="3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00" kern="1400" dirty="0">
                  <a:solidFill>
                    <a:srgbClr val="004669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</p:grpSp>
      <p:grpSp>
        <p:nvGrpSpPr>
          <p:cNvPr id="256" name="Group 255"/>
          <p:cNvGrpSpPr/>
          <p:nvPr/>
        </p:nvGrpSpPr>
        <p:grpSpPr>
          <a:xfrm>
            <a:off x="9556799" y="336550"/>
            <a:ext cx="2159000" cy="712950"/>
            <a:chOff x="9664811" y="336550"/>
            <a:chExt cx="2159000" cy="712950"/>
          </a:xfrm>
        </p:grpSpPr>
        <p:sp>
          <p:nvSpPr>
            <p:cNvPr id="257" name="Rectangle 34"/>
            <p:cNvSpPr>
              <a:spLocks noChangeArrowheads="1"/>
            </p:cNvSpPr>
            <p:nvPr userDrawn="1"/>
          </p:nvSpPr>
          <p:spPr bwMode="auto">
            <a:xfrm>
              <a:off x="9664811" y="336550"/>
              <a:ext cx="2159000" cy="7129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grpSp>
          <p:nvGrpSpPr>
            <p:cNvPr id="258" name="Group 257"/>
            <p:cNvGrpSpPr/>
            <p:nvPr userDrawn="1"/>
          </p:nvGrpSpPr>
          <p:grpSpPr>
            <a:xfrm>
              <a:off x="10003742" y="563563"/>
              <a:ext cx="1481138" cy="234950"/>
              <a:chOff x="9782176" y="550863"/>
              <a:chExt cx="1481138" cy="234950"/>
            </a:xfrm>
          </p:grpSpPr>
          <p:sp>
            <p:nvSpPr>
              <p:cNvPr id="259" name="Freeform 52"/>
              <p:cNvSpPr>
                <a:spLocks/>
              </p:cNvSpPr>
              <p:nvPr userDrawn="1"/>
            </p:nvSpPr>
            <p:spPr bwMode="auto">
              <a:xfrm>
                <a:off x="9782176" y="550863"/>
                <a:ext cx="173038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60" name="Freeform 53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225425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61" name="Freeform 54"/>
              <p:cNvSpPr>
                <a:spLocks/>
              </p:cNvSpPr>
              <p:nvPr userDrawn="1"/>
            </p:nvSpPr>
            <p:spPr bwMode="auto">
              <a:xfrm>
                <a:off x="9991726" y="555625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64" name="Freeform 55"/>
              <p:cNvSpPr>
                <a:spLocks/>
              </p:cNvSpPr>
              <p:nvPr userDrawn="1"/>
            </p:nvSpPr>
            <p:spPr bwMode="auto">
              <a:xfrm>
                <a:off x="10112376" y="555625"/>
                <a:ext cx="163513" cy="225425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68" name="Freeform 56"/>
              <p:cNvSpPr>
                <a:spLocks/>
              </p:cNvSpPr>
              <p:nvPr userDrawn="1"/>
            </p:nvSpPr>
            <p:spPr bwMode="auto">
              <a:xfrm>
                <a:off x="10317163" y="555625"/>
                <a:ext cx="274638" cy="227013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69" name="Freeform 57"/>
              <p:cNvSpPr>
                <a:spLocks/>
              </p:cNvSpPr>
              <p:nvPr userDrawn="1"/>
            </p:nvSpPr>
            <p:spPr bwMode="auto">
              <a:xfrm>
                <a:off x="10648951" y="555625"/>
                <a:ext cx="165100" cy="225425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70" name="Freeform 58"/>
              <p:cNvSpPr>
                <a:spLocks/>
              </p:cNvSpPr>
              <p:nvPr userDrawn="1"/>
            </p:nvSpPr>
            <p:spPr bwMode="auto">
              <a:xfrm>
                <a:off x="10855326" y="555625"/>
                <a:ext cx="195263" cy="225425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271" name="Freeform 59"/>
              <p:cNvSpPr>
                <a:spLocks/>
              </p:cNvSpPr>
              <p:nvPr userDrawn="1"/>
            </p:nvSpPr>
            <p:spPr bwMode="auto">
              <a:xfrm>
                <a:off x="11090276" y="550863"/>
                <a:ext cx="173038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00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</p:grpSp>
      <p:grpSp>
        <p:nvGrpSpPr>
          <p:cNvPr id="272" name="Gruppieren 182"/>
          <p:cNvGrpSpPr/>
          <p:nvPr/>
        </p:nvGrpSpPr>
        <p:grpSpPr bwMode="gray">
          <a:xfrm>
            <a:off x="627063" y="3767839"/>
            <a:ext cx="4720370" cy="289123"/>
            <a:chOff x="627062" y="2104845"/>
            <a:chExt cx="5581939" cy="769652"/>
          </a:xfrm>
        </p:grpSpPr>
        <p:sp>
          <p:nvSpPr>
            <p:cNvPr id="273" name="Freihandform 186"/>
            <p:cNvSpPr/>
            <p:nvPr/>
          </p:nvSpPr>
          <p:spPr bwMode="gray">
            <a:xfrm>
              <a:off x="627062" y="2104845"/>
              <a:ext cx="5490644" cy="500332"/>
            </a:xfrm>
            <a:custGeom>
              <a:avLst/>
              <a:gdLst>
                <a:gd name="connsiteX0" fmla="*/ 6254151 w 6254151"/>
                <a:gd name="connsiteY0" fmla="*/ 414068 h 414068"/>
                <a:gd name="connsiteX1" fmla="*/ 5891841 w 6254151"/>
                <a:gd name="connsiteY1" fmla="*/ 0 h 414068"/>
                <a:gd name="connsiteX2" fmla="*/ 0 w 6254151"/>
                <a:gd name="connsiteY2" fmla="*/ 0 h 414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54151" h="414068">
                  <a:moveTo>
                    <a:pt x="6254151" y="414068"/>
                  </a:moveTo>
                  <a:lnTo>
                    <a:pt x="5891841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accent5"/>
              </a:solidFill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4" name="Ellipse 187"/>
            <p:cNvSpPr/>
            <p:nvPr/>
          </p:nvSpPr>
          <p:spPr bwMode="gray">
            <a:xfrm>
              <a:off x="5948377" y="2260001"/>
              <a:ext cx="260624" cy="6144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75" name="Rechteck 168"/>
          <p:cNvSpPr>
            <a:spLocks/>
          </p:cNvSpPr>
          <p:nvPr/>
        </p:nvSpPr>
        <p:spPr bwMode="gray">
          <a:xfrm>
            <a:off x="632869" y="3512121"/>
            <a:ext cx="3529034" cy="492443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+mn-lt"/>
              </a:rPr>
              <a:t>Simulation, forecasting &amp; prediction capabilities  </a:t>
            </a:r>
          </a:p>
        </p:txBody>
      </p:sp>
    </p:spTree>
    <p:extLst>
      <p:ext uri="{BB962C8B-B14F-4D97-AF65-F5344CB8AC3E}">
        <p14:creationId xmlns:p14="http://schemas.microsoft.com/office/powerpoint/2010/main" val="124977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71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0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5" name="Picture 79" descr="C:\Users\z0035dbp\Desktop\London\488471764.jpg">
            <a:extLst>
              <a:ext uri="{FF2B5EF4-FFF2-40B4-BE49-F238E27FC236}">
                <a16:creationId xmlns="" xmlns:a16="http://schemas.microsoft.com/office/drawing/2014/main" id="{8CF13D58-F229-4A2B-8738-02617F1734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" t="-398" r="266" b="509"/>
          <a:stretch/>
        </p:blipFill>
        <p:spPr bwMode="auto">
          <a:xfrm>
            <a:off x="-138166" y="-87087"/>
            <a:ext cx="13132257" cy="69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 bwMode="ltGray">
          <a:xfrm>
            <a:off x="-138165" y="4733378"/>
            <a:ext cx="13132256" cy="1488684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kern="0" dirty="0">
              <a:solidFill>
                <a:srgbClr val="FFFFFF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7284" y="4745785"/>
            <a:ext cx="9606201" cy="1463870"/>
          </a:xfrm>
          <a:prstGeom prst="rect">
            <a:avLst/>
          </a:prstGeom>
        </p:spPr>
        <p:txBody>
          <a:bodyPr lIns="432000" tIns="396000" bIns="39600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5200" b="1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4700" kern="0" dirty="0" smtClean="0"/>
              <a:t>How does RTO help address the ambitions of London?</a:t>
            </a:r>
            <a:endParaRPr lang="en-US" sz="4700" kern="0" dirty="0"/>
          </a:p>
        </p:txBody>
      </p:sp>
    </p:spTree>
    <p:extLst>
      <p:ext uri="{BB962C8B-B14F-4D97-AF65-F5344CB8AC3E}">
        <p14:creationId xmlns:p14="http://schemas.microsoft.com/office/powerpoint/2010/main" val="333933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551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don’s ambitions</a:t>
            </a:r>
            <a:endParaRPr lang="en-US" dirty="0"/>
          </a:p>
        </p:txBody>
      </p:sp>
      <p:sp>
        <p:nvSpPr>
          <p:cNvPr id="6" name="Eingekerbter Richtungspfeil 26"/>
          <p:cNvSpPr/>
          <p:nvPr/>
        </p:nvSpPr>
        <p:spPr bwMode="gray">
          <a:xfrm>
            <a:off x="5760371" y="1412669"/>
            <a:ext cx="661988" cy="4786770"/>
          </a:xfrm>
          <a:prstGeom prst="chevron">
            <a:avLst>
              <a:gd name="adj" fmla="val 7860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1" name="Rectangle 70"/>
          <p:cNvSpPr>
            <a:spLocks noChangeArrowheads="1"/>
          </p:cNvSpPr>
          <p:nvPr/>
        </p:nvSpPr>
        <p:spPr bwMode="auto">
          <a:xfrm>
            <a:off x="6479347" y="1821670"/>
            <a:ext cx="5305297" cy="585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sz="16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SCOOT is marketed worldwide and Siemens has an install base of ~</a:t>
            </a:r>
            <a:r>
              <a:rPr lang="en-US" altLang="en-US" sz="1600" b="1" dirty="0" smtClean="0">
                <a:solidFill>
                  <a:schemeClr val="bg1"/>
                </a:solidFill>
              </a:rPr>
              <a:t>126 PC SCOOT Systems</a:t>
            </a:r>
            <a:endParaRPr lang="en-US" altLang="en-US" sz="1600" b="1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985" y="1157288"/>
            <a:ext cx="9756924" cy="505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1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993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4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1" y="4139290"/>
            <a:ext cx="6760875" cy="1663205"/>
          </a:xfrm>
        </p:spPr>
        <p:txBody>
          <a:bodyPr/>
          <a:lstStyle/>
          <a:p>
            <a:r>
              <a:rPr lang="en-US" sz="2400" dirty="0" smtClean="0"/>
              <a:t>Philip Manning  </a:t>
            </a:r>
            <a:br>
              <a:rPr lang="en-US" sz="2400" dirty="0" smtClean="0"/>
            </a:br>
            <a:r>
              <a:rPr lang="en-US" sz="2400" dirty="0" smtClean="0"/>
              <a:t>Siemens Mobility ITS - ANZ </a:t>
            </a:r>
            <a:br>
              <a:rPr lang="en-US" sz="2400" dirty="0" smtClean="0"/>
            </a:br>
            <a:r>
              <a:rPr lang="en-US" sz="2000" dirty="0" smtClean="0"/>
              <a:t>Ph. +61 448 262 040</a:t>
            </a:r>
            <a:br>
              <a:rPr lang="en-US" sz="2000" dirty="0" smtClean="0"/>
            </a:br>
            <a:r>
              <a:rPr lang="en-US" sz="2000" dirty="0" smtClean="0"/>
              <a:t>Email: </a:t>
            </a:r>
            <a:r>
              <a:rPr lang="en-US" sz="2000" dirty="0" smtClean="0">
                <a:hlinkClick r:id="rId8"/>
              </a:rPr>
              <a:t>philip.manning@siemens.com</a:t>
            </a:r>
            <a:r>
              <a:rPr lang="en-US" sz="2000" dirty="0" smtClean="0"/>
              <a:t> </a:t>
            </a:r>
            <a:endParaRPr lang="en-US" sz="2000" b="0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6760873" cy="324000"/>
          </a:xfrm>
        </p:spPr>
        <p:txBody>
          <a:bodyPr/>
          <a:lstStyle/>
          <a:p>
            <a:r>
              <a:rPr lang="en-US" noProof="0" dirty="0" smtClean="0"/>
              <a:t>siemens.com/traffic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Unrestricted © Siemens AG 2018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363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36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out Siemens </a:t>
            </a:r>
            <a:br>
              <a:rPr lang="de-DE" dirty="0"/>
            </a:br>
            <a:r>
              <a:rPr lang="de-DE" dirty="0"/>
              <a:t>shaping mobility as a technical pioneer since 1847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 bwMode="auto">
          <a:xfrm>
            <a:off x="10131678" y="1412874"/>
            <a:ext cx="1584071" cy="1397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54000" rIns="108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11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grpSp>
        <p:nvGrpSpPr>
          <p:cNvPr id="5" name="Gruppieren 15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677150" y="2074862"/>
            <a:ext cx="1019175" cy="73025"/>
            <a:chOff x="580450" y="3752452"/>
            <a:chExt cx="1018046" cy="72231"/>
          </a:xfrm>
          <a:solidFill>
            <a:schemeClr val="accent1"/>
          </a:solidFill>
        </p:grpSpPr>
        <p:sp>
          <p:nvSpPr>
            <p:cNvPr id="26" name="Rechteck 154"/>
            <p:cNvSpPr>
              <a:spLocks noChangeArrowheads="1"/>
            </p:cNvSpPr>
            <p:nvPr/>
          </p:nvSpPr>
          <p:spPr bwMode="auto">
            <a:xfrm>
              <a:off x="58045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27" name="Rechteck 155"/>
            <p:cNvSpPr>
              <a:spLocks noChangeArrowheads="1"/>
            </p:cNvSpPr>
            <p:nvPr/>
          </p:nvSpPr>
          <p:spPr bwMode="auto">
            <a:xfrm>
              <a:off x="65599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28" name="Rechteck 156"/>
            <p:cNvSpPr>
              <a:spLocks noChangeArrowheads="1"/>
            </p:cNvSpPr>
            <p:nvPr/>
          </p:nvSpPr>
          <p:spPr bwMode="auto">
            <a:xfrm>
              <a:off x="73153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29" name="Rechteck 157"/>
            <p:cNvSpPr>
              <a:spLocks noChangeArrowheads="1"/>
            </p:cNvSpPr>
            <p:nvPr/>
          </p:nvSpPr>
          <p:spPr bwMode="auto">
            <a:xfrm>
              <a:off x="80707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0" name="Rechteck 158"/>
            <p:cNvSpPr>
              <a:spLocks noChangeArrowheads="1"/>
            </p:cNvSpPr>
            <p:nvPr/>
          </p:nvSpPr>
          <p:spPr bwMode="auto">
            <a:xfrm>
              <a:off x="88261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1" name="Rechteck 159"/>
            <p:cNvSpPr>
              <a:spLocks noChangeArrowheads="1"/>
            </p:cNvSpPr>
            <p:nvPr/>
          </p:nvSpPr>
          <p:spPr bwMode="auto">
            <a:xfrm>
              <a:off x="95816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2" name="Rechteck 160"/>
            <p:cNvSpPr>
              <a:spLocks noChangeArrowheads="1"/>
            </p:cNvSpPr>
            <p:nvPr/>
          </p:nvSpPr>
          <p:spPr bwMode="auto">
            <a:xfrm>
              <a:off x="103370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3" name="Rechteck 161"/>
            <p:cNvSpPr>
              <a:spLocks noChangeArrowheads="1"/>
            </p:cNvSpPr>
            <p:nvPr/>
          </p:nvSpPr>
          <p:spPr bwMode="auto">
            <a:xfrm>
              <a:off x="110924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4" name="Rechteck 162"/>
            <p:cNvSpPr>
              <a:spLocks noChangeArrowheads="1"/>
            </p:cNvSpPr>
            <p:nvPr/>
          </p:nvSpPr>
          <p:spPr bwMode="auto">
            <a:xfrm>
              <a:off x="118478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5" name="Rechteck 163"/>
            <p:cNvSpPr>
              <a:spLocks noChangeArrowheads="1"/>
            </p:cNvSpPr>
            <p:nvPr/>
          </p:nvSpPr>
          <p:spPr bwMode="auto">
            <a:xfrm>
              <a:off x="126032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6" name="Rechteck 164"/>
            <p:cNvSpPr>
              <a:spLocks noChangeArrowheads="1"/>
            </p:cNvSpPr>
            <p:nvPr/>
          </p:nvSpPr>
          <p:spPr bwMode="auto">
            <a:xfrm>
              <a:off x="133587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7" name="Rechteck 165"/>
            <p:cNvSpPr>
              <a:spLocks noChangeArrowheads="1"/>
            </p:cNvSpPr>
            <p:nvPr/>
          </p:nvSpPr>
          <p:spPr bwMode="auto">
            <a:xfrm>
              <a:off x="141141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8" name="Rechteck 166"/>
            <p:cNvSpPr>
              <a:spLocks noChangeArrowheads="1"/>
            </p:cNvSpPr>
            <p:nvPr/>
          </p:nvSpPr>
          <p:spPr bwMode="auto">
            <a:xfrm>
              <a:off x="148695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39" name="Rechteck 167"/>
            <p:cNvSpPr>
              <a:spLocks noChangeArrowheads="1"/>
            </p:cNvSpPr>
            <p:nvPr/>
          </p:nvSpPr>
          <p:spPr bwMode="auto">
            <a:xfrm>
              <a:off x="156249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</p:grpSp>
      <p:grpSp>
        <p:nvGrpSpPr>
          <p:cNvPr id="6" name="Gruppieren 174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677150" y="3752850"/>
            <a:ext cx="1019175" cy="73025"/>
            <a:chOff x="580450" y="3752452"/>
            <a:chExt cx="1018046" cy="72231"/>
          </a:xfrm>
          <a:solidFill>
            <a:schemeClr val="accent1"/>
          </a:solidFill>
        </p:grpSpPr>
        <p:sp>
          <p:nvSpPr>
            <p:cNvPr id="41" name="Rechteck 175"/>
            <p:cNvSpPr>
              <a:spLocks noChangeArrowheads="1"/>
            </p:cNvSpPr>
            <p:nvPr/>
          </p:nvSpPr>
          <p:spPr bwMode="auto">
            <a:xfrm>
              <a:off x="58045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2" name="Rechteck 176"/>
            <p:cNvSpPr>
              <a:spLocks noChangeArrowheads="1"/>
            </p:cNvSpPr>
            <p:nvPr/>
          </p:nvSpPr>
          <p:spPr bwMode="auto">
            <a:xfrm>
              <a:off x="65599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3" name="Rechteck 177"/>
            <p:cNvSpPr>
              <a:spLocks noChangeArrowheads="1"/>
            </p:cNvSpPr>
            <p:nvPr/>
          </p:nvSpPr>
          <p:spPr bwMode="auto">
            <a:xfrm>
              <a:off x="73153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4" name="Rechteck 178"/>
            <p:cNvSpPr>
              <a:spLocks noChangeArrowheads="1"/>
            </p:cNvSpPr>
            <p:nvPr/>
          </p:nvSpPr>
          <p:spPr bwMode="auto">
            <a:xfrm>
              <a:off x="80707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5" name="Rechteck 179"/>
            <p:cNvSpPr>
              <a:spLocks noChangeArrowheads="1"/>
            </p:cNvSpPr>
            <p:nvPr/>
          </p:nvSpPr>
          <p:spPr bwMode="auto">
            <a:xfrm>
              <a:off x="88261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6" name="Rechteck 180"/>
            <p:cNvSpPr>
              <a:spLocks noChangeArrowheads="1"/>
            </p:cNvSpPr>
            <p:nvPr/>
          </p:nvSpPr>
          <p:spPr bwMode="auto">
            <a:xfrm>
              <a:off x="95816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7" name="Rechteck 181"/>
            <p:cNvSpPr>
              <a:spLocks noChangeArrowheads="1"/>
            </p:cNvSpPr>
            <p:nvPr/>
          </p:nvSpPr>
          <p:spPr bwMode="auto">
            <a:xfrm>
              <a:off x="103370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8" name="Rechteck 182"/>
            <p:cNvSpPr>
              <a:spLocks noChangeArrowheads="1"/>
            </p:cNvSpPr>
            <p:nvPr/>
          </p:nvSpPr>
          <p:spPr bwMode="auto">
            <a:xfrm>
              <a:off x="110924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49" name="Rechteck 183"/>
            <p:cNvSpPr>
              <a:spLocks noChangeArrowheads="1"/>
            </p:cNvSpPr>
            <p:nvPr/>
          </p:nvSpPr>
          <p:spPr bwMode="auto">
            <a:xfrm>
              <a:off x="118478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50" name="Rechteck 184"/>
            <p:cNvSpPr>
              <a:spLocks noChangeArrowheads="1"/>
            </p:cNvSpPr>
            <p:nvPr/>
          </p:nvSpPr>
          <p:spPr bwMode="auto">
            <a:xfrm>
              <a:off x="126032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51" name="Rechteck 185"/>
            <p:cNvSpPr>
              <a:spLocks noChangeArrowheads="1"/>
            </p:cNvSpPr>
            <p:nvPr/>
          </p:nvSpPr>
          <p:spPr bwMode="auto">
            <a:xfrm>
              <a:off x="133587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52" name="Rechteck 186"/>
            <p:cNvSpPr>
              <a:spLocks noChangeArrowheads="1"/>
            </p:cNvSpPr>
            <p:nvPr/>
          </p:nvSpPr>
          <p:spPr bwMode="auto">
            <a:xfrm>
              <a:off x="141141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53" name="Rechteck 187"/>
            <p:cNvSpPr>
              <a:spLocks noChangeArrowheads="1"/>
            </p:cNvSpPr>
            <p:nvPr/>
          </p:nvSpPr>
          <p:spPr bwMode="auto">
            <a:xfrm>
              <a:off x="148695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54" name="Rechteck 188"/>
            <p:cNvSpPr>
              <a:spLocks noChangeArrowheads="1"/>
            </p:cNvSpPr>
            <p:nvPr/>
          </p:nvSpPr>
          <p:spPr bwMode="auto">
            <a:xfrm>
              <a:off x="156249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</p:grpSp>
      <p:sp>
        <p:nvSpPr>
          <p:cNvPr id="70" name="Rechteck 66"/>
          <p:cNvSpPr>
            <a:spLocks noChangeArrowheads="1"/>
          </p:cNvSpPr>
          <p:nvPr/>
        </p:nvSpPr>
        <p:spPr bwMode="auto">
          <a:xfrm>
            <a:off x="3506852" y="2074862"/>
            <a:ext cx="4111045" cy="73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endParaRPr lang="de-DE"/>
          </a:p>
        </p:txBody>
      </p:sp>
      <p:sp>
        <p:nvSpPr>
          <p:cNvPr id="71" name="Rechteck 65"/>
          <p:cNvSpPr>
            <a:spLocks noChangeArrowheads="1"/>
          </p:cNvSpPr>
          <p:nvPr/>
        </p:nvSpPr>
        <p:spPr bwMode="auto">
          <a:xfrm>
            <a:off x="3506852" y="3752850"/>
            <a:ext cx="4111045" cy="730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endParaRPr lang="de-DE"/>
          </a:p>
        </p:txBody>
      </p:sp>
      <p:sp>
        <p:nvSpPr>
          <p:cNvPr id="73" name="Rechteck 67"/>
          <p:cNvSpPr>
            <a:spLocks noChangeArrowheads="1"/>
          </p:cNvSpPr>
          <p:nvPr/>
        </p:nvSpPr>
        <p:spPr bwMode="auto">
          <a:xfrm>
            <a:off x="3506852" y="5433498"/>
            <a:ext cx="4111045" cy="714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endParaRPr lang="de-DE"/>
          </a:p>
        </p:txBody>
      </p:sp>
      <p:grpSp>
        <p:nvGrpSpPr>
          <p:cNvPr id="7" name="Gruppieren 222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677150" y="5433498"/>
            <a:ext cx="1236561" cy="71437"/>
            <a:chOff x="580450" y="3752452"/>
            <a:chExt cx="1018046" cy="72231"/>
          </a:xfrm>
          <a:solidFill>
            <a:schemeClr val="accent1"/>
          </a:solidFill>
        </p:grpSpPr>
        <p:sp>
          <p:nvSpPr>
            <p:cNvPr id="75" name="Rechteck 223"/>
            <p:cNvSpPr>
              <a:spLocks noChangeArrowheads="1"/>
            </p:cNvSpPr>
            <p:nvPr/>
          </p:nvSpPr>
          <p:spPr bwMode="auto">
            <a:xfrm>
              <a:off x="58045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76" name="Rechteck 224"/>
            <p:cNvSpPr>
              <a:spLocks noChangeArrowheads="1"/>
            </p:cNvSpPr>
            <p:nvPr/>
          </p:nvSpPr>
          <p:spPr bwMode="auto">
            <a:xfrm>
              <a:off x="65599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77" name="Rechteck 225"/>
            <p:cNvSpPr>
              <a:spLocks noChangeArrowheads="1"/>
            </p:cNvSpPr>
            <p:nvPr/>
          </p:nvSpPr>
          <p:spPr bwMode="auto">
            <a:xfrm>
              <a:off x="73153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78" name="Rechteck 226"/>
            <p:cNvSpPr>
              <a:spLocks noChangeArrowheads="1"/>
            </p:cNvSpPr>
            <p:nvPr/>
          </p:nvSpPr>
          <p:spPr bwMode="auto">
            <a:xfrm>
              <a:off x="80707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79" name="Rechteck 227"/>
            <p:cNvSpPr>
              <a:spLocks noChangeArrowheads="1"/>
            </p:cNvSpPr>
            <p:nvPr/>
          </p:nvSpPr>
          <p:spPr bwMode="auto">
            <a:xfrm>
              <a:off x="88261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0" name="Rechteck 228"/>
            <p:cNvSpPr>
              <a:spLocks noChangeArrowheads="1"/>
            </p:cNvSpPr>
            <p:nvPr/>
          </p:nvSpPr>
          <p:spPr bwMode="auto">
            <a:xfrm>
              <a:off x="95816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1" name="Rechteck 229"/>
            <p:cNvSpPr>
              <a:spLocks noChangeArrowheads="1"/>
            </p:cNvSpPr>
            <p:nvPr/>
          </p:nvSpPr>
          <p:spPr bwMode="auto">
            <a:xfrm>
              <a:off x="103370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2" name="Rechteck 230"/>
            <p:cNvSpPr>
              <a:spLocks noChangeArrowheads="1"/>
            </p:cNvSpPr>
            <p:nvPr/>
          </p:nvSpPr>
          <p:spPr bwMode="auto">
            <a:xfrm>
              <a:off x="110924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3" name="Rechteck 231"/>
            <p:cNvSpPr>
              <a:spLocks noChangeArrowheads="1"/>
            </p:cNvSpPr>
            <p:nvPr/>
          </p:nvSpPr>
          <p:spPr bwMode="auto">
            <a:xfrm>
              <a:off x="118478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4" name="Rechteck 232"/>
            <p:cNvSpPr>
              <a:spLocks noChangeArrowheads="1"/>
            </p:cNvSpPr>
            <p:nvPr/>
          </p:nvSpPr>
          <p:spPr bwMode="auto">
            <a:xfrm>
              <a:off x="1260328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5" name="Rechteck 233"/>
            <p:cNvSpPr>
              <a:spLocks noChangeArrowheads="1"/>
            </p:cNvSpPr>
            <p:nvPr/>
          </p:nvSpPr>
          <p:spPr bwMode="auto">
            <a:xfrm>
              <a:off x="1335870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6" name="Rechteck 234"/>
            <p:cNvSpPr>
              <a:spLocks noChangeArrowheads="1"/>
            </p:cNvSpPr>
            <p:nvPr/>
          </p:nvSpPr>
          <p:spPr bwMode="auto">
            <a:xfrm>
              <a:off x="1411412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7" name="Rechteck 235"/>
            <p:cNvSpPr>
              <a:spLocks noChangeArrowheads="1"/>
            </p:cNvSpPr>
            <p:nvPr/>
          </p:nvSpPr>
          <p:spPr bwMode="auto">
            <a:xfrm>
              <a:off x="1486954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  <p:sp>
          <p:nvSpPr>
            <p:cNvPr id="88" name="Rechteck 236"/>
            <p:cNvSpPr>
              <a:spLocks noChangeArrowheads="1"/>
            </p:cNvSpPr>
            <p:nvPr/>
          </p:nvSpPr>
          <p:spPr bwMode="auto">
            <a:xfrm>
              <a:off x="1562496" y="3752452"/>
              <a:ext cx="36000" cy="7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>
                <a:spcBef>
                  <a:spcPct val="0"/>
                </a:spcBef>
                <a:buFont typeface="Wingdings" pitchFamily="2" charset="2"/>
                <a:buNone/>
              </a:pPr>
              <a:endParaRPr lang="de-DE"/>
            </a:p>
          </p:txBody>
        </p:sp>
      </p:grpSp>
      <p:sp>
        <p:nvSpPr>
          <p:cNvPr id="102" name="Rechteck 101"/>
          <p:cNvSpPr/>
          <p:nvPr/>
        </p:nvSpPr>
        <p:spPr bwMode="auto">
          <a:xfrm>
            <a:off x="10131678" y="4772583"/>
            <a:ext cx="1584071" cy="1397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54000" rIns="108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11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4" name="Rechteck 103"/>
          <p:cNvSpPr/>
          <p:nvPr/>
        </p:nvSpPr>
        <p:spPr bwMode="auto">
          <a:xfrm>
            <a:off x="10131678" y="3092729"/>
            <a:ext cx="1584071" cy="1397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54000" rIns="108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de-DE" sz="11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07" name="Rechteck 106"/>
          <p:cNvSpPr/>
          <p:nvPr/>
        </p:nvSpPr>
        <p:spPr bwMode="auto">
          <a:xfrm>
            <a:off x="627063" y="4772583"/>
            <a:ext cx="2858962" cy="139326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10800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sz="1400" b="1" dirty="0" smtClean="0">
                <a:solidFill>
                  <a:schemeClr val="accent5"/>
                </a:solidFill>
                <a:latin typeface="Arial" charset="0"/>
              </a:rPr>
              <a:t>1924</a:t>
            </a:r>
          </a:p>
          <a:p>
            <a:pPr lvl="0"/>
            <a:r>
              <a:rPr lang="de-DE" sz="1200" dirty="0" smtClean="0">
                <a:solidFill>
                  <a:srgbClr val="000000"/>
                </a:solidFill>
                <a:latin typeface="Arial" charset="0"/>
              </a:rPr>
              <a:t>Siemens installs the first automatic traffic signal system at Potsdamer Platz in Berlin </a:t>
            </a:r>
          </a:p>
        </p:txBody>
      </p:sp>
      <p:sp>
        <p:nvSpPr>
          <p:cNvPr id="108" name="Rechteck 107"/>
          <p:cNvSpPr/>
          <p:nvPr/>
        </p:nvSpPr>
        <p:spPr bwMode="auto">
          <a:xfrm>
            <a:off x="627063" y="3092729"/>
            <a:ext cx="2858962" cy="139326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10800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sz="1400" b="1" dirty="0" smtClean="0">
                <a:solidFill>
                  <a:schemeClr val="accent5"/>
                </a:solidFill>
                <a:latin typeface="Arial" charset="0"/>
              </a:rPr>
              <a:t>1879</a:t>
            </a:r>
          </a:p>
          <a:p>
            <a:pPr lvl="0"/>
            <a:r>
              <a:rPr lang="de-DE" sz="1200" dirty="0" smtClean="0">
                <a:solidFill>
                  <a:srgbClr val="000000"/>
                </a:solidFill>
                <a:latin typeface="Arial" charset="0"/>
              </a:rPr>
              <a:t>Siemens presents the first electric railway at the Berlin Trade Fair</a:t>
            </a:r>
            <a:endParaRPr lang="en-US" sz="1100" dirty="0" smtClean="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10131677" y="1412874"/>
            <a:ext cx="1584071" cy="780589"/>
          </a:xfrm>
          <a:prstGeom prst="rect">
            <a:avLst/>
          </a:prstGeom>
        </p:spPr>
        <p:txBody>
          <a:bodyPr wrap="square" lIns="108000" tIns="72000" rIns="108000" anchor="t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400" b="1" dirty="0" smtClean="0">
                <a:solidFill>
                  <a:schemeClr val="accent5"/>
                </a:solidFill>
              </a:rPr>
              <a:t>Trainguard MT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Driverless metro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2" name="Rechteck 111"/>
          <p:cNvSpPr/>
          <p:nvPr/>
        </p:nvSpPr>
        <p:spPr>
          <a:xfrm>
            <a:off x="10131678" y="4772583"/>
            <a:ext cx="1584070" cy="965255"/>
          </a:xfrm>
          <a:prstGeom prst="rect">
            <a:avLst/>
          </a:prstGeom>
        </p:spPr>
        <p:txBody>
          <a:bodyPr wrap="square" lIns="108000" tIns="72000" rIns="108000" anchor="t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400" b="1" dirty="0" smtClean="0">
                <a:solidFill>
                  <a:schemeClr val="accent5"/>
                </a:solidFill>
              </a:rPr>
              <a:t>smartGuard</a:t>
            </a:r>
            <a:endParaRPr lang="en-US" sz="1400" b="1" dirty="0" smtClean="0">
              <a:solidFill>
                <a:schemeClr val="accent5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Web-based mobile traffic control center</a:t>
            </a:r>
          </a:p>
        </p:txBody>
      </p:sp>
      <p:sp>
        <p:nvSpPr>
          <p:cNvPr id="119" name="Rechteck 118"/>
          <p:cNvSpPr/>
          <p:nvPr/>
        </p:nvSpPr>
        <p:spPr>
          <a:xfrm>
            <a:off x="8756847" y="2426494"/>
            <a:ext cx="1623022" cy="107298"/>
          </a:xfrm>
          <a:prstGeom prst="rect">
            <a:avLst/>
          </a:prstGeom>
        </p:spPr>
        <p:txBody>
          <a:bodyPr wrap="square" lIns="36000" rIns="72000" bIns="0" anchor="b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600" smtClean="0">
                <a:solidFill>
                  <a:schemeClr val="bg1"/>
                </a:solidFill>
              </a:rPr>
              <a:t>Copyright: Stadtwerke München</a:t>
            </a:r>
            <a:endParaRPr lang="en-US" sz="600">
              <a:solidFill>
                <a:schemeClr val="bg1"/>
              </a:solidFill>
            </a:endParaRPr>
          </a:p>
        </p:txBody>
      </p:sp>
      <p:sp>
        <p:nvSpPr>
          <p:cNvPr id="120" name="Textfeld 119"/>
          <p:cNvSpPr txBox="1"/>
          <p:nvPr/>
        </p:nvSpPr>
        <p:spPr>
          <a:xfrm>
            <a:off x="5552314" y="3421209"/>
            <a:ext cx="1859128" cy="324498"/>
          </a:xfrm>
          <a:prstGeom prst="rect">
            <a:avLst/>
          </a:prstGeom>
          <a:noFill/>
        </p:spPr>
        <p:txBody>
          <a:bodyPr wrap="square" lIns="144000" tIns="0" rIns="0" bIns="108000">
            <a:spAutoFit/>
          </a:bodyPr>
          <a:lstStyle/>
          <a:p>
            <a:pPr>
              <a:defRPr/>
            </a:pPr>
            <a:r>
              <a:rPr lang="de-DE" sz="1400" b="1" dirty="0" smtClean="0">
                <a:solidFill>
                  <a:schemeClr val="accent5"/>
                </a:solidFill>
              </a:rPr>
              <a:t>Rail vehicles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121" name="Rechteck 120"/>
          <p:cNvSpPr/>
          <p:nvPr/>
        </p:nvSpPr>
        <p:spPr bwMode="auto">
          <a:xfrm>
            <a:off x="627063" y="1412876"/>
            <a:ext cx="2857350" cy="1397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10800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400" b="1" dirty="0" smtClean="0">
                <a:solidFill>
                  <a:schemeClr val="accent5"/>
                </a:solidFill>
                <a:latin typeface="Arial" charset="0"/>
              </a:rPr>
              <a:t>1847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dirty="0" smtClean="0">
                <a:solidFill>
                  <a:schemeClr val="tx1"/>
                </a:solidFill>
              </a:rPr>
              <a:t>Werner von Siemens </a:t>
            </a:r>
            <a:r>
              <a:rPr lang="de-DE" sz="1200" dirty="0" err="1" smtClean="0">
                <a:solidFill>
                  <a:schemeClr val="tx1"/>
                </a:solidFill>
              </a:rPr>
              <a:t>an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br>
              <a:rPr lang="de-DE" sz="1200" dirty="0" smtClean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Johann Georg Halske create </a:t>
            </a:r>
            <a:r>
              <a:rPr dirty="0"/>
              <a:t/>
            </a:r>
            <a:br>
              <a:rPr dirty="0"/>
            </a:br>
            <a:r>
              <a:rPr lang="de-DE" sz="1200" dirty="0" smtClean="0">
                <a:solidFill>
                  <a:schemeClr val="tx1"/>
                </a:solidFill>
              </a:rPr>
              <a:t>the first alarm bell system </a:t>
            </a:r>
          </a:p>
        </p:txBody>
      </p:sp>
      <p:sp>
        <p:nvSpPr>
          <p:cNvPr id="95" name="Rechteck 94"/>
          <p:cNvSpPr/>
          <p:nvPr/>
        </p:nvSpPr>
        <p:spPr>
          <a:xfrm>
            <a:off x="10131678" y="3092729"/>
            <a:ext cx="1584072" cy="1149921"/>
          </a:xfrm>
          <a:prstGeom prst="rect">
            <a:avLst/>
          </a:prstGeom>
        </p:spPr>
        <p:txBody>
          <a:bodyPr wrap="square" lIns="108000" tIns="72000" rIns="108000" anchor="t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400" b="1" dirty="0" smtClean="0">
                <a:solidFill>
                  <a:schemeClr val="accent5"/>
                </a:solidFill>
              </a:rPr>
              <a:t>Velaro</a:t>
            </a:r>
            <a:endParaRPr lang="en-US" sz="1400" b="1" dirty="0" smtClean="0">
              <a:solidFill>
                <a:schemeClr val="accent5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One of the most efficient high-speed platforms in the world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6" name="Ellipse 95"/>
          <p:cNvSpPr/>
          <p:nvPr/>
        </p:nvSpPr>
        <p:spPr bwMode="auto">
          <a:xfrm>
            <a:off x="3432050" y="2057399"/>
            <a:ext cx="107950" cy="1079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108000" tIns="54000" rIns="108000" bIns="54000" spcCol="72000" anchor="ctr"/>
          <a:lstStyle/>
          <a:p>
            <a:pPr>
              <a:spcBef>
                <a:spcPct val="0"/>
              </a:spcBef>
              <a:buFont typeface="Wingdings" charset="0"/>
              <a:buNone/>
              <a:defRPr/>
            </a:pPr>
            <a:endParaRPr lang="de-DE"/>
          </a:p>
        </p:txBody>
      </p:sp>
      <p:sp>
        <p:nvSpPr>
          <p:cNvPr id="97" name="Ellipse 96"/>
          <p:cNvSpPr/>
          <p:nvPr/>
        </p:nvSpPr>
        <p:spPr bwMode="auto">
          <a:xfrm>
            <a:off x="3432050" y="3735387"/>
            <a:ext cx="107950" cy="1079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108000" tIns="54000" rIns="108000" bIns="54000" spcCol="72000" anchor="ctr"/>
          <a:lstStyle/>
          <a:p>
            <a:pPr>
              <a:spcBef>
                <a:spcPct val="0"/>
              </a:spcBef>
              <a:buFont typeface="Wingdings" charset="0"/>
              <a:buNone/>
              <a:defRPr/>
            </a:pPr>
            <a:endParaRPr lang="de-DE"/>
          </a:p>
        </p:txBody>
      </p:sp>
      <p:sp>
        <p:nvSpPr>
          <p:cNvPr id="98" name="Ellipse 97"/>
          <p:cNvSpPr/>
          <p:nvPr/>
        </p:nvSpPr>
        <p:spPr bwMode="auto">
          <a:xfrm flipV="1">
            <a:off x="3432050" y="5415241"/>
            <a:ext cx="107950" cy="10795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lIns="108000" tIns="54000" rIns="108000" bIns="54000" spcCol="72000" anchor="ctr"/>
          <a:lstStyle/>
          <a:p>
            <a:pPr>
              <a:spcBef>
                <a:spcPct val="0"/>
              </a:spcBef>
              <a:buFont typeface="Wingdings" charset="0"/>
              <a:buNone/>
              <a:defRPr/>
            </a:pPr>
            <a:endParaRPr lang="de-DE"/>
          </a:p>
        </p:txBody>
      </p:sp>
      <p:sp>
        <p:nvSpPr>
          <p:cNvPr id="91" name="Textfeld 90"/>
          <p:cNvSpPr txBox="1"/>
          <p:nvPr/>
        </p:nvSpPr>
        <p:spPr>
          <a:xfrm>
            <a:off x="5552314" y="5109000"/>
            <a:ext cx="2447862" cy="324498"/>
          </a:xfrm>
          <a:prstGeom prst="rect">
            <a:avLst/>
          </a:prstGeom>
          <a:noFill/>
        </p:spPr>
        <p:txBody>
          <a:bodyPr wrap="square" lIns="144000" tIns="0" rIns="0" bIns="108000">
            <a:spAutoFit/>
          </a:bodyPr>
          <a:lstStyle/>
          <a:p>
            <a:pPr>
              <a:defRPr/>
            </a:pPr>
            <a:r>
              <a:rPr lang="de-DE" sz="1400" b="1" dirty="0" smtClean="0">
                <a:solidFill>
                  <a:schemeClr val="accent5"/>
                </a:solidFill>
              </a:rPr>
              <a:t>Road traffic engineering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5552314" y="1578908"/>
            <a:ext cx="1859128" cy="539942"/>
          </a:xfrm>
          <a:prstGeom prst="rect">
            <a:avLst/>
          </a:prstGeom>
          <a:noFill/>
        </p:spPr>
        <p:txBody>
          <a:bodyPr wrap="square" lIns="144000" tIns="0" rIns="0" bIns="108000">
            <a:spAutoFit/>
          </a:bodyPr>
          <a:lstStyle/>
          <a:p>
            <a:pPr>
              <a:defRPr/>
            </a:pPr>
            <a:r>
              <a:rPr lang="de-DE" sz="1400" b="1" dirty="0" smtClean="0">
                <a:solidFill>
                  <a:schemeClr val="accent5"/>
                </a:solidFill>
              </a:rPr>
              <a:t>Railway signaling technology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pic>
        <p:nvPicPr>
          <p:cNvPr id="89" name="Picture 4" descr="\\vmware-host\Shared Folders\Schreibtisch\Projekte\Siemens\RSP\Draft\Assets\1004.jp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56317" y="3092729"/>
            <a:ext cx="1411032" cy="1393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3" descr="M:\02_MarCom\01_MOL RA\Invensys\como special 2013\referenzen\IR referenz_fotos\CTC Alto_Arenal.jpg"/>
          <p:cNvPicPr>
            <a:picLocks noChangeAspect="1" noChangeArrowheads="1"/>
          </p:cNvPicPr>
          <p:nvPr/>
        </p:nvPicPr>
        <p:blipFill rotWithShape="1">
          <a:blip r:embed="rId12" cstate="screen"/>
          <a:srcRect/>
          <a:stretch/>
        </p:blipFill>
        <p:spPr bwMode="auto">
          <a:xfrm>
            <a:off x="7996898" y="1412874"/>
            <a:ext cx="2014616" cy="1397000"/>
          </a:xfrm>
          <a:prstGeom prst="rect">
            <a:avLst/>
          </a:prstGeom>
          <a:noFill/>
        </p:spPr>
      </p:pic>
      <p:pic>
        <p:nvPicPr>
          <p:cNvPr id="94" name="Picture 2" descr="C:\Users\hofmcaro\AppData\Local\Microsoft\Windows\Temporary Internet Files\Content.Outlook\3TQFHRX1\Siemens Ampel Berlin 1924 installiert_300dpi.jpg"/>
          <p:cNvPicPr>
            <a:picLocks noChangeAspect="1" noChangeArrowheads="1"/>
          </p:cNvPicPr>
          <p:nvPr/>
        </p:nvPicPr>
        <p:blipFill rotWithShape="1">
          <a:blip r:embed="rId13" cstate="screen"/>
          <a:srcRect/>
          <a:stretch/>
        </p:blipFill>
        <p:spPr bwMode="auto">
          <a:xfrm>
            <a:off x="4056317" y="4772583"/>
            <a:ext cx="1411032" cy="1387357"/>
          </a:xfrm>
          <a:prstGeom prst="rect">
            <a:avLst/>
          </a:prstGeom>
          <a:noFill/>
        </p:spPr>
      </p:pic>
      <p:pic>
        <p:nvPicPr>
          <p:cNvPr id="99" name="Picture 4" descr="http://www.mobility.siemens.com/mobility/global/SiteCollectionImages/road-solutions/urban/traffic-control-center/smart-guard-handy-large.jpg"/>
          <p:cNvPicPr>
            <a:picLocks noChangeAspect="1" noChangeArrowheads="1"/>
          </p:cNvPicPr>
          <p:nvPr/>
        </p:nvPicPr>
        <p:blipFill rotWithShape="1">
          <a:blip r:embed="rId14" cstate="screen"/>
          <a:srcRect/>
          <a:stretch/>
        </p:blipFill>
        <p:spPr bwMode="auto">
          <a:xfrm>
            <a:off x="7996898" y="4772583"/>
            <a:ext cx="2014616" cy="1392760"/>
          </a:xfrm>
          <a:prstGeom prst="rect">
            <a:avLst/>
          </a:prstGeom>
          <a:noFill/>
        </p:spPr>
      </p:pic>
      <p:pic>
        <p:nvPicPr>
          <p:cNvPr id="100" name="Picture 5" descr="C:\Users\hofmcaro\AppData\Local\Microsoft\Windows\Temporary Internet Files\Content.Outlook\3TQFHRX1\140715_VET6HST_BHF.jpg"/>
          <p:cNvPicPr>
            <a:picLocks noChangeAspect="1" noChangeArrowheads="1"/>
          </p:cNvPicPr>
          <p:nvPr/>
        </p:nvPicPr>
        <p:blipFill rotWithShape="1">
          <a:blip r:embed="rId15" cstate="screen"/>
          <a:srcRect/>
          <a:stretch/>
        </p:blipFill>
        <p:spPr bwMode="auto">
          <a:xfrm>
            <a:off x="7996898" y="3092728"/>
            <a:ext cx="2014616" cy="1393267"/>
          </a:xfrm>
          <a:prstGeom prst="rect">
            <a:avLst/>
          </a:prstGeom>
          <a:noFill/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" smtClean="0">
                <a:solidFill>
                  <a:srgbClr val="FFFFFF"/>
                </a:solidFill>
              </a:rPr>
              <a:t>6_84 7_84 9_84</a:t>
            </a:r>
            <a:endParaRPr lang="en-US" sz="100" dirty="0" err="1" smtClean="0">
              <a:solidFill>
                <a:srgbClr val="FFFFFF"/>
              </a:solidFill>
            </a:endParaRPr>
          </a:p>
        </p:txBody>
      </p:sp>
      <p:pic>
        <p:nvPicPr>
          <p:cNvPr id="101" name="Grafik 100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317" y="1416610"/>
            <a:ext cx="1411032" cy="139326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6226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8" name="Object 2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8763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8763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Divisions</a:t>
            </a:r>
            <a:endParaRPr lang="en-AU" b="0" dirty="0"/>
          </a:p>
        </p:txBody>
      </p:sp>
      <p:pic>
        <p:nvPicPr>
          <p:cNvPr id="28" name="Grafik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5781" y="1848413"/>
            <a:ext cx="4878334" cy="2244857"/>
          </a:xfrm>
          <a:prstGeom prst="rect">
            <a:avLst/>
          </a:prstGeom>
        </p:spPr>
      </p:pic>
      <p:sp>
        <p:nvSpPr>
          <p:cNvPr id="29" name="Rechteck 35"/>
          <p:cNvSpPr/>
          <p:nvPr/>
        </p:nvSpPr>
        <p:spPr bwMode="auto">
          <a:xfrm>
            <a:off x="2257351" y="2576339"/>
            <a:ext cx="7837200" cy="540000"/>
          </a:xfrm>
          <a:prstGeom prst="rect">
            <a:avLst/>
          </a:prstGeom>
          <a:solidFill>
            <a:srgbClr val="CFD7DD">
              <a:alpha val="4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  <a:defRPr/>
            </a:pPr>
            <a:endParaRPr lang="de-DE" b="1" kern="0" dirty="0" err="1" smtClean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30" name="Rechteck 33"/>
          <p:cNvSpPr/>
          <p:nvPr/>
        </p:nvSpPr>
        <p:spPr bwMode="auto">
          <a:xfrm>
            <a:off x="2257351" y="5708723"/>
            <a:ext cx="7837200" cy="324000"/>
          </a:xfrm>
          <a:prstGeom prst="rect">
            <a:avLst/>
          </a:prstGeom>
          <a:solidFill>
            <a:srgbClr val="9FAFBB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  <a:defRPr/>
            </a:pPr>
            <a:r>
              <a:rPr lang="de-DE" sz="1300" b="1" kern="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Managing Board</a:t>
            </a:r>
          </a:p>
        </p:txBody>
      </p:sp>
      <p:sp>
        <p:nvSpPr>
          <p:cNvPr id="31" name="Rechteck 7"/>
          <p:cNvSpPr/>
          <p:nvPr/>
        </p:nvSpPr>
        <p:spPr bwMode="auto">
          <a:xfrm>
            <a:off x="3927029" y="2626340"/>
            <a:ext cx="4476402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30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Global presence and go-to-market of our businesses</a:t>
            </a:r>
          </a:p>
        </p:txBody>
      </p:sp>
      <p:sp>
        <p:nvSpPr>
          <p:cNvPr id="32" name="Rechteck 8"/>
          <p:cNvSpPr/>
          <p:nvPr/>
        </p:nvSpPr>
        <p:spPr bwMode="auto">
          <a:xfrm>
            <a:off x="3915126" y="2864371"/>
            <a:ext cx="741509" cy="17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9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Americas</a:t>
            </a:r>
          </a:p>
        </p:txBody>
      </p:sp>
      <p:sp>
        <p:nvSpPr>
          <p:cNvPr id="33" name="Rechteck 9"/>
          <p:cNvSpPr/>
          <p:nvPr/>
        </p:nvSpPr>
        <p:spPr bwMode="auto">
          <a:xfrm>
            <a:off x="4639966" y="2864371"/>
            <a:ext cx="1130700" cy="17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9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Europe and Africa</a:t>
            </a:r>
          </a:p>
        </p:txBody>
      </p:sp>
      <p:sp>
        <p:nvSpPr>
          <p:cNvPr id="34" name="Rechteck 11"/>
          <p:cNvSpPr/>
          <p:nvPr/>
        </p:nvSpPr>
        <p:spPr bwMode="auto">
          <a:xfrm>
            <a:off x="5743898" y="2864371"/>
            <a:ext cx="1461588" cy="17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9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C.I.S.</a:t>
            </a:r>
            <a:r>
              <a:rPr lang="en-US" sz="900" baseline="300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1</a:t>
            </a:r>
            <a:r>
              <a:rPr lang="en-US" sz="9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 and Middle East</a:t>
            </a:r>
          </a:p>
        </p:txBody>
      </p:sp>
      <p:sp>
        <p:nvSpPr>
          <p:cNvPr id="35" name="Rechteck 12"/>
          <p:cNvSpPr/>
          <p:nvPr/>
        </p:nvSpPr>
        <p:spPr bwMode="auto">
          <a:xfrm>
            <a:off x="7155486" y="2864371"/>
            <a:ext cx="1173556" cy="17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90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Asia and Australia</a:t>
            </a:r>
          </a:p>
        </p:txBody>
      </p:sp>
      <p:sp>
        <p:nvSpPr>
          <p:cNvPr id="36" name="Rechteck 14"/>
          <p:cNvSpPr/>
          <p:nvPr/>
        </p:nvSpPr>
        <p:spPr bwMode="auto">
          <a:xfrm>
            <a:off x="2257351" y="4160515"/>
            <a:ext cx="828000" cy="82800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Power </a:t>
            </a:r>
          </a:p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and Gas</a:t>
            </a:r>
          </a:p>
        </p:txBody>
      </p:sp>
      <p:sp>
        <p:nvSpPr>
          <p:cNvPr id="37" name="Rechteck 15"/>
          <p:cNvSpPr/>
          <p:nvPr/>
        </p:nvSpPr>
        <p:spPr bwMode="auto">
          <a:xfrm>
            <a:off x="3133501" y="4160515"/>
            <a:ext cx="828000" cy="82800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Wind</a:t>
            </a:r>
          </a:p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Power and Renewables</a:t>
            </a:r>
          </a:p>
        </p:txBody>
      </p:sp>
      <p:sp>
        <p:nvSpPr>
          <p:cNvPr id="38" name="Rechteck 16"/>
          <p:cNvSpPr/>
          <p:nvPr/>
        </p:nvSpPr>
        <p:spPr bwMode="auto">
          <a:xfrm>
            <a:off x="4009651" y="4160515"/>
            <a:ext cx="828000" cy="144016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Energy</a:t>
            </a:r>
          </a:p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Management</a:t>
            </a:r>
          </a:p>
        </p:txBody>
      </p:sp>
      <p:sp>
        <p:nvSpPr>
          <p:cNvPr id="39" name="Rechteck 17"/>
          <p:cNvSpPr/>
          <p:nvPr/>
        </p:nvSpPr>
        <p:spPr bwMode="auto">
          <a:xfrm>
            <a:off x="4885801" y="4160515"/>
            <a:ext cx="828000" cy="144016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Building</a:t>
            </a:r>
          </a:p>
          <a:p>
            <a:pPr>
              <a:spcBef>
                <a:spcPct val="0"/>
              </a:spcBef>
            </a:pPr>
            <a:r>
              <a:rPr lang="de-DE" sz="950" b="1" spc="-3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Technologies</a:t>
            </a:r>
          </a:p>
        </p:txBody>
      </p:sp>
      <p:sp>
        <p:nvSpPr>
          <p:cNvPr id="40" name="Rechteck 18"/>
          <p:cNvSpPr/>
          <p:nvPr/>
        </p:nvSpPr>
        <p:spPr bwMode="auto">
          <a:xfrm>
            <a:off x="5761951" y="4160515"/>
            <a:ext cx="828000" cy="144016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Mobility</a:t>
            </a:r>
          </a:p>
        </p:txBody>
      </p:sp>
      <p:sp>
        <p:nvSpPr>
          <p:cNvPr id="41" name="Rechteck 19"/>
          <p:cNvSpPr/>
          <p:nvPr/>
        </p:nvSpPr>
        <p:spPr bwMode="auto">
          <a:xfrm>
            <a:off x="6638101" y="4160515"/>
            <a:ext cx="828000" cy="144016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Digital Factory</a:t>
            </a:r>
          </a:p>
        </p:txBody>
      </p:sp>
      <p:sp>
        <p:nvSpPr>
          <p:cNvPr id="42" name="Rechteck 20"/>
          <p:cNvSpPr/>
          <p:nvPr/>
        </p:nvSpPr>
        <p:spPr bwMode="auto">
          <a:xfrm>
            <a:off x="7514251" y="4160515"/>
            <a:ext cx="828000" cy="1440160"/>
          </a:xfrm>
          <a:prstGeom prst="rect">
            <a:avLst/>
          </a:prstGeom>
          <a:solidFill>
            <a:srgbClr val="55A0B9">
              <a:alpha val="6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Process Industries and Drives</a:t>
            </a:r>
          </a:p>
        </p:txBody>
      </p:sp>
      <p:sp>
        <p:nvSpPr>
          <p:cNvPr id="43" name="Rechteck 26"/>
          <p:cNvSpPr/>
          <p:nvPr/>
        </p:nvSpPr>
        <p:spPr bwMode="auto">
          <a:xfrm>
            <a:off x="2257351" y="5060675"/>
            <a:ext cx="1703462" cy="540000"/>
          </a:xfrm>
          <a:prstGeom prst="rect">
            <a:avLst/>
          </a:prstGeom>
          <a:solidFill>
            <a:srgbClr val="FFFFFF"/>
          </a:solidFill>
          <a:ln w="12700">
            <a:solidFill>
              <a:srgbClr val="879BAA"/>
            </a:solidFill>
            <a:miter lim="800000"/>
            <a:headEnd/>
            <a:tailEnd/>
          </a:ln>
          <a:effectLst/>
          <a:extLst/>
        </p:spPr>
        <p:txBody>
          <a:bodyPr wrap="square" lIns="828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de-DE" sz="950" b="1" kern="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Power Generation</a:t>
            </a:r>
          </a:p>
          <a:p>
            <a:pPr>
              <a:spcBef>
                <a:spcPct val="0"/>
              </a:spcBef>
              <a:defRPr/>
            </a:pPr>
            <a:r>
              <a:rPr lang="de-DE" sz="950" b="1" kern="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Services</a:t>
            </a:r>
          </a:p>
        </p:txBody>
      </p:sp>
      <p:sp>
        <p:nvSpPr>
          <p:cNvPr id="44" name="Rechteck 27"/>
          <p:cNvSpPr/>
          <p:nvPr/>
        </p:nvSpPr>
        <p:spPr bwMode="auto">
          <a:xfrm>
            <a:off x="8115399" y="5708723"/>
            <a:ext cx="1979152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r">
              <a:spcBef>
                <a:spcPct val="0"/>
              </a:spcBef>
            </a:pPr>
            <a:r>
              <a:rPr lang="de-DE" sz="1000" kern="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Corporate Core</a:t>
            </a:r>
          </a:p>
        </p:txBody>
      </p:sp>
      <p:sp>
        <p:nvSpPr>
          <p:cNvPr id="45" name="Rechteck 28"/>
          <p:cNvSpPr/>
          <p:nvPr/>
        </p:nvSpPr>
        <p:spPr bwMode="auto">
          <a:xfrm>
            <a:off x="2257351" y="5708723"/>
            <a:ext cx="1979152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de-DE" sz="1000" kern="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Corporate Services</a:t>
            </a:r>
          </a:p>
        </p:txBody>
      </p:sp>
      <p:sp>
        <p:nvSpPr>
          <p:cNvPr id="46" name="Rechteck 29"/>
          <p:cNvSpPr/>
          <p:nvPr/>
        </p:nvSpPr>
        <p:spPr bwMode="auto">
          <a:xfrm>
            <a:off x="8390401" y="4160515"/>
            <a:ext cx="828000" cy="1440160"/>
          </a:xfrm>
          <a:prstGeom prst="rect">
            <a:avLst/>
          </a:prstGeom>
          <a:solidFill>
            <a:srgbClr val="55A0B9">
              <a:alpha val="35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0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Healthcare</a:t>
            </a:r>
          </a:p>
          <a:p>
            <a:pPr>
              <a:spcBef>
                <a:spcPct val="0"/>
              </a:spcBef>
            </a:pPr>
            <a:r>
              <a:rPr lang="en-US" sz="85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(separately managed with</a:t>
            </a:r>
            <a:br>
              <a:rPr lang="en-US" sz="85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lang="en-US" sz="850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global supply chain)</a:t>
            </a:r>
            <a:endParaRPr lang="de-DE" sz="850" dirty="0">
              <a:solidFill>
                <a:srgbClr val="006487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47" name="Rechteck 30"/>
          <p:cNvSpPr/>
          <p:nvPr/>
        </p:nvSpPr>
        <p:spPr bwMode="auto">
          <a:xfrm>
            <a:off x="9266551" y="4160515"/>
            <a:ext cx="828000" cy="1440160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36000" tIns="54000" rIns="36000" bIns="54000" numCol="1" spcCol="72000" rtlCol="0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Financial</a:t>
            </a:r>
          </a:p>
          <a:p>
            <a:pPr>
              <a:spcBef>
                <a:spcPct val="0"/>
              </a:spcBef>
            </a:pPr>
            <a:r>
              <a:rPr lang="en-US" sz="950" b="1" dirty="0">
                <a:solidFill>
                  <a:srgbClr val="006487"/>
                </a:solidFill>
                <a:latin typeface="Arial" charset="0"/>
                <a:ea typeface="ＭＳ Ｐゴシック" pitchFamily="34" charset="-128"/>
                <a:cs typeface="Arial" charset="0"/>
              </a:rPr>
              <a:t>Services</a:t>
            </a:r>
            <a:endParaRPr lang="de-DE" sz="950" b="1" dirty="0">
              <a:solidFill>
                <a:srgbClr val="006487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48" name="Gerade Verbindung 34"/>
          <p:cNvCxnSpPr/>
          <p:nvPr/>
        </p:nvCxnSpPr>
        <p:spPr bwMode="auto">
          <a:xfrm flipH="1">
            <a:off x="2257351" y="6157691"/>
            <a:ext cx="7837200" cy="0"/>
          </a:xfrm>
          <a:prstGeom prst="line">
            <a:avLst/>
          </a:prstGeom>
          <a:solidFill>
            <a:srgbClr val="000000"/>
          </a:solidFill>
          <a:ln w="254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0144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889" y="904875"/>
            <a:ext cx="1863725" cy="220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Oval 1"/>
          <p:cNvSpPr/>
          <p:nvPr/>
        </p:nvSpPr>
        <p:spPr bwMode="auto">
          <a:xfrm>
            <a:off x="8508206" y="800101"/>
            <a:ext cx="2077244" cy="485775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AU" b="1" dirty="0">
              <a:solidFill>
                <a:schemeClr val="tx1"/>
              </a:solidFill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5713801" y="4084316"/>
            <a:ext cx="924300" cy="374973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A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853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6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11"/>
          <p:cNvSpPr>
            <a:spLocks noChangeArrowheads="1"/>
          </p:cNvSpPr>
          <p:nvPr/>
        </p:nvSpPr>
        <p:spPr bwMode="gray">
          <a:xfrm>
            <a:off x="627064" y="3684013"/>
            <a:ext cx="2153103" cy="182279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0" name="Rectangle 11"/>
          <p:cNvSpPr>
            <a:spLocks noChangeArrowheads="1"/>
          </p:cNvSpPr>
          <p:nvPr/>
        </p:nvSpPr>
        <p:spPr bwMode="gray">
          <a:xfrm>
            <a:off x="2860960" y="3684013"/>
            <a:ext cx="2153103" cy="182279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1" name="Rectangle 11"/>
          <p:cNvSpPr>
            <a:spLocks noChangeArrowheads="1"/>
          </p:cNvSpPr>
          <p:nvPr/>
        </p:nvSpPr>
        <p:spPr bwMode="gray">
          <a:xfrm>
            <a:off x="5094855" y="3684013"/>
            <a:ext cx="2153103" cy="182279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2" name="Rectangle 11"/>
          <p:cNvSpPr>
            <a:spLocks noChangeArrowheads="1"/>
          </p:cNvSpPr>
          <p:nvPr/>
        </p:nvSpPr>
        <p:spPr bwMode="gray">
          <a:xfrm>
            <a:off x="7247655" y="3684013"/>
            <a:ext cx="2153103" cy="182279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gray">
          <a:xfrm>
            <a:off x="9562647" y="3684013"/>
            <a:ext cx="2153103" cy="182279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45" name="Rectangle 11"/>
          <p:cNvSpPr>
            <a:spLocks noChangeArrowheads="1"/>
          </p:cNvSpPr>
          <p:nvPr/>
        </p:nvSpPr>
        <p:spPr bwMode="gray">
          <a:xfrm>
            <a:off x="5094855" y="2266474"/>
            <a:ext cx="2153103" cy="50400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200" b="1" smtClean="0">
                <a:solidFill>
                  <a:schemeClr val="accent5"/>
                </a:solidFill>
                <a:latin typeface="Arial"/>
              </a:rPr>
              <a:t>Urban Transport</a:t>
            </a: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46" name="Rectangle 11"/>
          <p:cNvSpPr>
            <a:spLocks noChangeArrowheads="1"/>
          </p:cNvSpPr>
          <p:nvPr/>
        </p:nvSpPr>
        <p:spPr bwMode="gray">
          <a:xfrm>
            <a:off x="7328751" y="2266474"/>
            <a:ext cx="2153103" cy="50400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200" b="1" dirty="0" smtClean="0">
                <a:solidFill>
                  <a:schemeClr val="accent5"/>
                </a:solidFill>
                <a:latin typeface="Arial"/>
              </a:rPr>
              <a:t>Turnkey Projects &amp; Electrification</a:t>
            </a: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Mobility Division is divided in five Business Units - </a:t>
            </a:r>
            <a:br>
              <a:rPr lang="en-US" dirty="0" smtClean="0"/>
            </a:br>
            <a:r>
              <a:rPr lang="en-US" dirty="0" smtClean="0"/>
              <a:t>Mobility Management takes care of Road &amp; Rail automation </a:t>
            </a:r>
            <a:endParaRPr lang="en-US" dirty="0"/>
          </a:p>
        </p:txBody>
      </p:sp>
      <p:sp>
        <p:nvSpPr>
          <p:cNvPr id="22" name="Textfeld 12"/>
          <p:cNvSpPr txBox="1">
            <a:spLocks noChangeArrowheads="1"/>
          </p:cNvSpPr>
          <p:nvPr/>
        </p:nvSpPr>
        <p:spPr bwMode="gray">
          <a:xfrm>
            <a:off x="627064" y="3867952"/>
            <a:ext cx="2152800" cy="730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14" tIns="0" rIns="36005" bIns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000000"/>
                </a:solidFill>
              </a:rPr>
              <a:t>Products, solutions and turnkey systems for </a:t>
            </a:r>
            <a:r>
              <a:rPr lang="en-US" sz="1100" b="1" kern="0" dirty="0" smtClean="0">
                <a:solidFill>
                  <a:srgbClr val="000000"/>
                </a:solidFill>
              </a:rPr>
              <a:t>road and rail automation</a:t>
            </a:r>
            <a:r>
              <a:rPr lang="en-US" sz="1100" kern="0" dirty="0" smtClean="0">
                <a:solidFill>
                  <a:srgbClr val="000000"/>
                </a:solidFill>
              </a:rPr>
              <a:t> and optimization</a:t>
            </a:r>
          </a:p>
        </p:txBody>
      </p:sp>
      <p:sp>
        <p:nvSpPr>
          <p:cNvPr id="23" name="Textfeld 12"/>
          <p:cNvSpPr txBox="1">
            <a:spLocks noChangeArrowheads="1"/>
          </p:cNvSpPr>
          <p:nvPr/>
        </p:nvSpPr>
        <p:spPr bwMode="gray">
          <a:xfrm>
            <a:off x="2860525" y="3860364"/>
            <a:ext cx="21528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14" tIns="0" rIns="36005" bIns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000000"/>
                </a:solidFill>
              </a:rPr>
              <a:t>Short-distance, regional and long-distance </a:t>
            </a:r>
            <a:r>
              <a:rPr lang="en-US" sz="1100" b="1" kern="0" dirty="0" smtClean="0">
                <a:solidFill>
                  <a:srgbClr val="000000"/>
                </a:solidFill>
              </a:rPr>
              <a:t>rolling stock</a:t>
            </a:r>
            <a:r>
              <a:rPr lang="en-US" sz="1100" kern="0" dirty="0" smtClean="0">
                <a:solidFill>
                  <a:srgbClr val="000000"/>
                </a:solidFill>
              </a:rPr>
              <a:t>, and product and system solutions for passenger and freight transport</a:t>
            </a:r>
          </a:p>
        </p:txBody>
      </p:sp>
      <p:sp>
        <p:nvSpPr>
          <p:cNvPr id="24" name="Textfeld 12"/>
          <p:cNvSpPr txBox="1">
            <a:spLocks noChangeArrowheads="1"/>
          </p:cNvSpPr>
          <p:nvPr/>
        </p:nvSpPr>
        <p:spPr bwMode="gray">
          <a:xfrm>
            <a:off x="5094855" y="3867952"/>
            <a:ext cx="2152800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14" tIns="0" rIns="36005" bIns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err="1" smtClean="0">
                <a:solidFill>
                  <a:srgbClr val="000000"/>
                </a:solidFill>
              </a:rPr>
              <a:t>Railbound</a:t>
            </a:r>
            <a:r>
              <a:rPr lang="en-US" sz="1100" kern="0" dirty="0" smtClean="0">
                <a:solidFill>
                  <a:srgbClr val="000000"/>
                </a:solidFill>
              </a:rPr>
              <a:t> </a:t>
            </a:r>
            <a:r>
              <a:rPr lang="en-US" sz="1100" b="1" kern="0" dirty="0" smtClean="0">
                <a:solidFill>
                  <a:srgbClr val="000000"/>
                </a:solidFill>
              </a:rPr>
              <a:t>urban public transport vehicles</a:t>
            </a:r>
            <a:r>
              <a:rPr lang="en-US" sz="1100" kern="0" dirty="0" smtClean="0">
                <a:solidFill>
                  <a:srgbClr val="000000"/>
                </a:solidFill>
              </a:rPr>
              <a:t>, </a:t>
            </a:r>
            <a:r>
              <a:rPr lang="en-US" sz="1100" kern="0" dirty="0" err="1" smtClean="0">
                <a:solidFill>
                  <a:srgbClr val="000000"/>
                </a:solidFill>
              </a:rPr>
              <a:t>eBuses</a:t>
            </a:r>
            <a:r>
              <a:rPr lang="en-US" sz="1100" kern="0" dirty="0" smtClean="0">
                <a:solidFill>
                  <a:srgbClr val="000000"/>
                </a:solidFill>
              </a:rPr>
              <a:t> and passenger coaches</a:t>
            </a:r>
          </a:p>
        </p:txBody>
      </p:sp>
      <p:sp>
        <p:nvSpPr>
          <p:cNvPr id="25" name="Textfeld 12"/>
          <p:cNvSpPr txBox="1">
            <a:spLocks noChangeArrowheads="1"/>
          </p:cNvSpPr>
          <p:nvPr/>
        </p:nvSpPr>
        <p:spPr bwMode="gray">
          <a:xfrm>
            <a:off x="7328751" y="3868793"/>
            <a:ext cx="2152800" cy="476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14" tIns="0" rIns="36005" bIns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smtClean="0">
                <a:solidFill>
                  <a:srgbClr val="000000"/>
                </a:solidFill>
              </a:rPr>
              <a:t>Complete road &amp; rail </a:t>
            </a:r>
            <a:r>
              <a:rPr lang="en-US" sz="1100" b="1" kern="0" dirty="0" smtClean="0">
                <a:solidFill>
                  <a:srgbClr val="000000"/>
                </a:solidFill>
              </a:rPr>
              <a:t>electrification</a:t>
            </a:r>
            <a:r>
              <a:rPr lang="en-US" sz="1100" kern="0" dirty="0" smtClean="0">
                <a:solidFill>
                  <a:srgbClr val="000000"/>
                </a:solidFill>
              </a:rPr>
              <a:t> solutions</a:t>
            </a:r>
          </a:p>
        </p:txBody>
      </p:sp>
      <p:sp>
        <p:nvSpPr>
          <p:cNvPr id="26" name="Textfeld 12"/>
          <p:cNvSpPr txBox="1">
            <a:spLocks noChangeArrowheads="1"/>
          </p:cNvSpPr>
          <p:nvPr/>
        </p:nvSpPr>
        <p:spPr bwMode="gray">
          <a:xfrm>
            <a:off x="9562950" y="3844367"/>
            <a:ext cx="2152800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14" tIns="0" rIns="36005" bIns="0" anchor="t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rgbClr val="000000"/>
                </a:solidFill>
              </a:rPr>
              <a:t>Services </a:t>
            </a:r>
            <a:r>
              <a:rPr lang="en-US" sz="1100" kern="0" dirty="0" smtClean="0">
                <a:solidFill>
                  <a:srgbClr val="000000"/>
                </a:solidFill>
              </a:rPr>
              <a:t>and tools for road and rail infrastructure and rolling stock</a:t>
            </a:r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2700" y="12700"/>
            <a:ext cx="8890000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" smtClean="0">
                <a:solidFill>
                  <a:srgbClr val="FFFFFF"/>
                </a:solidFill>
              </a:rPr>
              <a:t>39_84</a:t>
            </a:r>
            <a:endParaRPr lang="en-US" sz="100" dirty="0" err="1" smtClean="0">
              <a:solidFill>
                <a:srgbClr val="FFFFFF"/>
              </a:solidFill>
            </a:endParaRPr>
          </a:p>
        </p:txBody>
      </p:sp>
      <p:sp>
        <p:nvSpPr>
          <p:cNvPr id="40" name="Rectangle 11"/>
          <p:cNvSpPr>
            <a:spLocks noChangeArrowheads="1"/>
          </p:cNvSpPr>
          <p:nvPr/>
        </p:nvSpPr>
        <p:spPr bwMode="gray">
          <a:xfrm>
            <a:off x="627062" y="1878776"/>
            <a:ext cx="129202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t">
            <a:sp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400" b="1" dirty="0" smtClean="0">
                <a:solidFill>
                  <a:schemeClr val="tx2"/>
                </a:solidFill>
              </a:rPr>
              <a:t>Business Units</a:t>
            </a:r>
            <a:endParaRPr lang="en-US" sz="1400" i="1" dirty="0">
              <a:solidFill>
                <a:schemeClr val="tx2"/>
              </a:solidFill>
            </a:endParaRPr>
          </a:p>
        </p:txBody>
      </p:sp>
      <p:cxnSp>
        <p:nvCxnSpPr>
          <p:cNvPr id="41" name="Gerade Verbindung 40"/>
          <p:cNvCxnSpPr/>
          <p:nvPr/>
        </p:nvCxnSpPr>
        <p:spPr bwMode="gray">
          <a:xfrm>
            <a:off x="627062" y="2139253"/>
            <a:ext cx="1108868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Picture 14" descr="N:\02_MarCom\MO standard presentation\Bilder\BU MLT\Velaro D\DSC01343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2860960" y="2691479"/>
            <a:ext cx="2152365" cy="933450"/>
          </a:xfrm>
          <a:prstGeom prst="rect">
            <a:avLst/>
          </a:prstGeom>
          <a:noFill/>
        </p:spPr>
      </p:pic>
      <p:sp>
        <p:nvSpPr>
          <p:cNvPr id="44" name="Rectangle 11"/>
          <p:cNvSpPr>
            <a:spLocks noChangeArrowheads="1"/>
          </p:cNvSpPr>
          <p:nvPr/>
        </p:nvSpPr>
        <p:spPr bwMode="gray">
          <a:xfrm>
            <a:off x="2860960" y="2266474"/>
            <a:ext cx="2153103" cy="50400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200" b="1" smtClean="0">
                <a:solidFill>
                  <a:schemeClr val="accent5"/>
                </a:solidFill>
                <a:latin typeface="Arial"/>
              </a:rPr>
              <a:t>Mainline Transport</a:t>
            </a: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sp>
        <p:nvSpPr>
          <p:cNvPr id="47" name="Rectangle 11"/>
          <p:cNvSpPr>
            <a:spLocks noChangeArrowheads="1"/>
          </p:cNvSpPr>
          <p:nvPr/>
        </p:nvSpPr>
        <p:spPr bwMode="gray">
          <a:xfrm>
            <a:off x="9562647" y="2266474"/>
            <a:ext cx="2153103" cy="50400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200" b="1" dirty="0" smtClean="0">
                <a:solidFill>
                  <a:schemeClr val="accent5"/>
                </a:solidFill>
                <a:latin typeface="Arial"/>
              </a:rPr>
              <a:t>Customer Services</a:t>
            </a: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pic>
        <p:nvPicPr>
          <p:cNvPr id="55" name="Picture 16" descr="N:\05_Communication_Services\Mediathek\Fotos\Frei verwendbare Fotos\06 MTS\Bangkok\Airport Rail Link\airport rail link bangkok_v2.jpg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328751" y="2770475"/>
            <a:ext cx="2152800" cy="849027"/>
          </a:xfrm>
          <a:prstGeom prst="rect">
            <a:avLst/>
          </a:prstGeom>
          <a:noFill/>
        </p:spPr>
      </p:pic>
      <p:pic>
        <p:nvPicPr>
          <p:cNvPr id="42" name="Picture 15" descr="N:\02_MarCom\MO standard presentation\Bilder\velaroRUS_depot.jpg"/>
          <p:cNvPicPr>
            <a:picLocks noChangeAspect="1" noChangeArrowheads="1"/>
          </p:cNvPicPr>
          <p:nvPr/>
        </p:nvPicPr>
        <p:blipFill>
          <a:blip r:embed="rId10" cstate="screen">
            <a:lum bright="-10000" contrast="-10000"/>
          </a:blip>
          <a:srcRect/>
          <a:stretch>
            <a:fillRect/>
          </a:stretch>
        </p:blipFill>
        <p:spPr bwMode="auto">
          <a:xfrm>
            <a:off x="9562647" y="2770475"/>
            <a:ext cx="2153103" cy="847953"/>
          </a:xfrm>
          <a:prstGeom prst="rect">
            <a:avLst/>
          </a:prstGeom>
          <a:noFill/>
        </p:spPr>
      </p:pic>
      <p:pic>
        <p:nvPicPr>
          <p:cNvPr id="5179" name="Picture 59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627063" y="2724818"/>
            <a:ext cx="2152802" cy="892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Rectangle 11"/>
          <p:cNvSpPr>
            <a:spLocks noChangeArrowheads="1"/>
          </p:cNvSpPr>
          <p:nvPr/>
        </p:nvSpPr>
        <p:spPr bwMode="gray">
          <a:xfrm>
            <a:off x="627064" y="2266474"/>
            <a:ext cx="2153103" cy="50400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wrap="square" lIns="108000" tIns="72000" rIns="72000" bIns="72000" anchor="t"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ct val="10000"/>
              </a:spcBef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200" b="1" dirty="0" smtClean="0">
                <a:solidFill>
                  <a:schemeClr val="accent5"/>
                </a:solidFill>
                <a:latin typeface="Arial"/>
              </a:rPr>
              <a:t>Mobility Management</a:t>
            </a:r>
            <a:endParaRPr lang="en-US" sz="1200" b="1" dirty="0">
              <a:solidFill>
                <a:schemeClr val="accent5"/>
              </a:solidFill>
              <a:latin typeface="Arial"/>
            </a:endParaRPr>
          </a:p>
        </p:txBody>
      </p:sp>
      <p:pic>
        <p:nvPicPr>
          <p:cNvPr id="56" name="Picture 4" descr="Y:\03_CC\Fotos\2. Straßenbahnen\Avenio\Avenio Den Haag\2014.05.22_PCW shooting\Avenio_Außenansichten\Bild 07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101092" y="2770475"/>
            <a:ext cx="2152799" cy="851956"/>
          </a:xfrm>
          <a:prstGeom prst="rect">
            <a:avLst/>
          </a:prstGeom>
          <a:noFill/>
        </p:spPr>
      </p:pic>
      <p:sp>
        <p:nvSpPr>
          <p:cNvPr id="39" name="Rechteck 38"/>
          <p:cNvSpPr/>
          <p:nvPr/>
        </p:nvSpPr>
        <p:spPr bwMode="auto">
          <a:xfrm>
            <a:off x="584886" y="2224216"/>
            <a:ext cx="2224217" cy="3336325"/>
          </a:xfrm>
          <a:prstGeom prst="rect">
            <a:avLst/>
          </a:prstGeom>
          <a:noFill/>
          <a:ln w="25400">
            <a:solidFill>
              <a:srgbClr val="EB780A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78759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378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4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1" y="3308293"/>
            <a:ext cx="6760875" cy="2494202"/>
          </a:xfrm>
        </p:spPr>
        <p:txBody>
          <a:bodyPr/>
          <a:lstStyle/>
          <a:p>
            <a:r>
              <a:rPr lang="en-US" sz="3600" dirty="0" smtClean="0"/>
              <a:t>Real Time Optimiser (RTO) </a:t>
            </a:r>
            <a:br>
              <a:rPr lang="en-US" sz="3600" dirty="0" smtClean="0"/>
            </a:br>
            <a:r>
              <a:rPr lang="en-US" sz="2400" dirty="0" smtClean="0"/>
              <a:t>The next </a:t>
            </a:r>
            <a:r>
              <a:rPr lang="en-US" sz="2400" dirty="0"/>
              <a:t>generation of </a:t>
            </a:r>
            <a:r>
              <a:rPr lang="en-US" sz="2400" dirty="0" smtClean="0"/>
              <a:t>Urban Traffic Control System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800" b="0" noProof="0" dirty="0" smtClean="0"/>
              <a:t/>
            </a:r>
            <a:br>
              <a:rPr lang="en-US" sz="1800" b="0" noProof="0" dirty="0" smtClean="0"/>
            </a:br>
            <a:r>
              <a:rPr lang="en-US" sz="2000" noProof="0" dirty="0" smtClean="0"/>
              <a:t>Philip Manning </a:t>
            </a:r>
            <a:r>
              <a:rPr lang="en-US" sz="2000" dirty="0" smtClean="0"/>
              <a:t> </a:t>
            </a:r>
            <a:br>
              <a:rPr lang="en-US" sz="2000" dirty="0" smtClean="0"/>
            </a:br>
            <a:r>
              <a:rPr lang="en-US" sz="2000" dirty="0" smtClean="0"/>
              <a:t>Siemens Mobility ITS - ANZ  </a:t>
            </a:r>
            <a:endParaRPr lang="en-US" sz="2000" b="0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6760873" cy="324000"/>
          </a:xfrm>
        </p:spPr>
        <p:txBody>
          <a:bodyPr/>
          <a:lstStyle/>
          <a:p>
            <a:r>
              <a:rPr lang="en-US" noProof="0" dirty="0" smtClean="0"/>
              <a:t>siemens.com/traffic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Unrestricted © Siemens AG 2018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0798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43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4608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40646">
            <a:off x="7236324" y="4109728"/>
            <a:ext cx="4755484" cy="234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72339">
            <a:off x="6989259" y="741002"/>
            <a:ext cx="3873481" cy="250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emens to deliver ‘next generation’ London </a:t>
            </a:r>
            <a:br>
              <a:rPr lang="en-US" dirty="0" smtClean="0"/>
            </a:br>
            <a:r>
              <a:rPr lang="en-US" dirty="0" smtClean="0"/>
              <a:t>traffic management system</a:t>
            </a:r>
            <a:endParaRPr lang="en-US" dirty="0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31541">
            <a:off x="298085" y="2592733"/>
            <a:ext cx="3753078" cy="2344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7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8965" y="2547638"/>
            <a:ext cx="8055446" cy="1565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9" name="Picture 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87619">
            <a:off x="1030911" y="3590343"/>
            <a:ext cx="9581028" cy="17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36" y="4852574"/>
            <a:ext cx="4747721" cy="198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8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121607">
            <a:off x="3802811" y="3613607"/>
            <a:ext cx="8523498" cy="161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6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46230">
            <a:off x="191552" y="1302216"/>
            <a:ext cx="6852187" cy="1379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4781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60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60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60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60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60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60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60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60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60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60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60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60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60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60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s highlight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607523">
            <a:off x="887712" y="4149655"/>
            <a:ext cx="3537893" cy="1743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15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TO</a:t>
            </a:r>
          </a:p>
        </p:txBody>
      </p:sp>
      <p:pic>
        <p:nvPicPr>
          <p:cNvPr id="671746" name="Picture 2" descr="Bildergebnis fÃ¼r traffic for lond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96476">
            <a:off x="599367" y="1923204"/>
            <a:ext cx="4252068" cy="1111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1748" name="Picture 4" descr="Bildergebnis fÃ¼r sieme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07302">
            <a:off x="6752551" y="4931897"/>
            <a:ext cx="5016163" cy="79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 rot="264316">
            <a:off x="6864842" y="1268934"/>
            <a:ext cx="5273359" cy="1727626"/>
            <a:chOff x="6626540" y="1484835"/>
            <a:chExt cx="5273359" cy="1727626"/>
          </a:xfrm>
        </p:grpSpPr>
        <p:sp>
          <p:nvSpPr>
            <p:cNvPr id="6" name="TextBox 5"/>
            <p:cNvSpPr txBox="1"/>
            <p:nvPr/>
          </p:nvSpPr>
          <p:spPr>
            <a:xfrm>
              <a:off x="6626540" y="1484835"/>
              <a:ext cx="5273359" cy="17276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1500" b="1" dirty="0" smtClean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OOT</a:t>
              </a:r>
            </a:p>
          </p:txBody>
        </p:sp>
        <p:sp>
          <p:nvSpPr>
            <p:cNvPr id="12" name="Oval 5"/>
            <p:cNvSpPr>
              <a:spLocks noChangeArrowheads="1"/>
            </p:cNvSpPr>
            <p:nvPr/>
          </p:nvSpPr>
          <p:spPr bwMode="auto">
            <a:xfrm>
              <a:off x="7799822" y="1963386"/>
              <a:ext cx="763363" cy="865668"/>
            </a:xfrm>
            <a:prstGeom prst="ellipse">
              <a:avLst/>
            </a:prstGeom>
            <a:solidFill>
              <a:srgbClr val="FF000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rIns="18000" anchor="ctr"/>
            <a:lstStyle/>
            <a:p>
              <a:endParaRPr lang="en-US" dirty="0"/>
            </a:p>
          </p:txBody>
        </p:sp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8927679" y="1976334"/>
              <a:ext cx="763363" cy="865668"/>
            </a:xfrm>
            <a:prstGeom prst="ellipse">
              <a:avLst/>
            </a:prstGeom>
            <a:solidFill>
              <a:srgbClr val="FF990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rIns="18000" anchor="ctr"/>
            <a:lstStyle/>
            <a:p>
              <a:endParaRPr lang="en-US" dirty="0"/>
            </a:p>
          </p:txBody>
        </p:sp>
        <p:sp>
          <p:nvSpPr>
            <p:cNvPr id="14" name="Oval 9"/>
            <p:cNvSpPr>
              <a:spLocks noChangeArrowheads="1"/>
            </p:cNvSpPr>
            <p:nvPr/>
          </p:nvSpPr>
          <p:spPr bwMode="auto">
            <a:xfrm>
              <a:off x="10027988" y="1963385"/>
              <a:ext cx="763363" cy="865668"/>
            </a:xfrm>
            <a:prstGeom prst="ellipse">
              <a:avLst/>
            </a:prstGeom>
            <a:solidFill>
              <a:srgbClr val="008000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rIns="18000" anchor="ctr"/>
            <a:lstStyle/>
            <a:p>
              <a:endParaRPr lang="en-US" dirty="0"/>
            </a:p>
          </p:txBody>
        </p:sp>
      </p:grpSp>
      <p:grpSp>
        <p:nvGrpSpPr>
          <p:cNvPr id="17" name="Group 16"/>
          <p:cNvGrpSpPr>
            <a:grpSpLocks noChangeAspect="1"/>
          </p:cNvGrpSpPr>
          <p:nvPr/>
        </p:nvGrpSpPr>
        <p:grpSpPr bwMode="auto">
          <a:xfrm>
            <a:off x="5275377" y="2520153"/>
            <a:ext cx="1587852" cy="2811470"/>
            <a:chOff x="4263" y="-1514"/>
            <a:chExt cx="2036" cy="3605"/>
          </a:xfrm>
          <a:solidFill>
            <a:srgbClr val="00646E"/>
          </a:solidFill>
        </p:grpSpPr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4263" y="-1514"/>
              <a:ext cx="2036" cy="2838"/>
            </a:xfrm>
            <a:custGeom>
              <a:avLst/>
              <a:gdLst>
                <a:gd name="T0" fmla="*/ 859 w 859"/>
                <a:gd name="T1" fmla="*/ 424 h 1199"/>
                <a:gd name="T2" fmla="*/ 859 w 859"/>
                <a:gd name="T3" fmla="*/ 424 h 1199"/>
                <a:gd name="T4" fmla="*/ 430 w 859"/>
                <a:gd name="T5" fmla="*/ 0 h 1199"/>
                <a:gd name="T6" fmla="*/ 0 w 859"/>
                <a:gd name="T7" fmla="*/ 429 h 1199"/>
                <a:gd name="T8" fmla="*/ 0 w 859"/>
                <a:gd name="T9" fmla="*/ 430 h 1199"/>
                <a:gd name="T10" fmla="*/ 0 w 859"/>
                <a:gd name="T11" fmla="*/ 431 h 1199"/>
                <a:gd name="T12" fmla="*/ 108 w 859"/>
                <a:gd name="T13" fmla="*/ 542 h 1199"/>
                <a:gd name="T14" fmla="*/ 216 w 859"/>
                <a:gd name="T15" fmla="*/ 432 h 1199"/>
                <a:gd name="T16" fmla="*/ 216 w 859"/>
                <a:gd name="T17" fmla="*/ 432 h 1199"/>
                <a:gd name="T18" fmla="*/ 216 w 859"/>
                <a:gd name="T19" fmla="*/ 430 h 1199"/>
                <a:gd name="T20" fmla="*/ 216 w 859"/>
                <a:gd name="T21" fmla="*/ 428 h 1199"/>
                <a:gd name="T22" fmla="*/ 216 w 859"/>
                <a:gd name="T23" fmla="*/ 425 h 1199"/>
                <a:gd name="T24" fmla="*/ 216 w 859"/>
                <a:gd name="T25" fmla="*/ 424 h 1199"/>
                <a:gd name="T26" fmla="*/ 216 w 859"/>
                <a:gd name="T27" fmla="*/ 424 h 1199"/>
                <a:gd name="T28" fmla="*/ 428 w 859"/>
                <a:gd name="T29" fmla="*/ 220 h 1199"/>
                <a:gd name="T30" fmla="*/ 639 w 859"/>
                <a:gd name="T31" fmla="*/ 424 h 1199"/>
                <a:gd name="T32" fmla="*/ 639 w 859"/>
                <a:gd name="T33" fmla="*/ 424 h 1199"/>
                <a:gd name="T34" fmla="*/ 639 w 859"/>
                <a:gd name="T35" fmla="*/ 425 h 1199"/>
                <a:gd name="T36" fmla="*/ 639 w 859"/>
                <a:gd name="T37" fmla="*/ 428 h 1199"/>
                <a:gd name="T38" fmla="*/ 639 w 859"/>
                <a:gd name="T39" fmla="*/ 430 h 1199"/>
                <a:gd name="T40" fmla="*/ 639 w 859"/>
                <a:gd name="T41" fmla="*/ 432 h 1199"/>
                <a:gd name="T42" fmla="*/ 639 w 859"/>
                <a:gd name="T43" fmla="*/ 432 h 1199"/>
                <a:gd name="T44" fmla="*/ 428 w 859"/>
                <a:gd name="T45" fmla="*/ 639 h 1199"/>
                <a:gd name="T46" fmla="*/ 320 w 859"/>
                <a:gd name="T47" fmla="*/ 747 h 1199"/>
                <a:gd name="T48" fmla="*/ 320 w 859"/>
                <a:gd name="T49" fmla="*/ 747 h 1199"/>
                <a:gd name="T50" fmla="*/ 320 w 859"/>
                <a:gd name="T51" fmla="*/ 1087 h 1199"/>
                <a:gd name="T52" fmla="*/ 320 w 859"/>
                <a:gd name="T53" fmla="*/ 1087 h 1199"/>
                <a:gd name="T54" fmla="*/ 320 w 859"/>
                <a:gd name="T55" fmla="*/ 1088 h 1199"/>
                <a:gd name="T56" fmla="*/ 432 w 859"/>
                <a:gd name="T57" fmla="*/ 1199 h 1199"/>
                <a:gd name="T58" fmla="*/ 543 w 859"/>
                <a:gd name="T59" fmla="*/ 1088 h 1199"/>
                <a:gd name="T60" fmla="*/ 543 w 859"/>
                <a:gd name="T61" fmla="*/ 1087 h 1199"/>
                <a:gd name="T62" fmla="*/ 543 w 859"/>
                <a:gd name="T63" fmla="*/ 1087 h 1199"/>
                <a:gd name="T64" fmla="*/ 543 w 859"/>
                <a:gd name="T65" fmla="*/ 843 h 1199"/>
                <a:gd name="T66" fmla="*/ 859 w 859"/>
                <a:gd name="T67" fmla="*/ 430 h 1199"/>
                <a:gd name="T68" fmla="*/ 859 w 859"/>
                <a:gd name="T69" fmla="*/ 429 h 1199"/>
                <a:gd name="T70" fmla="*/ 859 w 859"/>
                <a:gd name="T71" fmla="*/ 426 h 1199"/>
                <a:gd name="T72" fmla="*/ 859 w 859"/>
                <a:gd name="T73" fmla="*/ 424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1199">
                  <a:moveTo>
                    <a:pt x="859" y="424"/>
                  </a:moveTo>
                  <a:cubicBezTo>
                    <a:pt x="859" y="424"/>
                    <a:pt x="859" y="424"/>
                    <a:pt x="859" y="424"/>
                  </a:cubicBezTo>
                  <a:cubicBezTo>
                    <a:pt x="856" y="189"/>
                    <a:pt x="665" y="0"/>
                    <a:pt x="430" y="0"/>
                  </a:cubicBezTo>
                  <a:cubicBezTo>
                    <a:pt x="192" y="0"/>
                    <a:pt x="0" y="192"/>
                    <a:pt x="0" y="429"/>
                  </a:cubicBezTo>
                  <a:cubicBezTo>
                    <a:pt x="0" y="430"/>
                    <a:pt x="0" y="430"/>
                    <a:pt x="0" y="430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92"/>
                    <a:pt x="48" y="542"/>
                    <a:pt x="108" y="542"/>
                  </a:cubicBezTo>
                  <a:cubicBezTo>
                    <a:pt x="167" y="542"/>
                    <a:pt x="215" y="493"/>
                    <a:pt x="216" y="432"/>
                  </a:cubicBezTo>
                  <a:cubicBezTo>
                    <a:pt x="216" y="432"/>
                    <a:pt x="216" y="432"/>
                    <a:pt x="216" y="432"/>
                  </a:cubicBezTo>
                  <a:cubicBezTo>
                    <a:pt x="216" y="431"/>
                    <a:pt x="216" y="431"/>
                    <a:pt x="216" y="430"/>
                  </a:cubicBezTo>
                  <a:cubicBezTo>
                    <a:pt x="216" y="430"/>
                    <a:pt x="216" y="429"/>
                    <a:pt x="216" y="428"/>
                  </a:cubicBezTo>
                  <a:cubicBezTo>
                    <a:pt x="216" y="427"/>
                    <a:pt x="216" y="426"/>
                    <a:pt x="216" y="425"/>
                  </a:cubicBezTo>
                  <a:cubicBezTo>
                    <a:pt x="216" y="424"/>
                    <a:pt x="216" y="424"/>
                    <a:pt x="216" y="424"/>
                  </a:cubicBezTo>
                  <a:cubicBezTo>
                    <a:pt x="216" y="424"/>
                    <a:pt x="216" y="424"/>
                    <a:pt x="216" y="424"/>
                  </a:cubicBezTo>
                  <a:cubicBezTo>
                    <a:pt x="219" y="310"/>
                    <a:pt x="313" y="220"/>
                    <a:pt x="428" y="220"/>
                  </a:cubicBezTo>
                  <a:cubicBezTo>
                    <a:pt x="542" y="220"/>
                    <a:pt x="636" y="310"/>
                    <a:pt x="639" y="424"/>
                  </a:cubicBezTo>
                  <a:cubicBezTo>
                    <a:pt x="639" y="424"/>
                    <a:pt x="639" y="424"/>
                    <a:pt x="639" y="424"/>
                  </a:cubicBezTo>
                  <a:cubicBezTo>
                    <a:pt x="639" y="424"/>
                    <a:pt x="639" y="424"/>
                    <a:pt x="639" y="425"/>
                  </a:cubicBezTo>
                  <a:cubicBezTo>
                    <a:pt x="639" y="426"/>
                    <a:pt x="639" y="427"/>
                    <a:pt x="639" y="428"/>
                  </a:cubicBezTo>
                  <a:cubicBezTo>
                    <a:pt x="639" y="429"/>
                    <a:pt x="639" y="430"/>
                    <a:pt x="639" y="430"/>
                  </a:cubicBezTo>
                  <a:cubicBezTo>
                    <a:pt x="639" y="432"/>
                    <a:pt x="639" y="432"/>
                    <a:pt x="639" y="432"/>
                  </a:cubicBezTo>
                  <a:cubicBezTo>
                    <a:pt x="639" y="432"/>
                    <a:pt x="639" y="432"/>
                    <a:pt x="639" y="432"/>
                  </a:cubicBezTo>
                  <a:cubicBezTo>
                    <a:pt x="636" y="547"/>
                    <a:pt x="542" y="639"/>
                    <a:pt x="428" y="639"/>
                  </a:cubicBezTo>
                  <a:cubicBezTo>
                    <a:pt x="369" y="639"/>
                    <a:pt x="322" y="687"/>
                    <a:pt x="320" y="747"/>
                  </a:cubicBezTo>
                  <a:cubicBezTo>
                    <a:pt x="320" y="747"/>
                    <a:pt x="320" y="747"/>
                    <a:pt x="320" y="747"/>
                  </a:cubicBezTo>
                  <a:cubicBezTo>
                    <a:pt x="320" y="1087"/>
                    <a:pt x="320" y="1087"/>
                    <a:pt x="320" y="1087"/>
                  </a:cubicBezTo>
                  <a:cubicBezTo>
                    <a:pt x="320" y="1087"/>
                    <a:pt x="320" y="1087"/>
                    <a:pt x="320" y="1087"/>
                  </a:cubicBezTo>
                  <a:cubicBezTo>
                    <a:pt x="320" y="1088"/>
                    <a:pt x="320" y="1088"/>
                    <a:pt x="320" y="1088"/>
                  </a:cubicBezTo>
                  <a:cubicBezTo>
                    <a:pt x="320" y="1149"/>
                    <a:pt x="370" y="1199"/>
                    <a:pt x="432" y="1199"/>
                  </a:cubicBezTo>
                  <a:cubicBezTo>
                    <a:pt x="493" y="1199"/>
                    <a:pt x="543" y="1149"/>
                    <a:pt x="543" y="1088"/>
                  </a:cubicBezTo>
                  <a:cubicBezTo>
                    <a:pt x="543" y="1087"/>
                    <a:pt x="543" y="1087"/>
                    <a:pt x="543" y="1087"/>
                  </a:cubicBezTo>
                  <a:cubicBezTo>
                    <a:pt x="543" y="1087"/>
                    <a:pt x="543" y="1087"/>
                    <a:pt x="543" y="1087"/>
                  </a:cubicBezTo>
                  <a:cubicBezTo>
                    <a:pt x="543" y="843"/>
                    <a:pt x="543" y="843"/>
                    <a:pt x="543" y="843"/>
                  </a:cubicBezTo>
                  <a:cubicBezTo>
                    <a:pt x="724" y="793"/>
                    <a:pt x="856" y="627"/>
                    <a:pt x="859" y="430"/>
                  </a:cubicBezTo>
                  <a:cubicBezTo>
                    <a:pt x="859" y="429"/>
                    <a:pt x="859" y="429"/>
                    <a:pt x="859" y="429"/>
                  </a:cubicBezTo>
                  <a:cubicBezTo>
                    <a:pt x="859" y="428"/>
                    <a:pt x="859" y="427"/>
                    <a:pt x="859" y="426"/>
                  </a:cubicBezTo>
                  <a:cubicBezTo>
                    <a:pt x="859" y="426"/>
                    <a:pt x="859" y="425"/>
                    <a:pt x="859" y="4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3C464B"/>
                </a:solidFill>
              </a:endParaRPr>
            </a:p>
          </p:txBody>
        </p:sp>
        <p:sp>
          <p:nvSpPr>
            <p:cNvPr id="19" name="Oval 18"/>
            <p:cNvSpPr>
              <a:spLocks noChangeArrowheads="1"/>
            </p:cNvSpPr>
            <p:nvPr/>
          </p:nvSpPr>
          <p:spPr bwMode="auto">
            <a:xfrm>
              <a:off x="5031" y="1579"/>
              <a:ext cx="519" cy="5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3C46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5916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676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5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is SCOOT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21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551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2200" b="1" dirty="0" smtClean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OT is a </a:t>
            </a:r>
            <a:r>
              <a:rPr lang="en-US" dirty="0" smtClean="0"/>
              <a:t>global UTC system, jointly </a:t>
            </a:r>
            <a:r>
              <a:rPr lang="en-US" dirty="0"/>
              <a:t>developed by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RL, Siemens </a:t>
            </a:r>
            <a:r>
              <a:rPr lang="en-US" dirty="0"/>
              <a:t>and Dynniq from the 1980’s onwards</a:t>
            </a:r>
          </a:p>
        </p:txBody>
      </p:sp>
      <p:sp>
        <p:nvSpPr>
          <p:cNvPr id="4" name="Rechteck 2"/>
          <p:cNvSpPr/>
          <p:nvPr/>
        </p:nvSpPr>
        <p:spPr bwMode="auto">
          <a:xfrm>
            <a:off x="5640624" y="1412720"/>
            <a:ext cx="6557726" cy="478672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wrap="square" lIns="540000" tIns="356616" rIns="540000" bIns="540000" anchor="t" anchorCtr="0">
            <a:noAutofit/>
          </a:bodyPr>
          <a:lstStyle/>
          <a:p>
            <a:pPr lvl="1"/>
            <a:endParaRPr lang="en-US" dirty="0"/>
          </a:p>
        </p:txBody>
      </p:sp>
      <p:sp>
        <p:nvSpPr>
          <p:cNvPr id="5" name="Richtungspfeil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-1" y="1412669"/>
            <a:ext cx="6422360" cy="4786770"/>
          </a:xfrm>
          <a:prstGeom prst="homePlate">
            <a:avLst>
              <a:gd name="adj" fmla="val 11749"/>
            </a:avLst>
          </a:prstGeom>
          <a:solidFill>
            <a:srgbClr val="DFE6ED"/>
          </a:solidFill>
          <a:ln w="9525" cap="flat" cmpd="sng" algn="ctr">
            <a:solidFill>
              <a:srgbClr val="DFE6E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626400" tIns="360000" rIns="1080000" bIns="360000" numCol="1" spcCol="72000" rtlCol="0" anchor="t">
            <a:noAutofit/>
          </a:bodyPr>
          <a:lstStyle/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2000" b="1" dirty="0">
              <a:solidFill>
                <a:srgbClr val="00646E"/>
              </a:solidFill>
            </a:endParaRPr>
          </a:p>
          <a:p>
            <a:pPr>
              <a:spcBef>
                <a:spcPts val="600"/>
              </a:spcBef>
              <a:buClr>
                <a:srgbClr val="879BAA">
                  <a:lumMod val="100000"/>
                </a:srgbClr>
              </a:buClr>
              <a:buSzPct val="100000"/>
            </a:pPr>
            <a:endParaRPr lang="en-US" sz="2000" b="1" dirty="0">
              <a:solidFill>
                <a:srgbClr val="00646E"/>
              </a:solidFill>
            </a:endParaRPr>
          </a:p>
        </p:txBody>
      </p:sp>
      <p:sp>
        <p:nvSpPr>
          <p:cNvPr id="6" name="Eingekerbter Richtungspfeil 26"/>
          <p:cNvSpPr/>
          <p:nvPr/>
        </p:nvSpPr>
        <p:spPr bwMode="gray">
          <a:xfrm>
            <a:off x="5760371" y="1412669"/>
            <a:ext cx="661988" cy="4786770"/>
          </a:xfrm>
          <a:prstGeom prst="chevron">
            <a:avLst>
              <a:gd name="adj" fmla="val 78609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1" name="Rectangle 70"/>
          <p:cNvSpPr>
            <a:spLocks noChangeArrowheads="1"/>
          </p:cNvSpPr>
          <p:nvPr/>
        </p:nvSpPr>
        <p:spPr bwMode="auto">
          <a:xfrm>
            <a:off x="6479347" y="1821670"/>
            <a:ext cx="5305297" cy="585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sz="16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SCOOT is marketed worldwide and Siemens has an install base of ~</a:t>
            </a:r>
            <a:r>
              <a:rPr lang="en-US" altLang="en-US" sz="1600" b="1" dirty="0" smtClean="0">
                <a:solidFill>
                  <a:schemeClr val="bg1"/>
                </a:solidFill>
              </a:rPr>
              <a:t>130 PC SCOOT Systems</a:t>
            </a:r>
            <a:endParaRPr lang="en-US" altLang="en-US" sz="1600" b="1" dirty="0">
              <a:solidFill>
                <a:schemeClr val="bg1"/>
              </a:solidFill>
            </a:endParaRPr>
          </a:p>
        </p:txBody>
      </p:sp>
      <p:grpSp>
        <p:nvGrpSpPr>
          <p:cNvPr id="149" name="Group 148"/>
          <p:cNvGrpSpPr/>
          <p:nvPr/>
        </p:nvGrpSpPr>
        <p:grpSpPr>
          <a:xfrm>
            <a:off x="6498272" y="3110180"/>
            <a:ext cx="5462024" cy="2118618"/>
            <a:chOff x="6677229" y="2204131"/>
            <a:chExt cx="5147654" cy="1996680"/>
          </a:xfrm>
        </p:grpSpPr>
        <p:grpSp>
          <p:nvGrpSpPr>
            <p:cNvPr id="43" name="Group 4"/>
            <p:cNvGrpSpPr>
              <a:grpSpLocks/>
            </p:cNvGrpSpPr>
            <p:nvPr/>
          </p:nvGrpSpPr>
          <p:grpSpPr bwMode="auto">
            <a:xfrm>
              <a:off x="8729267" y="2204131"/>
              <a:ext cx="2211584" cy="1669912"/>
              <a:chOff x="2311" y="616"/>
              <a:chExt cx="2391" cy="2769"/>
            </a:xfrm>
            <a:solidFill>
              <a:schemeClr val="bg1"/>
            </a:solidFill>
          </p:grpSpPr>
          <p:sp>
            <p:nvSpPr>
              <p:cNvPr id="141" name="Freeform 5"/>
              <p:cNvSpPr>
                <a:spLocks/>
              </p:cNvSpPr>
              <p:nvPr/>
            </p:nvSpPr>
            <p:spPr bwMode="auto">
              <a:xfrm>
                <a:off x="2311" y="1581"/>
                <a:ext cx="1193" cy="1804"/>
              </a:xfrm>
              <a:custGeom>
                <a:avLst/>
                <a:gdLst>
                  <a:gd name="T0" fmla="*/ 911 w 1193"/>
                  <a:gd name="T1" fmla="*/ 292 h 1804"/>
                  <a:gd name="T2" fmla="*/ 1022 w 1193"/>
                  <a:gd name="T3" fmla="*/ 591 h 1804"/>
                  <a:gd name="T4" fmla="*/ 1067 w 1193"/>
                  <a:gd name="T5" fmla="*/ 666 h 1804"/>
                  <a:gd name="T6" fmla="*/ 1165 w 1193"/>
                  <a:gd name="T7" fmla="*/ 647 h 1804"/>
                  <a:gd name="T8" fmla="*/ 1190 w 1193"/>
                  <a:gd name="T9" fmla="*/ 720 h 1804"/>
                  <a:gd name="T10" fmla="*/ 1073 w 1193"/>
                  <a:gd name="T11" fmla="*/ 921 h 1804"/>
                  <a:gd name="T12" fmla="*/ 977 w 1193"/>
                  <a:gd name="T13" fmla="*/ 1153 h 1804"/>
                  <a:gd name="T14" fmla="*/ 990 w 1193"/>
                  <a:gd name="T15" fmla="*/ 1238 h 1804"/>
                  <a:gd name="T16" fmla="*/ 990 w 1193"/>
                  <a:gd name="T17" fmla="*/ 1322 h 1804"/>
                  <a:gd name="T18" fmla="*/ 947 w 1193"/>
                  <a:gd name="T19" fmla="*/ 1353 h 1804"/>
                  <a:gd name="T20" fmla="*/ 886 w 1193"/>
                  <a:gd name="T21" fmla="*/ 1466 h 1804"/>
                  <a:gd name="T22" fmla="*/ 862 w 1193"/>
                  <a:gd name="T23" fmla="*/ 1565 h 1804"/>
                  <a:gd name="T24" fmla="*/ 803 w 1193"/>
                  <a:gd name="T25" fmla="*/ 1699 h 1804"/>
                  <a:gd name="T26" fmla="*/ 770 w 1193"/>
                  <a:gd name="T27" fmla="*/ 1730 h 1804"/>
                  <a:gd name="T28" fmla="*/ 698 w 1193"/>
                  <a:gd name="T29" fmla="*/ 1797 h 1804"/>
                  <a:gd name="T30" fmla="*/ 610 w 1193"/>
                  <a:gd name="T31" fmla="*/ 1775 h 1804"/>
                  <a:gd name="T32" fmla="*/ 600 w 1193"/>
                  <a:gd name="T33" fmla="*/ 1710 h 1804"/>
                  <a:gd name="T34" fmla="*/ 561 w 1193"/>
                  <a:gd name="T35" fmla="*/ 1621 h 1804"/>
                  <a:gd name="T36" fmla="*/ 553 w 1193"/>
                  <a:gd name="T37" fmla="*/ 1545 h 1804"/>
                  <a:gd name="T38" fmla="*/ 541 w 1193"/>
                  <a:gd name="T39" fmla="*/ 1495 h 1804"/>
                  <a:gd name="T40" fmla="*/ 504 w 1193"/>
                  <a:gd name="T41" fmla="*/ 1438 h 1804"/>
                  <a:gd name="T42" fmla="*/ 481 w 1193"/>
                  <a:gd name="T43" fmla="*/ 1367 h 1804"/>
                  <a:gd name="T44" fmla="*/ 514 w 1193"/>
                  <a:gd name="T45" fmla="*/ 1243 h 1804"/>
                  <a:gd name="T46" fmla="*/ 498 w 1193"/>
                  <a:gd name="T47" fmla="*/ 1069 h 1804"/>
                  <a:gd name="T48" fmla="*/ 445 w 1193"/>
                  <a:gd name="T49" fmla="*/ 982 h 1804"/>
                  <a:gd name="T50" fmla="*/ 437 w 1193"/>
                  <a:gd name="T51" fmla="*/ 845 h 1804"/>
                  <a:gd name="T52" fmla="*/ 361 w 1193"/>
                  <a:gd name="T53" fmla="*/ 795 h 1804"/>
                  <a:gd name="T54" fmla="*/ 261 w 1193"/>
                  <a:gd name="T55" fmla="*/ 809 h 1804"/>
                  <a:gd name="T56" fmla="*/ 57 w 1193"/>
                  <a:gd name="T57" fmla="*/ 700 h 1804"/>
                  <a:gd name="T58" fmla="*/ 10 w 1193"/>
                  <a:gd name="T59" fmla="*/ 523 h 1804"/>
                  <a:gd name="T60" fmla="*/ 47 w 1193"/>
                  <a:gd name="T61" fmla="*/ 397 h 1804"/>
                  <a:gd name="T62" fmla="*/ 115 w 1193"/>
                  <a:gd name="T63" fmla="*/ 261 h 1804"/>
                  <a:gd name="T64" fmla="*/ 216 w 1193"/>
                  <a:gd name="T65" fmla="*/ 157 h 1804"/>
                  <a:gd name="T66" fmla="*/ 293 w 1193"/>
                  <a:gd name="T67" fmla="*/ 48 h 1804"/>
                  <a:gd name="T68" fmla="*/ 363 w 1193"/>
                  <a:gd name="T69" fmla="*/ 76 h 1804"/>
                  <a:gd name="T70" fmla="*/ 439 w 1193"/>
                  <a:gd name="T71" fmla="*/ 28 h 1804"/>
                  <a:gd name="T72" fmla="*/ 492 w 1193"/>
                  <a:gd name="T73" fmla="*/ 6 h 1804"/>
                  <a:gd name="T74" fmla="*/ 533 w 1193"/>
                  <a:gd name="T75" fmla="*/ 62 h 1804"/>
                  <a:gd name="T76" fmla="*/ 616 w 1193"/>
                  <a:gd name="T77" fmla="*/ 151 h 1804"/>
                  <a:gd name="T78" fmla="*/ 672 w 1193"/>
                  <a:gd name="T79" fmla="*/ 109 h 1804"/>
                  <a:gd name="T80" fmla="*/ 758 w 1193"/>
                  <a:gd name="T81" fmla="*/ 140 h 1804"/>
                  <a:gd name="T82" fmla="*/ 852 w 1193"/>
                  <a:gd name="T83" fmla="*/ 137 h 180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193"/>
                  <a:gd name="T127" fmla="*/ 0 h 1804"/>
                  <a:gd name="T128" fmla="*/ 1193 w 1193"/>
                  <a:gd name="T129" fmla="*/ 1804 h 180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193" h="1804">
                    <a:moveTo>
                      <a:pt x="892" y="216"/>
                    </a:moveTo>
                    <a:lnTo>
                      <a:pt x="911" y="292"/>
                    </a:lnTo>
                    <a:lnTo>
                      <a:pt x="947" y="406"/>
                    </a:lnTo>
                    <a:lnTo>
                      <a:pt x="1022" y="591"/>
                    </a:lnTo>
                    <a:lnTo>
                      <a:pt x="1049" y="613"/>
                    </a:lnTo>
                    <a:lnTo>
                      <a:pt x="1067" y="666"/>
                    </a:lnTo>
                    <a:lnTo>
                      <a:pt x="1125" y="664"/>
                    </a:lnTo>
                    <a:lnTo>
                      <a:pt x="1165" y="647"/>
                    </a:lnTo>
                    <a:lnTo>
                      <a:pt x="1192" y="647"/>
                    </a:lnTo>
                    <a:lnTo>
                      <a:pt x="1190" y="720"/>
                    </a:lnTo>
                    <a:lnTo>
                      <a:pt x="1180" y="759"/>
                    </a:lnTo>
                    <a:lnTo>
                      <a:pt x="1073" y="921"/>
                    </a:lnTo>
                    <a:lnTo>
                      <a:pt x="975" y="1089"/>
                    </a:lnTo>
                    <a:lnTo>
                      <a:pt x="977" y="1153"/>
                    </a:lnTo>
                    <a:lnTo>
                      <a:pt x="1004" y="1201"/>
                    </a:lnTo>
                    <a:lnTo>
                      <a:pt x="990" y="1238"/>
                    </a:lnTo>
                    <a:lnTo>
                      <a:pt x="998" y="1285"/>
                    </a:lnTo>
                    <a:lnTo>
                      <a:pt x="990" y="1322"/>
                    </a:lnTo>
                    <a:lnTo>
                      <a:pt x="967" y="1353"/>
                    </a:lnTo>
                    <a:lnTo>
                      <a:pt x="947" y="1353"/>
                    </a:lnTo>
                    <a:lnTo>
                      <a:pt x="915" y="1405"/>
                    </a:lnTo>
                    <a:lnTo>
                      <a:pt x="886" y="1466"/>
                    </a:lnTo>
                    <a:lnTo>
                      <a:pt x="892" y="1534"/>
                    </a:lnTo>
                    <a:lnTo>
                      <a:pt x="862" y="1565"/>
                    </a:lnTo>
                    <a:lnTo>
                      <a:pt x="835" y="1635"/>
                    </a:lnTo>
                    <a:lnTo>
                      <a:pt x="803" y="1699"/>
                    </a:lnTo>
                    <a:lnTo>
                      <a:pt x="786" y="1724"/>
                    </a:lnTo>
                    <a:lnTo>
                      <a:pt x="770" y="1730"/>
                    </a:lnTo>
                    <a:lnTo>
                      <a:pt x="743" y="1772"/>
                    </a:lnTo>
                    <a:lnTo>
                      <a:pt x="698" y="1797"/>
                    </a:lnTo>
                    <a:lnTo>
                      <a:pt x="641" y="1803"/>
                    </a:lnTo>
                    <a:lnTo>
                      <a:pt x="610" y="1775"/>
                    </a:lnTo>
                    <a:lnTo>
                      <a:pt x="606" y="1747"/>
                    </a:lnTo>
                    <a:lnTo>
                      <a:pt x="600" y="1710"/>
                    </a:lnTo>
                    <a:lnTo>
                      <a:pt x="578" y="1691"/>
                    </a:lnTo>
                    <a:lnTo>
                      <a:pt x="561" y="1621"/>
                    </a:lnTo>
                    <a:lnTo>
                      <a:pt x="555" y="1587"/>
                    </a:lnTo>
                    <a:lnTo>
                      <a:pt x="553" y="1545"/>
                    </a:lnTo>
                    <a:lnTo>
                      <a:pt x="543" y="1514"/>
                    </a:lnTo>
                    <a:lnTo>
                      <a:pt x="541" y="1495"/>
                    </a:lnTo>
                    <a:lnTo>
                      <a:pt x="524" y="1464"/>
                    </a:lnTo>
                    <a:lnTo>
                      <a:pt x="504" y="1438"/>
                    </a:lnTo>
                    <a:lnTo>
                      <a:pt x="490" y="1396"/>
                    </a:lnTo>
                    <a:lnTo>
                      <a:pt x="481" y="1367"/>
                    </a:lnTo>
                    <a:lnTo>
                      <a:pt x="484" y="1316"/>
                    </a:lnTo>
                    <a:lnTo>
                      <a:pt x="514" y="1243"/>
                    </a:lnTo>
                    <a:lnTo>
                      <a:pt x="520" y="1162"/>
                    </a:lnTo>
                    <a:lnTo>
                      <a:pt x="498" y="1069"/>
                    </a:lnTo>
                    <a:lnTo>
                      <a:pt x="467" y="1033"/>
                    </a:lnTo>
                    <a:lnTo>
                      <a:pt x="445" y="982"/>
                    </a:lnTo>
                    <a:lnTo>
                      <a:pt x="453" y="904"/>
                    </a:lnTo>
                    <a:lnTo>
                      <a:pt x="437" y="845"/>
                    </a:lnTo>
                    <a:lnTo>
                      <a:pt x="400" y="840"/>
                    </a:lnTo>
                    <a:lnTo>
                      <a:pt x="361" y="795"/>
                    </a:lnTo>
                    <a:lnTo>
                      <a:pt x="312" y="770"/>
                    </a:lnTo>
                    <a:lnTo>
                      <a:pt x="261" y="809"/>
                    </a:lnTo>
                    <a:lnTo>
                      <a:pt x="129" y="798"/>
                    </a:lnTo>
                    <a:lnTo>
                      <a:pt x="57" y="700"/>
                    </a:lnTo>
                    <a:lnTo>
                      <a:pt x="0" y="568"/>
                    </a:lnTo>
                    <a:lnTo>
                      <a:pt x="10" y="523"/>
                    </a:lnTo>
                    <a:lnTo>
                      <a:pt x="35" y="490"/>
                    </a:lnTo>
                    <a:lnTo>
                      <a:pt x="47" y="397"/>
                    </a:lnTo>
                    <a:lnTo>
                      <a:pt x="65" y="330"/>
                    </a:lnTo>
                    <a:lnTo>
                      <a:pt x="115" y="261"/>
                    </a:lnTo>
                    <a:lnTo>
                      <a:pt x="168" y="230"/>
                    </a:lnTo>
                    <a:lnTo>
                      <a:pt x="216" y="157"/>
                    </a:lnTo>
                    <a:lnTo>
                      <a:pt x="228" y="126"/>
                    </a:lnTo>
                    <a:lnTo>
                      <a:pt x="293" y="48"/>
                    </a:lnTo>
                    <a:lnTo>
                      <a:pt x="334" y="79"/>
                    </a:lnTo>
                    <a:lnTo>
                      <a:pt x="363" y="76"/>
                    </a:lnTo>
                    <a:lnTo>
                      <a:pt x="398" y="34"/>
                    </a:lnTo>
                    <a:lnTo>
                      <a:pt x="439" y="28"/>
                    </a:lnTo>
                    <a:lnTo>
                      <a:pt x="467" y="39"/>
                    </a:lnTo>
                    <a:lnTo>
                      <a:pt x="492" y="6"/>
                    </a:lnTo>
                    <a:lnTo>
                      <a:pt x="526" y="0"/>
                    </a:lnTo>
                    <a:lnTo>
                      <a:pt x="533" y="62"/>
                    </a:lnTo>
                    <a:lnTo>
                      <a:pt x="555" y="107"/>
                    </a:lnTo>
                    <a:lnTo>
                      <a:pt x="616" y="151"/>
                    </a:lnTo>
                    <a:lnTo>
                      <a:pt x="666" y="160"/>
                    </a:lnTo>
                    <a:lnTo>
                      <a:pt x="672" y="109"/>
                    </a:lnTo>
                    <a:lnTo>
                      <a:pt x="711" y="109"/>
                    </a:lnTo>
                    <a:lnTo>
                      <a:pt x="758" y="140"/>
                    </a:lnTo>
                    <a:lnTo>
                      <a:pt x="809" y="157"/>
                    </a:lnTo>
                    <a:lnTo>
                      <a:pt x="852" y="137"/>
                    </a:lnTo>
                    <a:lnTo>
                      <a:pt x="892" y="21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42" name="Group 6"/>
              <p:cNvGrpSpPr>
                <a:grpSpLocks/>
              </p:cNvGrpSpPr>
              <p:nvPr/>
            </p:nvGrpSpPr>
            <p:grpSpPr bwMode="auto">
              <a:xfrm>
                <a:off x="2392" y="616"/>
                <a:ext cx="533" cy="627"/>
                <a:chOff x="2392" y="616"/>
                <a:chExt cx="533" cy="627"/>
              </a:xfrm>
              <a:grpFill/>
            </p:grpSpPr>
            <p:grpSp>
              <p:nvGrpSpPr>
                <p:cNvPr id="145" name="Group 13"/>
                <p:cNvGrpSpPr>
                  <a:grpSpLocks/>
                </p:cNvGrpSpPr>
                <p:nvPr/>
              </p:nvGrpSpPr>
              <p:grpSpPr bwMode="auto">
                <a:xfrm>
                  <a:off x="2599" y="1002"/>
                  <a:ext cx="173" cy="241"/>
                  <a:chOff x="2599" y="1002"/>
                  <a:chExt cx="173" cy="241"/>
                </a:xfrm>
                <a:grpFill/>
              </p:grpSpPr>
              <p:sp>
                <p:nvSpPr>
                  <p:cNvPr id="147" name="Freeform 8"/>
                  <p:cNvSpPr>
                    <a:spLocks/>
                  </p:cNvSpPr>
                  <p:nvPr/>
                </p:nvSpPr>
                <p:spPr bwMode="auto">
                  <a:xfrm>
                    <a:off x="2599" y="1087"/>
                    <a:ext cx="86" cy="140"/>
                  </a:xfrm>
                  <a:custGeom>
                    <a:avLst/>
                    <a:gdLst>
                      <a:gd name="T0" fmla="*/ 20 w 86"/>
                      <a:gd name="T1" fmla="*/ 42 h 140"/>
                      <a:gd name="T2" fmla="*/ 26 w 86"/>
                      <a:gd name="T3" fmla="*/ 27 h 140"/>
                      <a:gd name="T4" fmla="*/ 41 w 86"/>
                      <a:gd name="T5" fmla="*/ 27 h 140"/>
                      <a:gd name="T6" fmla="*/ 63 w 86"/>
                      <a:gd name="T7" fmla="*/ 0 h 140"/>
                      <a:gd name="T8" fmla="*/ 70 w 86"/>
                      <a:gd name="T9" fmla="*/ 18 h 140"/>
                      <a:gd name="T10" fmla="*/ 81 w 86"/>
                      <a:gd name="T11" fmla="*/ 18 h 140"/>
                      <a:gd name="T12" fmla="*/ 85 w 86"/>
                      <a:gd name="T13" fmla="*/ 27 h 140"/>
                      <a:gd name="T14" fmla="*/ 78 w 86"/>
                      <a:gd name="T15" fmla="*/ 42 h 140"/>
                      <a:gd name="T16" fmla="*/ 70 w 86"/>
                      <a:gd name="T17" fmla="*/ 48 h 140"/>
                      <a:gd name="T18" fmla="*/ 70 w 86"/>
                      <a:gd name="T19" fmla="*/ 60 h 140"/>
                      <a:gd name="T20" fmla="*/ 68 w 86"/>
                      <a:gd name="T21" fmla="*/ 66 h 140"/>
                      <a:gd name="T22" fmla="*/ 65 w 86"/>
                      <a:gd name="T23" fmla="*/ 76 h 140"/>
                      <a:gd name="T24" fmla="*/ 70 w 86"/>
                      <a:gd name="T25" fmla="*/ 88 h 140"/>
                      <a:gd name="T26" fmla="*/ 63 w 86"/>
                      <a:gd name="T27" fmla="*/ 100 h 140"/>
                      <a:gd name="T28" fmla="*/ 57 w 86"/>
                      <a:gd name="T29" fmla="*/ 106 h 140"/>
                      <a:gd name="T30" fmla="*/ 50 w 86"/>
                      <a:gd name="T31" fmla="*/ 106 h 140"/>
                      <a:gd name="T32" fmla="*/ 48 w 86"/>
                      <a:gd name="T33" fmla="*/ 109 h 140"/>
                      <a:gd name="T34" fmla="*/ 46 w 86"/>
                      <a:gd name="T35" fmla="*/ 118 h 140"/>
                      <a:gd name="T36" fmla="*/ 35 w 86"/>
                      <a:gd name="T37" fmla="*/ 121 h 140"/>
                      <a:gd name="T38" fmla="*/ 33 w 86"/>
                      <a:gd name="T39" fmla="*/ 118 h 140"/>
                      <a:gd name="T40" fmla="*/ 24 w 86"/>
                      <a:gd name="T41" fmla="*/ 127 h 140"/>
                      <a:gd name="T42" fmla="*/ 22 w 86"/>
                      <a:gd name="T43" fmla="*/ 130 h 140"/>
                      <a:gd name="T44" fmla="*/ 11 w 86"/>
                      <a:gd name="T45" fmla="*/ 139 h 140"/>
                      <a:gd name="T46" fmla="*/ 7 w 86"/>
                      <a:gd name="T47" fmla="*/ 139 h 140"/>
                      <a:gd name="T48" fmla="*/ 4 w 86"/>
                      <a:gd name="T49" fmla="*/ 133 h 140"/>
                      <a:gd name="T50" fmla="*/ 2 w 86"/>
                      <a:gd name="T51" fmla="*/ 118 h 140"/>
                      <a:gd name="T52" fmla="*/ 0 w 86"/>
                      <a:gd name="T53" fmla="*/ 115 h 140"/>
                      <a:gd name="T54" fmla="*/ 0 w 86"/>
                      <a:gd name="T55" fmla="*/ 103 h 140"/>
                      <a:gd name="T56" fmla="*/ 7 w 86"/>
                      <a:gd name="T57" fmla="*/ 97 h 140"/>
                      <a:gd name="T58" fmla="*/ 13 w 86"/>
                      <a:gd name="T59" fmla="*/ 91 h 140"/>
                      <a:gd name="T60" fmla="*/ 17 w 86"/>
                      <a:gd name="T61" fmla="*/ 79 h 140"/>
                      <a:gd name="T62" fmla="*/ 24 w 86"/>
                      <a:gd name="T63" fmla="*/ 79 h 140"/>
                      <a:gd name="T64" fmla="*/ 28 w 86"/>
                      <a:gd name="T65" fmla="*/ 82 h 140"/>
                      <a:gd name="T66" fmla="*/ 35 w 86"/>
                      <a:gd name="T67" fmla="*/ 79 h 140"/>
                      <a:gd name="T68" fmla="*/ 28 w 86"/>
                      <a:gd name="T69" fmla="*/ 76 h 140"/>
                      <a:gd name="T70" fmla="*/ 20 w 86"/>
                      <a:gd name="T71" fmla="*/ 42 h 140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86"/>
                      <a:gd name="T109" fmla="*/ 0 h 140"/>
                      <a:gd name="T110" fmla="*/ 86 w 86"/>
                      <a:gd name="T111" fmla="*/ 140 h 140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86" h="140">
                        <a:moveTo>
                          <a:pt x="20" y="42"/>
                        </a:moveTo>
                        <a:lnTo>
                          <a:pt x="26" y="27"/>
                        </a:lnTo>
                        <a:lnTo>
                          <a:pt x="41" y="27"/>
                        </a:lnTo>
                        <a:lnTo>
                          <a:pt x="63" y="0"/>
                        </a:lnTo>
                        <a:lnTo>
                          <a:pt x="70" y="18"/>
                        </a:lnTo>
                        <a:lnTo>
                          <a:pt x="81" y="18"/>
                        </a:lnTo>
                        <a:lnTo>
                          <a:pt x="85" y="27"/>
                        </a:lnTo>
                        <a:lnTo>
                          <a:pt x="78" y="42"/>
                        </a:lnTo>
                        <a:lnTo>
                          <a:pt x="70" y="48"/>
                        </a:lnTo>
                        <a:lnTo>
                          <a:pt x="70" y="60"/>
                        </a:lnTo>
                        <a:lnTo>
                          <a:pt x="68" y="66"/>
                        </a:lnTo>
                        <a:lnTo>
                          <a:pt x="65" y="76"/>
                        </a:lnTo>
                        <a:lnTo>
                          <a:pt x="70" y="88"/>
                        </a:lnTo>
                        <a:lnTo>
                          <a:pt x="63" y="100"/>
                        </a:lnTo>
                        <a:lnTo>
                          <a:pt x="57" y="106"/>
                        </a:lnTo>
                        <a:lnTo>
                          <a:pt x="50" y="106"/>
                        </a:lnTo>
                        <a:lnTo>
                          <a:pt x="48" y="109"/>
                        </a:lnTo>
                        <a:lnTo>
                          <a:pt x="46" y="118"/>
                        </a:lnTo>
                        <a:lnTo>
                          <a:pt x="35" y="121"/>
                        </a:lnTo>
                        <a:lnTo>
                          <a:pt x="33" y="118"/>
                        </a:lnTo>
                        <a:lnTo>
                          <a:pt x="24" y="127"/>
                        </a:lnTo>
                        <a:lnTo>
                          <a:pt x="22" y="130"/>
                        </a:lnTo>
                        <a:lnTo>
                          <a:pt x="11" y="139"/>
                        </a:lnTo>
                        <a:lnTo>
                          <a:pt x="7" y="139"/>
                        </a:lnTo>
                        <a:lnTo>
                          <a:pt x="4" y="133"/>
                        </a:lnTo>
                        <a:lnTo>
                          <a:pt x="2" y="118"/>
                        </a:lnTo>
                        <a:lnTo>
                          <a:pt x="0" y="115"/>
                        </a:lnTo>
                        <a:lnTo>
                          <a:pt x="0" y="103"/>
                        </a:lnTo>
                        <a:lnTo>
                          <a:pt x="7" y="97"/>
                        </a:lnTo>
                        <a:lnTo>
                          <a:pt x="13" y="91"/>
                        </a:lnTo>
                        <a:lnTo>
                          <a:pt x="17" y="79"/>
                        </a:lnTo>
                        <a:lnTo>
                          <a:pt x="24" y="79"/>
                        </a:lnTo>
                        <a:lnTo>
                          <a:pt x="28" y="82"/>
                        </a:lnTo>
                        <a:lnTo>
                          <a:pt x="35" y="79"/>
                        </a:lnTo>
                        <a:lnTo>
                          <a:pt x="28" y="76"/>
                        </a:lnTo>
                        <a:lnTo>
                          <a:pt x="20" y="42"/>
                        </a:ln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8" name="Freeform 9"/>
                  <p:cNvSpPr>
                    <a:spLocks/>
                  </p:cNvSpPr>
                  <p:nvPr/>
                </p:nvSpPr>
                <p:spPr bwMode="auto">
                  <a:xfrm>
                    <a:off x="2670" y="1002"/>
                    <a:ext cx="102" cy="241"/>
                  </a:xfrm>
                  <a:custGeom>
                    <a:avLst/>
                    <a:gdLst>
                      <a:gd name="T0" fmla="*/ 39 w 102"/>
                      <a:gd name="T1" fmla="*/ 26 h 241"/>
                      <a:gd name="T2" fmla="*/ 62 w 102"/>
                      <a:gd name="T3" fmla="*/ 23 h 241"/>
                      <a:gd name="T4" fmla="*/ 71 w 102"/>
                      <a:gd name="T5" fmla="*/ 14 h 241"/>
                      <a:gd name="T6" fmla="*/ 82 w 102"/>
                      <a:gd name="T7" fmla="*/ 6 h 241"/>
                      <a:gd name="T8" fmla="*/ 101 w 102"/>
                      <a:gd name="T9" fmla="*/ 3 h 241"/>
                      <a:gd name="T10" fmla="*/ 95 w 102"/>
                      <a:gd name="T11" fmla="*/ 23 h 241"/>
                      <a:gd name="T12" fmla="*/ 86 w 102"/>
                      <a:gd name="T13" fmla="*/ 29 h 241"/>
                      <a:gd name="T14" fmla="*/ 73 w 102"/>
                      <a:gd name="T15" fmla="*/ 46 h 241"/>
                      <a:gd name="T16" fmla="*/ 88 w 102"/>
                      <a:gd name="T17" fmla="*/ 46 h 241"/>
                      <a:gd name="T18" fmla="*/ 101 w 102"/>
                      <a:gd name="T19" fmla="*/ 46 h 241"/>
                      <a:gd name="T20" fmla="*/ 92 w 102"/>
                      <a:gd name="T21" fmla="*/ 67 h 241"/>
                      <a:gd name="T22" fmla="*/ 77 w 102"/>
                      <a:gd name="T23" fmla="*/ 75 h 241"/>
                      <a:gd name="T24" fmla="*/ 75 w 102"/>
                      <a:gd name="T25" fmla="*/ 90 h 241"/>
                      <a:gd name="T26" fmla="*/ 88 w 102"/>
                      <a:gd name="T27" fmla="*/ 110 h 241"/>
                      <a:gd name="T28" fmla="*/ 95 w 102"/>
                      <a:gd name="T29" fmla="*/ 130 h 241"/>
                      <a:gd name="T30" fmla="*/ 101 w 102"/>
                      <a:gd name="T31" fmla="*/ 156 h 241"/>
                      <a:gd name="T32" fmla="*/ 97 w 102"/>
                      <a:gd name="T33" fmla="*/ 188 h 241"/>
                      <a:gd name="T34" fmla="*/ 86 w 102"/>
                      <a:gd name="T35" fmla="*/ 202 h 241"/>
                      <a:gd name="T36" fmla="*/ 95 w 102"/>
                      <a:gd name="T37" fmla="*/ 226 h 241"/>
                      <a:gd name="T38" fmla="*/ 71 w 102"/>
                      <a:gd name="T39" fmla="*/ 226 h 241"/>
                      <a:gd name="T40" fmla="*/ 58 w 102"/>
                      <a:gd name="T41" fmla="*/ 223 h 241"/>
                      <a:gd name="T42" fmla="*/ 39 w 102"/>
                      <a:gd name="T43" fmla="*/ 231 h 241"/>
                      <a:gd name="T44" fmla="*/ 28 w 102"/>
                      <a:gd name="T45" fmla="*/ 234 h 241"/>
                      <a:gd name="T46" fmla="*/ 15 w 102"/>
                      <a:gd name="T47" fmla="*/ 237 h 241"/>
                      <a:gd name="T48" fmla="*/ 4 w 102"/>
                      <a:gd name="T49" fmla="*/ 228 h 241"/>
                      <a:gd name="T50" fmla="*/ 0 w 102"/>
                      <a:gd name="T51" fmla="*/ 214 h 241"/>
                      <a:gd name="T52" fmla="*/ 11 w 102"/>
                      <a:gd name="T53" fmla="*/ 200 h 241"/>
                      <a:gd name="T54" fmla="*/ 26 w 102"/>
                      <a:gd name="T55" fmla="*/ 197 h 241"/>
                      <a:gd name="T56" fmla="*/ 17 w 102"/>
                      <a:gd name="T57" fmla="*/ 188 h 241"/>
                      <a:gd name="T58" fmla="*/ 17 w 102"/>
                      <a:gd name="T59" fmla="*/ 173 h 241"/>
                      <a:gd name="T60" fmla="*/ 30 w 102"/>
                      <a:gd name="T61" fmla="*/ 165 h 241"/>
                      <a:gd name="T62" fmla="*/ 41 w 102"/>
                      <a:gd name="T63" fmla="*/ 162 h 241"/>
                      <a:gd name="T64" fmla="*/ 47 w 102"/>
                      <a:gd name="T65" fmla="*/ 136 h 241"/>
                      <a:gd name="T66" fmla="*/ 54 w 102"/>
                      <a:gd name="T67" fmla="*/ 110 h 241"/>
                      <a:gd name="T68" fmla="*/ 43 w 102"/>
                      <a:gd name="T69" fmla="*/ 93 h 241"/>
                      <a:gd name="T70" fmla="*/ 21 w 102"/>
                      <a:gd name="T71" fmla="*/ 87 h 241"/>
                      <a:gd name="T72" fmla="*/ 32 w 102"/>
                      <a:gd name="T73" fmla="*/ 35 h 241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102"/>
                      <a:gd name="T112" fmla="*/ 0 h 241"/>
                      <a:gd name="T113" fmla="*/ 102 w 102"/>
                      <a:gd name="T114" fmla="*/ 241 h 241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102" h="241">
                        <a:moveTo>
                          <a:pt x="32" y="35"/>
                        </a:moveTo>
                        <a:lnTo>
                          <a:pt x="39" y="26"/>
                        </a:lnTo>
                        <a:lnTo>
                          <a:pt x="58" y="29"/>
                        </a:lnTo>
                        <a:lnTo>
                          <a:pt x="62" y="23"/>
                        </a:lnTo>
                        <a:lnTo>
                          <a:pt x="67" y="14"/>
                        </a:lnTo>
                        <a:lnTo>
                          <a:pt x="71" y="14"/>
                        </a:lnTo>
                        <a:lnTo>
                          <a:pt x="75" y="12"/>
                        </a:lnTo>
                        <a:lnTo>
                          <a:pt x="82" y="6"/>
                        </a:lnTo>
                        <a:lnTo>
                          <a:pt x="90" y="0"/>
                        </a:lnTo>
                        <a:lnTo>
                          <a:pt x="101" y="3"/>
                        </a:lnTo>
                        <a:lnTo>
                          <a:pt x="99" y="14"/>
                        </a:lnTo>
                        <a:lnTo>
                          <a:pt x="95" y="23"/>
                        </a:lnTo>
                        <a:lnTo>
                          <a:pt x="90" y="26"/>
                        </a:lnTo>
                        <a:lnTo>
                          <a:pt x="86" y="29"/>
                        </a:lnTo>
                        <a:lnTo>
                          <a:pt x="73" y="35"/>
                        </a:lnTo>
                        <a:lnTo>
                          <a:pt x="73" y="46"/>
                        </a:lnTo>
                        <a:lnTo>
                          <a:pt x="75" y="52"/>
                        </a:lnTo>
                        <a:lnTo>
                          <a:pt x="88" y="46"/>
                        </a:lnTo>
                        <a:lnTo>
                          <a:pt x="99" y="40"/>
                        </a:lnTo>
                        <a:lnTo>
                          <a:pt x="101" y="46"/>
                        </a:lnTo>
                        <a:lnTo>
                          <a:pt x="101" y="64"/>
                        </a:lnTo>
                        <a:lnTo>
                          <a:pt x="92" y="67"/>
                        </a:lnTo>
                        <a:lnTo>
                          <a:pt x="84" y="67"/>
                        </a:lnTo>
                        <a:lnTo>
                          <a:pt x="77" y="75"/>
                        </a:lnTo>
                        <a:lnTo>
                          <a:pt x="75" y="81"/>
                        </a:lnTo>
                        <a:lnTo>
                          <a:pt x="75" y="90"/>
                        </a:lnTo>
                        <a:lnTo>
                          <a:pt x="82" y="101"/>
                        </a:lnTo>
                        <a:lnTo>
                          <a:pt x="88" y="110"/>
                        </a:lnTo>
                        <a:lnTo>
                          <a:pt x="92" y="119"/>
                        </a:lnTo>
                        <a:lnTo>
                          <a:pt x="95" y="130"/>
                        </a:lnTo>
                        <a:lnTo>
                          <a:pt x="97" y="142"/>
                        </a:lnTo>
                        <a:lnTo>
                          <a:pt x="101" y="156"/>
                        </a:lnTo>
                        <a:lnTo>
                          <a:pt x="101" y="176"/>
                        </a:lnTo>
                        <a:lnTo>
                          <a:pt x="97" y="188"/>
                        </a:lnTo>
                        <a:lnTo>
                          <a:pt x="88" y="197"/>
                        </a:lnTo>
                        <a:lnTo>
                          <a:pt x="86" y="202"/>
                        </a:lnTo>
                        <a:lnTo>
                          <a:pt x="90" y="214"/>
                        </a:lnTo>
                        <a:lnTo>
                          <a:pt x="95" y="226"/>
                        </a:lnTo>
                        <a:lnTo>
                          <a:pt x="82" y="226"/>
                        </a:lnTo>
                        <a:lnTo>
                          <a:pt x="71" y="226"/>
                        </a:lnTo>
                        <a:lnTo>
                          <a:pt x="67" y="223"/>
                        </a:lnTo>
                        <a:lnTo>
                          <a:pt x="58" y="223"/>
                        </a:lnTo>
                        <a:lnTo>
                          <a:pt x="47" y="226"/>
                        </a:lnTo>
                        <a:lnTo>
                          <a:pt x="39" y="231"/>
                        </a:lnTo>
                        <a:lnTo>
                          <a:pt x="32" y="231"/>
                        </a:lnTo>
                        <a:lnTo>
                          <a:pt x="28" y="234"/>
                        </a:lnTo>
                        <a:lnTo>
                          <a:pt x="17" y="240"/>
                        </a:lnTo>
                        <a:lnTo>
                          <a:pt x="15" y="237"/>
                        </a:lnTo>
                        <a:lnTo>
                          <a:pt x="11" y="231"/>
                        </a:lnTo>
                        <a:lnTo>
                          <a:pt x="4" y="228"/>
                        </a:lnTo>
                        <a:lnTo>
                          <a:pt x="0" y="226"/>
                        </a:lnTo>
                        <a:lnTo>
                          <a:pt x="0" y="214"/>
                        </a:lnTo>
                        <a:lnTo>
                          <a:pt x="4" y="200"/>
                        </a:lnTo>
                        <a:lnTo>
                          <a:pt x="11" y="200"/>
                        </a:lnTo>
                        <a:lnTo>
                          <a:pt x="17" y="197"/>
                        </a:lnTo>
                        <a:lnTo>
                          <a:pt x="26" y="197"/>
                        </a:lnTo>
                        <a:lnTo>
                          <a:pt x="26" y="194"/>
                        </a:lnTo>
                        <a:lnTo>
                          <a:pt x="17" y="188"/>
                        </a:lnTo>
                        <a:lnTo>
                          <a:pt x="17" y="179"/>
                        </a:lnTo>
                        <a:lnTo>
                          <a:pt x="17" y="173"/>
                        </a:lnTo>
                        <a:lnTo>
                          <a:pt x="26" y="168"/>
                        </a:lnTo>
                        <a:lnTo>
                          <a:pt x="30" y="165"/>
                        </a:lnTo>
                        <a:lnTo>
                          <a:pt x="34" y="162"/>
                        </a:lnTo>
                        <a:lnTo>
                          <a:pt x="41" y="162"/>
                        </a:lnTo>
                        <a:lnTo>
                          <a:pt x="45" y="159"/>
                        </a:lnTo>
                        <a:lnTo>
                          <a:pt x="47" y="136"/>
                        </a:lnTo>
                        <a:lnTo>
                          <a:pt x="54" y="119"/>
                        </a:lnTo>
                        <a:lnTo>
                          <a:pt x="54" y="110"/>
                        </a:lnTo>
                        <a:lnTo>
                          <a:pt x="39" y="107"/>
                        </a:lnTo>
                        <a:lnTo>
                          <a:pt x="43" y="93"/>
                        </a:lnTo>
                        <a:lnTo>
                          <a:pt x="32" y="84"/>
                        </a:lnTo>
                        <a:lnTo>
                          <a:pt x="21" y="87"/>
                        </a:lnTo>
                        <a:lnTo>
                          <a:pt x="34" y="67"/>
                        </a:lnTo>
                        <a:lnTo>
                          <a:pt x="32" y="35"/>
                        </a:ln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46" name="Freeform 10"/>
                <p:cNvSpPr>
                  <a:spLocks/>
                </p:cNvSpPr>
                <p:nvPr/>
              </p:nvSpPr>
              <p:spPr bwMode="auto">
                <a:xfrm>
                  <a:off x="2392" y="616"/>
                  <a:ext cx="533" cy="397"/>
                </a:xfrm>
                <a:custGeom>
                  <a:avLst/>
                  <a:gdLst>
                    <a:gd name="T0" fmla="*/ 34 w 533"/>
                    <a:gd name="T1" fmla="*/ 387 h 397"/>
                    <a:gd name="T2" fmla="*/ 53 w 533"/>
                    <a:gd name="T3" fmla="*/ 359 h 397"/>
                    <a:gd name="T4" fmla="*/ 65 w 533"/>
                    <a:gd name="T5" fmla="*/ 350 h 397"/>
                    <a:gd name="T6" fmla="*/ 83 w 533"/>
                    <a:gd name="T7" fmla="*/ 342 h 397"/>
                    <a:gd name="T8" fmla="*/ 97 w 533"/>
                    <a:gd name="T9" fmla="*/ 342 h 397"/>
                    <a:gd name="T10" fmla="*/ 109 w 533"/>
                    <a:gd name="T11" fmla="*/ 330 h 397"/>
                    <a:gd name="T12" fmla="*/ 122 w 533"/>
                    <a:gd name="T13" fmla="*/ 313 h 397"/>
                    <a:gd name="T14" fmla="*/ 135 w 533"/>
                    <a:gd name="T15" fmla="*/ 305 h 397"/>
                    <a:gd name="T16" fmla="*/ 149 w 533"/>
                    <a:gd name="T17" fmla="*/ 296 h 397"/>
                    <a:gd name="T18" fmla="*/ 165 w 533"/>
                    <a:gd name="T19" fmla="*/ 285 h 397"/>
                    <a:gd name="T20" fmla="*/ 185 w 533"/>
                    <a:gd name="T21" fmla="*/ 279 h 397"/>
                    <a:gd name="T22" fmla="*/ 216 w 533"/>
                    <a:gd name="T23" fmla="*/ 285 h 397"/>
                    <a:gd name="T24" fmla="*/ 242 w 533"/>
                    <a:gd name="T25" fmla="*/ 273 h 397"/>
                    <a:gd name="T26" fmla="*/ 256 w 533"/>
                    <a:gd name="T27" fmla="*/ 245 h 397"/>
                    <a:gd name="T28" fmla="*/ 273 w 533"/>
                    <a:gd name="T29" fmla="*/ 222 h 397"/>
                    <a:gd name="T30" fmla="*/ 285 w 533"/>
                    <a:gd name="T31" fmla="*/ 202 h 397"/>
                    <a:gd name="T32" fmla="*/ 295 w 533"/>
                    <a:gd name="T33" fmla="*/ 186 h 397"/>
                    <a:gd name="T34" fmla="*/ 319 w 533"/>
                    <a:gd name="T35" fmla="*/ 169 h 397"/>
                    <a:gd name="T36" fmla="*/ 315 w 533"/>
                    <a:gd name="T37" fmla="*/ 191 h 397"/>
                    <a:gd name="T38" fmla="*/ 333 w 533"/>
                    <a:gd name="T39" fmla="*/ 202 h 397"/>
                    <a:gd name="T40" fmla="*/ 348 w 533"/>
                    <a:gd name="T41" fmla="*/ 193 h 397"/>
                    <a:gd name="T42" fmla="*/ 354 w 533"/>
                    <a:gd name="T43" fmla="*/ 177 h 397"/>
                    <a:gd name="T44" fmla="*/ 360 w 533"/>
                    <a:gd name="T45" fmla="*/ 160 h 397"/>
                    <a:gd name="T46" fmla="*/ 370 w 533"/>
                    <a:gd name="T47" fmla="*/ 143 h 397"/>
                    <a:gd name="T48" fmla="*/ 400 w 533"/>
                    <a:gd name="T49" fmla="*/ 143 h 397"/>
                    <a:gd name="T50" fmla="*/ 429 w 533"/>
                    <a:gd name="T51" fmla="*/ 114 h 397"/>
                    <a:gd name="T52" fmla="*/ 459 w 533"/>
                    <a:gd name="T53" fmla="*/ 94 h 397"/>
                    <a:gd name="T54" fmla="*/ 491 w 533"/>
                    <a:gd name="T55" fmla="*/ 46 h 397"/>
                    <a:gd name="T56" fmla="*/ 518 w 533"/>
                    <a:gd name="T57" fmla="*/ 23 h 397"/>
                    <a:gd name="T58" fmla="*/ 508 w 533"/>
                    <a:gd name="T59" fmla="*/ 0 h 397"/>
                    <a:gd name="T60" fmla="*/ 461 w 533"/>
                    <a:gd name="T61" fmla="*/ 14 h 397"/>
                    <a:gd name="T62" fmla="*/ 429 w 533"/>
                    <a:gd name="T63" fmla="*/ 29 h 397"/>
                    <a:gd name="T64" fmla="*/ 396 w 533"/>
                    <a:gd name="T65" fmla="*/ 37 h 397"/>
                    <a:gd name="T66" fmla="*/ 354 w 533"/>
                    <a:gd name="T67" fmla="*/ 60 h 397"/>
                    <a:gd name="T68" fmla="*/ 319 w 533"/>
                    <a:gd name="T69" fmla="*/ 74 h 397"/>
                    <a:gd name="T70" fmla="*/ 281 w 533"/>
                    <a:gd name="T71" fmla="*/ 94 h 397"/>
                    <a:gd name="T72" fmla="*/ 256 w 533"/>
                    <a:gd name="T73" fmla="*/ 123 h 397"/>
                    <a:gd name="T74" fmla="*/ 234 w 533"/>
                    <a:gd name="T75" fmla="*/ 143 h 397"/>
                    <a:gd name="T76" fmla="*/ 190 w 533"/>
                    <a:gd name="T77" fmla="*/ 177 h 397"/>
                    <a:gd name="T78" fmla="*/ 147 w 533"/>
                    <a:gd name="T79" fmla="*/ 219 h 397"/>
                    <a:gd name="T80" fmla="*/ 111 w 533"/>
                    <a:gd name="T81" fmla="*/ 250 h 397"/>
                    <a:gd name="T82" fmla="*/ 81 w 533"/>
                    <a:gd name="T83" fmla="*/ 293 h 397"/>
                    <a:gd name="T84" fmla="*/ 49 w 533"/>
                    <a:gd name="T85" fmla="*/ 322 h 397"/>
                    <a:gd name="T86" fmla="*/ 0 w 533"/>
                    <a:gd name="T87" fmla="*/ 396 h 39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533"/>
                    <a:gd name="T133" fmla="*/ 0 h 397"/>
                    <a:gd name="T134" fmla="*/ 533 w 533"/>
                    <a:gd name="T135" fmla="*/ 397 h 397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533" h="397">
                      <a:moveTo>
                        <a:pt x="0" y="396"/>
                      </a:moveTo>
                      <a:lnTo>
                        <a:pt x="34" y="387"/>
                      </a:lnTo>
                      <a:lnTo>
                        <a:pt x="45" y="370"/>
                      </a:lnTo>
                      <a:lnTo>
                        <a:pt x="53" y="359"/>
                      </a:lnTo>
                      <a:lnTo>
                        <a:pt x="57" y="350"/>
                      </a:lnTo>
                      <a:lnTo>
                        <a:pt x="65" y="350"/>
                      </a:lnTo>
                      <a:lnTo>
                        <a:pt x="73" y="342"/>
                      </a:lnTo>
                      <a:lnTo>
                        <a:pt x="83" y="342"/>
                      </a:lnTo>
                      <a:lnTo>
                        <a:pt x="89" y="342"/>
                      </a:lnTo>
                      <a:lnTo>
                        <a:pt x="97" y="342"/>
                      </a:lnTo>
                      <a:lnTo>
                        <a:pt x="101" y="342"/>
                      </a:lnTo>
                      <a:lnTo>
                        <a:pt x="109" y="330"/>
                      </a:lnTo>
                      <a:lnTo>
                        <a:pt x="113" y="322"/>
                      </a:lnTo>
                      <a:lnTo>
                        <a:pt x="122" y="313"/>
                      </a:lnTo>
                      <a:lnTo>
                        <a:pt x="129" y="310"/>
                      </a:lnTo>
                      <a:lnTo>
                        <a:pt x="135" y="305"/>
                      </a:lnTo>
                      <a:lnTo>
                        <a:pt x="143" y="302"/>
                      </a:lnTo>
                      <a:lnTo>
                        <a:pt x="149" y="296"/>
                      </a:lnTo>
                      <a:lnTo>
                        <a:pt x="157" y="290"/>
                      </a:lnTo>
                      <a:lnTo>
                        <a:pt x="165" y="285"/>
                      </a:lnTo>
                      <a:lnTo>
                        <a:pt x="175" y="276"/>
                      </a:lnTo>
                      <a:lnTo>
                        <a:pt x="185" y="279"/>
                      </a:lnTo>
                      <a:lnTo>
                        <a:pt x="200" y="285"/>
                      </a:lnTo>
                      <a:lnTo>
                        <a:pt x="216" y="285"/>
                      </a:lnTo>
                      <a:lnTo>
                        <a:pt x="234" y="276"/>
                      </a:lnTo>
                      <a:lnTo>
                        <a:pt x="242" y="273"/>
                      </a:lnTo>
                      <a:lnTo>
                        <a:pt x="248" y="256"/>
                      </a:lnTo>
                      <a:lnTo>
                        <a:pt x="256" y="245"/>
                      </a:lnTo>
                      <a:lnTo>
                        <a:pt x="269" y="230"/>
                      </a:lnTo>
                      <a:lnTo>
                        <a:pt x="273" y="222"/>
                      </a:lnTo>
                      <a:lnTo>
                        <a:pt x="273" y="210"/>
                      </a:lnTo>
                      <a:lnTo>
                        <a:pt x="285" y="202"/>
                      </a:lnTo>
                      <a:lnTo>
                        <a:pt x="291" y="193"/>
                      </a:lnTo>
                      <a:lnTo>
                        <a:pt x="295" y="186"/>
                      </a:lnTo>
                      <a:lnTo>
                        <a:pt x="299" y="186"/>
                      </a:lnTo>
                      <a:lnTo>
                        <a:pt x="319" y="169"/>
                      </a:lnTo>
                      <a:lnTo>
                        <a:pt x="319" y="186"/>
                      </a:lnTo>
                      <a:lnTo>
                        <a:pt x="315" y="191"/>
                      </a:lnTo>
                      <a:lnTo>
                        <a:pt x="319" y="199"/>
                      </a:lnTo>
                      <a:lnTo>
                        <a:pt x="333" y="202"/>
                      </a:lnTo>
                      <a:lnTo>
                        <a:pt x="341" y="202"/>
                      </a:lnTo>
                      <a:lnTo>
                        <a:pt x="348" y="193"/>
                      </a:lnTo>
                      <a:lnTo>
                        <a:pt x="354" y="186"/>
                      </a:lnTo>
                      <a:lnTo>
                        <a:pt x="354" y="177"/>
                      </a:lnTo>
                      <a:lnTo>
                        <a:pt x="360" y="169"/>
                      </a:lnTo>
                      <a:lnTo>
                        <a:pt x="360" y="160"/>
                      </a:lnTo>
                      <a:lnTo>
                        <a:pt x="366" y="149"/>
                      </a:lnTo>
                      <a:lnTo>
                        <a:pt x="370" y="143"/>
                      </a:lnTo>
                      <a:lnTo>
                        <a:pt x="380" y="143"/>
                      </a:lnTo>
                      <a:lnTo>
                        <a:pt x="400" y="143"/>
                      </a:lnTo>
                      <a:lnTo>
                        <a:pt x="416" y="131"/>
                      </a:lnTo>
                      <a:lnTo>
                        <a:pt x="429" y="114"/>
                      </a:lnTo>
                      <a:lnTo>
                        <a:pt x="445" y="109"/>
                      </a:lnTo>
                      <a:lnTo>
                        <a:pt x="459" y="94"/>
                      </a:lnTo>
                      <a:lnTo>
                        <a:pt x="469" y="71"/>
                      </a:lnTo>
                      <a:lnTo>
                        <a:pt x="491" y="46"/>
                      </a:lnTo>
                      <a:lnTo>
                        <a:pt x="504" y="34"/>
                      </a:lnTo>
                      <a:lnTo>
                        <a:pt x="518" y="23"/>
                      </a:lnTo>
                      <a:lnTo>
                        <a:pt x="532" y="9"/>
                      </a:lnTo>
                      <a:lnTo>
                        <a:pt x="508" y="0"/>
                      </a:lnTo>
                      <a:lnTo>
                        <a:pt x="485" y="0"/>
                      </a:lnTo>
                      <a:lnTo>
                        <a:pt x="461" y="14"/>
                      </a:lnTo>
                      <a:lnTo>
                        <a:pt x="449" y="23"/>
                      </a:lnTo>
                      <a:lnTo>
                        <a:pt x="429" y="29"/>
                      </a:lnTo>
                      <a:lnTo>
                        <a:pt x="408" y="31"/>
                      </a:lnTo>
                      <a:lnTo>
                        <a:pt x="396" y="37"/>
                      </a:lnTo>
                      <a:lnTo>
                        <a:pt x="370" y="51"/>
                      </a:lnTo>
                      <a:lnTo>
                        <a:pt x="354" y="60"/>
                      </a:lnTo>
                      <a:lnTo>
                        <a:pt x="339" y="69"/>
                      </a:lnTo>
                      <a:lnTo>
                        <a:pt x="319" y="74"/>
                      </a:lnTo>
                      <a:lnTo>
                        <a:pt x="299" y="83"/>
                      </a:lnTo>
                      <a:lnTo>
                        <a:pt x="281" y="94"/>
                      </a:lnTo>
                      <a:lnTo>
                        <a:pt x="267" y="109"/>
                      </a:lnTo>
                      <a:lnTo>
                        <a:pt x="256" y="123"/>
                      </a:lnTo>
                      <a:lnTo>
                        <a:pt x="244" y="134"/>
                      </a:lnTo>
                      <a:lnTo>
                        <a:pt x="234" y="143"/>
                      </a:lnTo>
                      <a:lnTo>
                        <a:pt x="212" y="160"/>
                      </a:lnTo>
                      <a:lnTo>
                        <a:pt x="190" y="177"/>
                      </a:lnTo>
                      <a:lnTo>
                        <a:pt x="165" y="193"/>
                      </a:lnTo>
                      <a:lnTo>
                        <a:pt x="147" y="219"/>
                      </a:lnTo>
                      <a:lnTo>
                        <a:pt x="127" y="239"/>
                      </a:lnTo>
                      <a:lnTo>
                        <a:pt x="111" y="250"/>
                      </a:lnTo>
                      <a:lnTo>
                        <a:pt x="93" y="276"/>
                      </a:lnTo>
                      <a:lnTo>
                        <a:pt x="81" y="293"/>
                      </a:lnTo>
                      <a:lnTo>
                        <a:pt x="65" y="310"/>
                      </a:lnTo>
                      <a:lnTo>
                        <a:pt x="49" y="322"/>
                      </a:lnTo>
                      <a:lnTo>
                        <a:pt x="34" y="333"/>
                      </a:lnTo>
                      <a:lnTo>
                        <a:pt x="0" y="396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43" name="Freeform 142"/>
              <p:cNvSpPr>
                <a:spLocks/>
              </p:cNvSpPr>
              <p:nvPr/>
            </p:nvSpPr>
            <p:spPr bwMode="auto">
              <a:xfrm>
                <a:off x="3319" y="2810"/>
                <a:ext cx="166" cy="385"/>
              </a:xfrm>
              <a:custGeom>
                <a:avLst/>
                <a:gdLst>
                  <a:gd name="T0" fmla="*/ 31 w 166"/>
                  <a:gd name="T1" fmla="*/ 120 h 385"/>
                  <a:gd name="T2" fmla="*/ 27 w 166"/>
                  <a:gd name="T3" fmla="*/ 196 h 385"/>
                  <a:gd name="T4" fmla="*/ 12 w 166"/>
                  <a:gd name="T5" fmla="*/ 244 h 385"/>
                  <a:gd name="T6" fmla="*/ 0 w 166"/>
                  <a:gd name="T7" fmla="*/ 290 h 385"/>
                  <a:gd name="T8" fmla="*/ 0 w 166"/>
                  <a:gd name="T9" fmla="*/ 324 h 385"/>
                  <a:gd name="T10" fmla="*/ 4 w 166"/>
                  <a:gd name="T11" fmla="*/ 353 h 385"/>
                  <a:gd name="T12" fmla="*/ 19 w 166"/>
                  <a:gd name="T13" fmla="*/ 378 h 385"/>
                  <a:gd name="T14" fmla="*/ 31 w 166"/>
                  <a:gd name="T15" fmla="*/ 381 h 385"/>
                  <a:gd name="T16" fmla="*/ 41 w 166"/>
                  <a:gd name="T17" fmla="*/ 381 h 385"/>
                  <a:gd name="T18" fmla="*/ 54 w 166"/>
                  <a:gd name="T19" fmla="*/ 384 h 385"/>
                  <a:gd name="T20" fmla="*/ 60 w 166"/>
                  <a:gd name="T21" fmla="*/ 364 h 385"/>
                  <a:gd name="T22" fmla="*/ 66 w 166"/>
                  <a:gd name="T23" fmla="*/ 313 h 385"/>
                  <a:gd name="T24" fmla="*/ 85 w 166"/>
                  <a:gd name="T25" fmla="*/ 278 h 385"/>
                  <a:gd name="T26" fmla="*/ 89 w 166"/>
                  <a:gd name="T27" fmla="*/ 227 h 385"/>
                  <a:gd name="T28" fmla="*/ 97 w 166"/>
                  <a:gd name="T29" fmla="*/ 207 h 385"/>
                  <a:gd name="T30" fmla="*/ 105 w 166"/>
                  <a:gd name="T31" fmla="*/ 193 h 385"/>
                  <a:gd name="T32" fmla="*/ 111 w 166"/>
                  <a:gd name="T33" fmla="*/ 156 h 385"/>
                  <a:gd name="T34" fmla="*/ 124 w 166"/>
                  <a:gd name="T35" fmla="*/ 134 h 385"/>
                  <a:gd name="T36" fmla="*/ 132 w 166"/>
                  <a:gd name="T37" fmla="*/ 117 h 385"/>
                  <a:gd name="T38" fmla="*/ 140 w 166"/>
                  <a:gd name="T39" fmla="*/ 103 h 385"/>
                  <a:gd name="T40" fmla="*/ 140 w 166"/>
                  <a:gd name="T41" fmla="*/ 94 h 385"/>
                  <a:gd name="T42" fmla="*/ 159 w 166"/>
                  <a:gd name="T43" fmla="*/ 74 h 385"/>
                  <a:gd name="T44" fmla="*/ 161 w 166"/>
                  <a:gd name="T45" fmla="*/ 43 h 385"/>
                  <a:gd name="T46" fmla="*/ 165 w 166"/>
                  <a:gd name="T47" fmla="*/ 23 h 385"/>
                  <a:gd name="T48" fmla="*/ 149 w 166"/>
                  <a:gd name="T49" fmla="*/ 14 h 385"/>
                  <a:gd name="T50" fmla="*/ 138 w 166"/>
                  <a:gd name="T51" fmla="*/ 0 h 385"/>
                  <a:gd name="T52" fmla="*/ 124 w 166"/>
                  <a:gd name="T53" fmla="*/ 14 h 385"/>
                  <a:gd name="T54" fmla="*/ 111 w 166"/>
                  <a:gd name="T55" fmla="*/ 48 h 385"/>
                  <a:gd name="T56" fmla="*/ 97 w 166"/>
                  <a:gd name="T57" fmla="*/ 71 h 385"/>
                  <a:gd name="T58" fmla="*/ 85 w 166"/>
                  <a:gd name="T59" fmla="*/ 91 h 385"/>
                  <a:gd name="T60" fmla="*/ 78 w 166"/>
                  <a:gd name="T61" fmla="*/ 91 h 385"/>
                  <a:gd name="T62" fmla="*/ 66 w 166"/>
                  <a:gd name="T63" fmla="*/ 103 h 385"/>
                  <a:gd name="T64" fmla="*/ 60 w 166"/>
                  <a:gd name="T65" fmla="*/ 114 h 385"/>
                  <a:gd name="T66" fmla="*/ 31 w 166"/>
                  <a:gd name="T67" fmla="*/ 120 h 38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66"/>
                  <a:gd name="T103" fmla="*/ 0 h 385"/>
                  <a:gd name="T104" fmla="*/ 166 w 166"/>
                  <a:gd name="T105" fmla="*/ 385 h 38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66" h="385">
                    <a:moveTo>
                      <a:pt x="31" y="120"/>
                    </a:moveTo>
                    <a:lnTo>
                      <a:pt x="27" y="196"/>
                    </a:lnTo>
                    <a:lnTo>
                      <a:pt x="12" y="244"/>
                    </a:lnTo>
                    <a:lnTo>
                      <a:pt x="0" y="290"/>
                    </a:lnTo>
                    <a:lnTo>
                      <a:pt x="0" y="324"/>
                    </a:lnTo>
                    <a:lnTo>
                      <a:pt x="4" y="353"/>
                    </a:lnTo>
                    <a:lnTo>
                      <a:pt x="19" y="378"/>
                    </a:lnTo>
                    <a:lnTo>
                      <a:pt x="31" y="381"/>
                    </a:lnTo>
                    <a:lnTo>
                      <a:pt x="41" y="381"/>
                    </a:lnTo>
                    <a:lnTo>
                      <a:pt x="54" y="384"/>
                    </a:lnTo>
                    <a:lnTo>
                      <a:pt x="60" y="364"/>
                    </a:lnTo>
                    <a:lnTo>
                      <a:pt x="66" y="313"/>
                    </a:lnTo>
                    <a:lnTo>
                      <a:pt x="85" y="278"/>
                    </a:lnTo>
                    <a:lnTo>
                      <a:pt x="89" y="227"/>
                    </a:lnTo>
                    <a:lnTo>
                      <a:pt x="97" y="207"/>
                    </a:lnTo>
                    <a:lnTo>
                      <a:pt x="105" y="193"/>
                    </a:lnTo>
                    <a:lnTo>
                      <a:pt x="111" y="156"/>
                    </a:lnTo>
                    <a:lnTo>
                      <a:pt x="124" y="134"/>
                    </a:lnTo>
                    <a:lnTo>
                      <a:pt x="132" y="117"/>
                    </a:lnTo>
                    <a:lnTo>
                      <a:pt x="140" y="103"/>
                    </a:lnTo>
                    <a:lnTo>
                      <a:pt x="140" y="94"/>
                    </a:lnTo>
                    <a:lnTo>
                      <a:pt x="159" y="74"/>
                    </a:lnTo>
                    <a:lnTo>
                      <a:pt x="161" y="43"/>
                    </a:lnTo>
                    <a:lnTo>
                      <a:pt x="165" y="23"/>
                    </a:lnTo>
                    <a:lnTo>
                      <a:pt x="149" y="14"/>
                    </a:lnTo>
                    <a:lnTo>
                      <a:pt x="138" y="0"/>
                    </a:lnTo>
                    <a:lnTo>
                      <a:pt x="124" y="14"/>
                    </a:lnTo>
                    <a:lnTo>
                      <a:pt x="111" y="48"/>
                    </a:lnTo>
                    <a:lnTo>
                      <a:pt x="97" y="71"/>
                    </a:lnTo>
                    <a:lnTo>
                      <a:pt x="85" y="91"/>
                    </a:lnTo>
                    <a:lnTo>
                      <a:pt x="78" y="91"/>
                    </a:lnTo>
                    <a:lnTo>
                      <a:pt x="66" y="103"/>
                    </a:lnTo>
                    <a:lnTo>
                      <a:pt x="60" y="114"/>
                    </a:lnTo>
                    <a:lnTo>
                      <a:pt x="31" y="12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4" name="Freeform 143"/>
              <p:cNvSpPr>
                <a:spLocks/>
              </p:cNvSpPr>
              <p:nvPr/>
            </p:nvSpPr>
            <p:spPr bwMode="auto">
              <a:xfrm>
                <a:off x="2571" y="654"/>
                <a:ext cx="2131" cy="1793"/>
              </a:xfrm>
              <a:custGeom>
                <a:avLst/>
                <a:gdLst>
                  <a:gd name="T0" fmla="*/ 125 w 2131"/>
                  <a:gd name="T1" fmla="*/ 752 h 1793"/>
                  <a:gd name="T2" fmla="*/ 142 w 2131"/>
                  <a:gd name="T3" fmla="*/ 621 h 1793"/>
                  <a:gd name="T4" fmla="*/ 215 w 2131"/>
                  <a:gd name="T5" fmla="*/ 545 h 1793"/>
                  <a:gd name="T6" fmla="*/ 297 w 2131"/>
                  <a:gd name="T7" fmla="*/ 509 h 1793"/>
                  <a:gd name="T8" fmla="*/ 320 w 2131"/>
                  <a:gd name="T9" fmla="*/ 433 h 1793"/>
                  <a:gd name="T10" fmla="*/ 425 w 2131"/>
                  <a:gd name="T11" fmla="*/ 366 h 1793"/>
                  <a:gd name="T12" fmla="*/ 494 w 2131"/>
                  <a:gd name="T13" fmla="*/ 271 h 1793"/>
                  <a:gd name="T14" fmla="*/ 463 w 2131"/>
                  <a:gd name="T15" fmla="*/ 223 h 1793"/>
                  <a:gd name="T16" fmla="*/ 468 w 2131"/>
                  <a:gd name="T17" fmla="*/ 178 h 1793"/>
                  <a:gd name="T18" fmla="*/ 400 w 2131"/>
                  <a:gd name="T19" fmla="*/ 243 h 1793"/>
                  <a:gd name="T20" fmla="*/ 379 w 2131"/>
                  <a:gd name="T21" fmla="*/ 372 h 1793"/>
                  <a:gd name="T22" fmla="*/ 332 w 2131"/>
                  <a:gd name="T23" fmla="*/ 411 h 1793"/>
                  <a:gd name="T24" fmla="*/ 308 w 2131"/>
                  <a:gd name="T25" fmla="*/ 344 h 1793"/>
                  <a:gd name="T26" fmla="*/ 244 w 2131"/>
                  <a:gd name="T27" fmla="*/ 374 h 1793"/>
                  <a:gd name="T28" fmla="*/ 226 w 2131"/>
                  <a:gd name="T29" fmla="*/ 324 h 1793"/>
                  <a:gd name="T30" fmla="*/ 228 w 2131"/>
                  <a:gd name="T31" fmla="*/ 274 h 1793"/>
                  <a:gd name="T32" fmla="*/ 297 w 2131"/>
                  <a:gd name="T33" fmla="*/ 240 h 1793"/>
                  <a:gd name="T34" fmla="*/ 342 w 2131"/>
                  <a:gd name="T35" fmla="*/ 154 h 1793"/>
                  <a:gd name="T36" fmla="*/ 414 w 2131"/>
                  <a:gd name="T37" fmla="*/ 53 h 1793"/>
                  <a:gd name="T38" fmla="*/ 513 w 2131"/>
                  <a:gd name="T39" fmla="*/ 25 h 1793"/>
                  <a:gd name="T40" fmla="*/ 644 w 2131"/>
                  <a:gd name="T41" fmla="*/ 104 h 1793"/>
                  <a:gd name="T42" fmla="*/ 597 w 2131"/>
                  <a:gd name="T43" fmla="*/ 223 h 1793"/>
                  <a:gd name="T44" fmla="*/ 644 w 2131"/>
                  <a:gd name="T45" fmla="*/ 285 h 1793"/>
                  <a:gd name="T46" fmla="*/ 684 w 2131"/>
                  <a:gd name="T47" fmla="*/ 215 h 1793"/>
                  <a:gd name="T48" fmla="*/ 862 w 2131"/>
                  <a:gd name="T49" fmla="*/ 187 h 1793"/>
                  <a:gd name="T50" fmla="*/ 1076 w 2131"/>
                  <a:gd name="T51" fmla="*/ 34 h 1793"/>
                  <a:gd name="T52" fmla="*/ 1409 w 2131"/>
                  <a:gd name="T53" fmla="*/ 104 h 1793"/>
                  <a:gd name="T54" fmla="*/ 2010 w 2131"/>
                  <a:gd name="T55" fmla="*/ 226 h 1793"/>
                  <a:gd name="T56" fmla="*/ 2063 w 2131"/>
                  <a:gd name="T57" fmla="*/ 299 h 1793"/>
                  <a:gd name="T58" fmla="*/ 2082 w 2131"/>
                  <a:gd name="T59" fmla="*/ 543 h 1793"/>
                  <a:gd name="T60" fmla="*/ 1907 w 2131"/>
                  <a:gd name="T61" fmla="*/ 346 h 1793"/>
                  <a:gd name="T62" fmla="*/ 1768 w 2131"/>
                  <a:gd name="T63" fmla="*/ 436 h 1793"/>
                  <a:gd name="T64" fmla="*/ 1959 w 2131"/>
                  <a:gd name="T65" fmla="*/ 777 h 1793"/>
                  <a:gd name="T66" fmla="*/ 1881 w 2131"/>
                  <a:gd name="T67" fmla="*/ 923 h 1793"/>
                  <a:gd name="T68" fmla="*/ 2008 w 2131"/>
                  <a:gd name="T69" fmla="*/ 1255 h 1793"/>
                  <a:gd name="T70" fmla="*/ 1879 w 2131"/>
                  <a:gd name="T71" fmla="*/ 1429 h 1793"/>
                  <a:gd name="T72" fmla="*/ 1846 w 2131"/>
                  <a:gd name="T73" fmla="*/ 1563 h 1793"/>
                  <a:gd name="T74" fmla="*/ 1838 w 2131"/>
                  <a:gd name="T75" fmla="*/ 1695 h 1793"/>
                  <a:gd name="T76" fmla="*/ 1793 w 2131"/>
                  <a:gd name="T77" fmla="*/ 1689 h 1793"/>
                  <a:gd name="T78" fmla="*/ 1663 w 2131"/>
                  <a:gd name="T79" fmla="*/ 1415 h 1793"/>
                  <a:gd name="T80" fmla="*/ 1475 w 2131"/>
                  <a:gd name="T81" fmla="*/ 1406 h 1793"/>
                  <a:gd name="T82" fmla="*/ 1363 w 2131"/>
                  <a:gd name="T83" fmla="*/ 1566 h 1793"/>
                  <a:gd name="T84" fmla="*/ 1131 w 2131"/>
                  <a:gd name="T85" fmla="*/ 1217 h 1793"/>
                  <a:gd name="T86" fmla="*/ 824 w 2131"/>
                  <a:gd name="T87" fmla="*/ 1094 h 1793"/>
                  <a:gd name="T88" fmla="*/ 1057 w 2131"/>
                  <a:gd name="T89" fmla="*/ 1311 h 1793"/>
                  <a:gd name="T90" fmla="*/ 785 w 2131"/>
                  <a:gd name="T91" fmla="*/ 1507 h 1793"/>
                  <a:gd name="T92" fmla="*/ 715 w 2131"/>
                  <a:gd name="T93" fmla="*/ 1322 h 1793"/>
                  <a:gd name="T94" fmla="*/ 603 w 2131"/>
                  <a:gd name="T95" fmla="*/ 1108 h 1793"/>
                  <a:gd name="T96" fmla="*/ 539 w 2131"/>
                  <a:gd name="T97" fmla="*/ 948 h 1793"/>
                  <a:gd name="T98" fmla="*/ 507 w 2131"/>
                  <a:gd name="T99" fmla="*/ 875 h 1793"/>
                  <a:gd name="T100" fmla="*/ 466 w 2131"/>
                  <a:gd name="T101" fmla="*/ 833 h 1793"/>
                  <a:gd name="T102" fmla="*/ 451 w 2131"/>
                  <a:gd name="T103" fmla="*/ 911 h 1793"/>
                  <a:gd name="T104" fmla="*/ 394 w 2131"/>
                  <a:gd name="T105" fmla="*/ 788 h 1793"/>
                  <a:gd name="T106" fmla="*/ 330 w 2131"/>
                  <a:gd name="T107" fmla="*/ 743 h 1793"/>
                  <a:gd name="T108" fmla="*/ 398 w 2131"/>
                  <a:gd name="T109" fmla="*/ 850 h 1793"/>
                  <a:gd name="T110" fmla="*/ 369 w 2131"/>
                  <a:gd name="T111" fmla="*/ 875 h 1793"/>
                  <a:gd name="T112" fmla="*/ 314 w 2131"/>
                  <a:gd name="T113" fmla="*/ 805 h 1793"/>
                  <a:gd name="T114" fmla="*/ 252 w 2131"/>
                  <a:gd name="T115" fmla="*/ 755 h 1793"/>
                  <a:gd name="T116" fmla="*/ 170 w 2131"/>
                  <a:gd name="T117" fmla="*/ 819 h 1793"/>
                  <a:gd name="T118" fmla="*/ 152 w 2131"/>
                  <a:gd name="T119" fmla="*/ 892 h 1793"/>
                  <a:gd name="T120" fmla="*/ 96 w 2131"/>
                  <a:gd name="T121" fmla="*/ 945 h 1793"/>
                  <a:gd name="T122" fmla="*/ 12 w 2131"/>
                  <a:gd name="T123" fmla="*/ 911 h 179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131"/>
                  <a:gd name="T187" fmla="*/ 0 h 1793"/>
                  <a:gd name="T188" fmla="*/ 2131 w 2131"/>
                  <a:gd name="T189" fmla="*/ 1793 h 179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131" h="1793">
                    <a:moveTo>
                      <a:pt x="0" y="805"/>
                    </a:moveTo>
                    <a:lnTo>
                      <a:pt x="20" y="780"/>
                    </a:lnTo>
                    <a:lnTo>
                      <a:pt x="31" y="760"/>
                    </a:lnTo>
                    <a:lnTo>
                      <a:pt x="57" y="760"/>
                    </a:lnTo>
                    <a:lnTo>
                      <a:pt x="84" y="766"/>
                    </a:lnTo>
                    <a:lnTo>
                      <a:pt x="103" y="755"/>
                    </a:lnTo>
                    <a:lnTo>
                      <a:pt x="125" y="752"/>
                    </a:lnTo>
                    <a:lnTo>
                      <a:pt x="127" y="718"/>
                    </a:lnTo>
                    <a:lnTo>
                      <a:pt x="139" y="696"/>
                    </a:lnTo>
                    <a:lnTo>
                      <a:pt x="109" y="671"/>
                    </a:lnTo>
                    <a:lnTo>
                      <a:pt x="105" y="652"/>
                    </a:lnTo>
                    <a:lnTo>
                      <a:pt x="107" y="624"/>
                    </a:lnTo>
                    <a:lnTo>
                      <a:pt x="129" y="624"/>
                    </a:lnTo>
                    <a:lnTo>
                      <a:pt x="142" y="621"/>
                    </a:lnTo>
                    <a:lnTo>
                      <a:pt x="144" y="624"/>
                    </a:lnTo>
                    <a:lnTo>
                      <a:pt x="160" y="607"/>
                    </a:lnTo>
                    <a:lnTo>
                      <a:pt x="176" y="599"/>
                    </a:lnTo>
                    <a:lnTo>
                      <a:pt x="181" y="599"/>
                    </a:lnTo>
                    <a:lnTo>
                      <a:pt x="191" y="582"/>
                    </a:lnTo>
                    <a:lnTo>
                      <a:pt x="203" y="576"/>
                    </a:lnTo>
                    <a:lnTo>
                      <a:pt x="215" y="545"/>
                    </a:lnTo>
                    <a:lnTo>
                      <a:pt x="222" y="554"/>
                    </a:lnTo>
                    <a:lnTo>
                      <a:pt x="238" y="534"/>
                    </a:lnTo>
                    <a:lnTo>
                      <a:pt x="240" y="534"/>
                    </a:lnTo>
                    <a:lnTo>
                      <a:pt x="260" y="512"/>
                    </a:lnTo>
                    <a:lnTo>
                      <a:pt x="271" y="509"/>
                    </a:lnTo>
                    <a:lnTo>
                      <a:pt x="287" y="509"/>
                    </a:lnTo>
                    <a:lnTo>
                      <a:pt x="297" y="509"/>
                    </a:lnTo>
                    <a:lnTo>
                      <a:pt x="289" y="481"/>
                    </a:lnTo>
                    <a:lnTo>
                      <a:pt x="285" y="459"/>
                    </a:lnTo>
                    <a:lnTo>
                      <a:pt x="281" y="411"/>
                    </a:lnTo>
                    <a:lnTo>
                      <a:pt x="304" y="408"/>
                    </a:lnTo>
                    <a:lnTo>
                      <a:pt x="316" y="400"/>
                    </a:lnTo>
                    <a:lnTo>
                      <a:pt x="310" y="419"/>
                    </a:lnTo>
                    <a:lnTo>
                      <a:pt x="320" y="433"/>
                    </a:lnTo>
                    <a:lnTo>
                      <a:pt x="330" y="450"/>
                    </a:lnTo>
                    <a:lnTo>
                      <a:pt x="336" y="461"/>
                    </a:lnTo>
                    <a:lnTo>
                      <a:pt x="363" y="459"/>
                    </a:lnTo>
                    <a:lnTo>
                      <a:pt x="386" y="416"/>
                    </a:lnTo>
                    <a:lnTo>
                      <a:pt x="404" y="397"/>
                    </a:lnTo>
                    <a:lnTo>
                      <a:pt x="414" y="383"/>
                    </a:lnTo>
                    <a:lnTo>
                      <a:pt x="425" y="366"/>
                    </a:lnTo>
                    <a:lnTo>
                      <a:pt x="437" y="344"/>
                    </a:lnTo>
                    <a:lnTo>
                      <a:pt x="447" y="352"/>
                    </a:lnTo>
                    <a:lnTo>
                      <a:pt x="447" y="338"/>
                    </a:lnTo>
                    <a:lnTo>
                      <a:pt x="453" y="330"/>
                    </a:lnTo>
                    <a:lnTo>
                      <a:pt x="470" y="335"/>
                    </a:lnTo>
                    <a:lnTo>
                      <a:pt x="500" y="372"/>
                    </a:lnTo>
                    <a:lnTo>
                      <a:pt x="494" y="271"/>
                    </a:lnTo>
                    <a:lnTo>
                      <a:pt x="468" y="316"/>
                    </a:lnTo>
                    <a:lnTo>
                      <a:pt x="449" y="313"/>
                    </a:lnTo>
                    <a:lnTo>
                      <a:pt x="443" y="285"/>
                    </a:lnTo>
                    <a:lnTo>
                      <a:pt x="443" y="271"/>
                    </a:lnTo>
                    <a:lnTo>
                      <a:pt x="437" y="262"/>
                    </a:lnTo>
                    <a:lnTo>
                      <a:pt x="453" y="240"/>
                    </a:lnTo>
                    <a:lnTo>
                      <a:pt x="463" y="223"/>
                    </a:lnTo>
                    <a:lnTo>
                      <a:pt x="472" y="218"/>
                    </a:lnTo>
                    <a:lnTo>
                      <a:pt x="480" y="215"/>
                    </a:lnTo>
                    <a:lnTo>
                      <a:pt x="486" y="201"/>
                    </a:lnTo>
                    <a:lnTo>
                      <a:pt x="494" y="198"/>
                    </a:lnTo>
                    <a:lnTo>
                      <a:pt x="503" y="198"/>
                    </a:lnTo>
                    <a:lnTo>
                      <a:pt x="486" y="173"/>
                    </a:lnTo>
                    <a:lnTo>
                      <a:pt x="468" y="178"/>
                    </a:lnTo>
                    <a:lnTo>
                      <a:pt x="457" y="178"/>
                    </a:lnTo>
                    <a:lnTo>
                      <a:pt x="447" y="170"/>
                    </a:lnTo>
                    <a:lnTo>
                      <a:pt x="447" y="187"/>
                    </a:lnTo>
                    <a:lnTo>
                      <a:pt x="437" y="204"/>
                    </a:lnTo>
                    <a:lnTo>
                      <a:pt x="423" y="232"/>
                    </a:lnTo>
                    <a:lnTo>
                      <a:pt x="410" y="243"/>
                    </a:lnTo>
                    <a:lnTo>
                      <a:pt x="400" y="243"/>
                    </a:lnTo>
                    <a:lnTo>
                      <a:pt x="396" y="262"/>
                    </a:lnTo>
                    <a:lnTo>
                      <a:pt x="396" y="271"/>
                    </a:lnTo>
                    <a:lnTo>
                      <a:pt x="388" y="279"/>
                    </a:lnTo>
                    <a:lnTo>
                      <a:pt x="398" y="313"/>
                    </a:lnTo>
                    <a:lnTo>
                      <a:pt x="404" y="330"/>
                    </a:lnTo>
                    <a:lnTo>
                      <a:pt x="392" y="355"/>
                    </a:lnTo>
                    <a:lnTo>
                      <a:pt x="379" y="372"/>
                    </a:lnTo>
                    <a:lnTo>
                      <a:pt x="375" y="397"/>
                    </a:lnTo>
                    <a:lnTo>
                      <a:pt x="367" y="416"/>
                    </a:lnTo>
                    <a:lnTo>
                      <a:pt x="359" y="416"/>
                    </a:lnTo>
                    <a:lnTo>
                      <a:pt x="347" y="419"/>
                    </a:lnTo>
                    <a:lnTo>
                      <a:pt x="336" y="428"/>
                    </a:lnTo>
                    <a:lnTo>
                      <a:pt x="332" y="425"/>
                    </a:lnTo>
                    <a:lnTo>
                      <a:pt x="332" y="411"/>
                    </a:lnTo>
                    <a:lnTo>
                      <a:pt x="330" y="388"/>
                    </a:lnTo>
                    <a:lnTo>
                      <a:pt x="320" y="388"/>
                    </a:lnTo>
                    <a:lnTo>
                      <a:pt x="314" y="374"/>
                    </a:lnTo>
                    <a:lnTo>
                      <a:pt x="316" y="355"/>
                    </a:lnTo>
                    <a:lnTo>
                      <a:pt x="318" y="344"/>
                    </a:lnTo>
                    <a:lnTo>
                      <a:pt x="316" y="338"/>
                    </a:lnTo>
                    <a:lnTo>
                      <a:pt x="308" y="344"/>
                    </a:lnTo>
                    <a:lnTo>
                      <a:pt x="304" y="344"/>
                    </a:lnTo>
                    <a:lnTo>
                      <a:pt x="299" y="341"/>
                    </a:lnTo>
                    <a:lnTo>
                      <a:pt x="295" y="338"/>
                    </a:lnTo>
                    <a:lnTo>
                      <a:pt x="285" y="349"/>
                    </a:lnTo>
                    <a:lnTo>
                      <a:pt x="275" y="363"/>
                    </a:lnTo>
                    <a:lnTo>
                      <a:pt x="265" y="377"/>
                    </a:lnTo>
                    <a:lnTo>
                      <a:pt x="244" y="374"/>
                    </a:lnTo>
                    <a:lnTo>
                      <a:pt x="230" y="372"/>
                    </a:lnTo>
                    <a:lnTo>
                      <a:pt x="221" y="358"/>
                    </a:lnTo>
                    <a:lnTo>
                      <a:pt x="221" y="349"/>
                    </a:lnTo>
                    <a:lnTo>
                      <a:pt x="226" y="338"/>
                    </a:lnTo>
                    <a:lnTo>
                      <a:pt x="234" y="330"/>
                    </a:lnTo>
                    <a:lnTo>
                      <a:pt x="240" y="318"/>
                    </a:lnTo>
                    <a:lnTo>
                      <a:pt x="226" y="324"/>
                    </a:lnTo>
                    <a:lnTo>
                      <a:pt x="221" y="310"/>
                    </a:lnTo>
                    <a:lnTo>
                      <a:pt x="221" y="302"/>
                    </a:lnTo>
                    <a:lnTo>
                      <a:pt x="240" y="299"/>
                    </a:lnTo>
                    <a:lnTo>
                      <a:pt x="258" y="296"/>
                    </a:lnTo>
                    <a:lnTo>
                      <a:pt x="246" y="288"/>
                    </a:lnTo>
                    <a:lnTo>
                      <a:pt x="228" y="290"/>
                    </a:lnTo>
                    <a:lnTo>
                      <a:pt x="228" y="274"/>
                    </a:lnTo>
                    <a:lnTo>
                      <a:pt x="236" y="262"/>
                    </a:lnTo>
                    <a:lnTo>
                      <a:pt x="254" y="251"/>
                    </a:lnTo>
                    <a:lnTo>
                      <a:pt x="260" y="240"/>
                    </a:lnTo>
                    <a:lnTo>
                      <a:pt x="265" y="234"/>
                    </a:lnTo>
                    <a:lnTo>
                      <a:pt x="279" y="232"/>
                    </a:lnTo>
                    <a:lnTo>
                      <a:pt x="291" y="234"/>
                    </a:lnTo>
                    <a:lnTo>
                      <a:pt x="297" y="240"/>
                    </a:lnTo>
                    <a:lnTo>
                      <a:pt x="306" y="232"/>
                    </a:lnTo>
                    <a:lnTo>
                      <a:pt x="297" y="229"/>
                    </a:lnTo>
                    <a:lnTo>
                      <a:pt x="297" y="206"/>
                    </a:lnTo>
                    <a:lnTo>
                      <a:pt x="322" y="181"/>
                    </a:lnTo>
                    <a:lnTo>
                      <a:pt x="336" y="164"/>
                    </a:lnTo>
                    <a:lnTo>
                      <a:pt x="343" y="162"/>
                    </a:lnTo>
                    <a:lnTo>
                      <a:pt x="342" y="154"/>
                    </a:lnTo>
                    <a:lnTo>
                      <a:pt x="353" y="137"/>
                    </a:lnTo>
                    <a:lnTo>
                      <a:pt x="367" y="112"/>
                    </a:lnTo>
                    <a:lnTo>
                      <a:pt x="382" y="101"/>
                    </a:lnTo>
                    <a:lnTo>
                      <a:pt x="371" y="90"/>
                    </a:lnTo>
                    <a:lnTo>
                      <a:pt x="402" y="64"/>
                    </a:lnTo>
                    <a:lnTo>
                      <a:pt x="416" y="67"/>
                    </a:lnTo>
                    <a:lnTo>
                      <a:pt x="414" y="53"/>
                    </a:lnTo>
                    <a:lnTo>
                      <a:pt x="441" y="50"/>
                    </a:lnTo>
                    <a:lnTo>
                      <a:pt x="492" y="6"/>
                    </a:lnTo>
                    <a:lnTo>
                      <a:pt x="500" y="0"/>
                    </a:lnTo>
                    <a:lnTo>
                      <a:pt x="490" y="34"/>
                    </a:lnTo>
                    <a:lnTo>
                      <a:pt x="502" y="17"/>
                    </a:lnTo>
                    <a:lnTo>
                      <a:pt x="515" y="11"/>
                    </a:lnTo>
                    <a:lnTo>
                      <a:pt x="513" y="25"/>
                    </a:lnTo>
                    <a:lnTo>
                      <a:pt x="552" y="8"/>
                    </a:lnTo>
                    <a:lnTo>
                      <a:pt x="570" y="22"/>
                    </a:lnTo>
                    <a:lnTo>
                      <a:pt x="544" y="36"/>
                    </a:lnTo>
                    <a:lnTo>
                      <a:pt x="554" y="53"/>
                    </a:lnTo>
                    <a:lnTo>
                      <a:pt x="591" y="50"/>
                    </a:lnTo>
                    <a:lnTo>
                      <a:pt x="648" y="76"/>
                    </a:lnTo>
                    <a:lnTo>
                      <a:pt x="644" y="104"/>
                    </a:lnTo>
                    <a:lnTo>
                      <a:pt x="621" y="129"/>
                    </a:lnTo>
                    <a:lnTo>
                      <a:pt x="585" y="143"/>
                    </a:lnTo>
                    <a:lnTo>
                      <a:pt x="580" y="170"/>
                    </a:lnTo>
                    <a:lnTo>
                      <a:pt x="582" y="198"/>
                    </a:lnTo>
                    <a:lnTo>
                      <a:pt x="591" y="204"/>
                    </a:lnTo>
                    <a:lnTo>
                      <a:pt x="593" y="218"/>
                    </a:lnTo>
                    <a:lnTo>
                      <a:pt x="597" y="223"/>
                    </a:lnTo>
                    <a:lnTo>
                      <a:pt x="605" y="229"/>
                    </a:lnTo>
                    <a:lnTo>
                      <a:pt x="607" y="246"/>
                    </a:lnTo>
                    <a:lnTo>
                      <a:pt x="619" y="265"/>
                    </a:lnTo>
                    <a:lnTo>
                      <a:pt x="619" y="274"/>
                    </a:lnTo>
                    <a:lnTo>
                      <a:pt x="630" y="274"/>
                    </a:lnTo>
                    <a:lnTo>
                      <a:pt x="634" y="279"/>
                    </a:lnTo>
                    <a:lnTo>
                      <a:pt x="644" y="285"/>
                    </a:lnTo>
                    <a:lnTo>
                      <a:pt x="650" y="276"/>
                    </a:lnTo>
                    <a:lnTo>
                      <a:pt x="656" y="262"/>
                    </a:lnTo>
                    <a:lnTo>
                      <a:pt x="660" y="254"/>
                    </a:lnTo>
                    <a:lnTo>
                      <a:pt x="668" y="260"/>
                    </a:lnTo>
                    <a:lnTo>
                      <a:pt x="680" y="240"/>
                    </a:lnTo>
                    <a:lnTo>
                      <a:pt x="680" y="226"/>
                    </a:lnTo>
                    <a:lnTo>
                      <a:pt x="684" y="215"/>
                    </a:lnTo>
                    <a:lnTo>
                      <a:pt x="686" y="206"/>
                    </a:lnTo>
                    <a:lnTo>
                      <a:pt x="709" y="198"/>
                    </a:lnTo>
                    <a:lnTo>
                      <a:pt x="729" y="190"/>
                    </a:lnTo>
                    <a:lnTo>
                      <a:pt x="754" y="178"/>
                    </a:lnTo>
                    <a:lnTo>
                      <a:pt x="784" y="187"/>
                    </a:lnTo>
                    <a:lnTo>
                      <a:pt x="813" y="187"/>
                    </a:lnTo>
                    <a:lnTo>
                      <a:pt x="862" y="187"/>
                    </a:lnTo>
                    <a:lnTo>
                      <a:pt x="869" y="120"/>
                    </a:lnTo>
                    <a:lnTo>
                      <a:pt x="897" y="123"/>
                    </a:lnTo>
                    <a:lnTo>
                      <a:pt x="916" y="173"/>
                    </a:lnTo>
                    <a:lnTo>
                      <a:pt x="920" y="132"/>
                    </a:lnTo>
                    <a:lnTo>
                      <a:pt x="1010" y="8"/>
                    </a:lnTo>
                    <a:lnTo>
                      <a:pt x="1045" y="8"/>
                    </a:lnTo>
                    <a:lnTo>
                      <a:pt x="1076" y="34"/>
                    </a:lnTo>
                    <a:lnTo>
                      <a:pt x="1117" y="31"/>
                    </a:lnTo>
                    <a:lnTo>
                      <a:pt x="1172" y="76"/>
                    </a:lnTo>
                    <a:lnTo>
                      <a:pt x="1234" y="101"/>
                    </a:lnTo>
                    <a:lnTo>
                      <a:pt x="1279" y="95"/>
                    </a:lnTo>
                    <a:lnTo>
                      <a:pt x="1338" y="123"/>
                    </a:lnTo>
                    <a:lnTo>
                      <a:pt x="1386" y="123"/>
                    </a:lnTo>
                    <a:lnTo>
                      <a:pt x="1409" y="104"/>
                    </a:lnTo>
                    <a:lnTo>
                      <a:pt x="1464" y="104"/>
                    </a:lnTo>
                    <a:lnTo>
                      <a:pt x="1493" y="126"/>
                    </a:lnTo>
                    <a:lnTo>
                      <a:pt x="1567" y="126"/>
                    </a:lnTo>
                    <a:lnTo>
                      <a:pt x="1629" y="162"/>
                    </a:lnTo>
                    <a:lnTo>
                      <a:pt x="1741" y="156"/>
                    </a:lnTo>
                    <a:lnTo>
                      <a:pt x="1922" y="173"/>
                    </a:lnTo>
                    <a:lnTo>
                      <a:pt x="2010" y="226"/>
                    </a:lnTo>
                    <a:lnTo>
                      <a:pt x="2084" y="260"/>
                    </a:lnTo>
                    <a:lnTo>
                      <a:pt x="2130" y="288"/>
                    </a:lnTo>
                    <a:lnTo>
                      <a:pt x="2116" y="296"/>
                    </a:lnTo>
                    <a:lnTo>
                      <a:pt x="2084" y="274"/>
                    </a:lnTo>
                    <a:lnTo>
                      <a:pt x="2008" y="265"/>
                    </a:lnTo>
                    <a:lnTo>
                      <a:pt x="2030" y="288"/>
                    </a:lnTo>
                    <a:lnTo>
                      <a:pt x="2063" y="299"/>
                    </a:lnTo>
                    <a:lnTo>
                      <a:pt x="2053" y="335"/>
                    </a:lnTo>
                    <a:lnTo>
                      <a:pt x="2018" y="358"/>
                    </a:lnTo>
                    <a:lnTo>
                      <a:pt x="2006" y="394"/>
                    </a:lnTo>
                    <a:lnTo>
                      <a:pt x="2053" y="428"/>
                    </a:lnTo>
                    <a:lnTo>
                      <a:pt x="2086" y="473"/>
                    </a:lnTo>
                    <a:lnTo>
                      <a:pt x="2103" y="537"/>
                    </a:lnTo>
                    <a:lnTo>
                      <a:pt x="2082" y="543"/>
                    </a:lnTo>
                    <a:lnTo>
                      <a:pt x="2035" y="523"/>
                    </a:lnTo>
                    <a:lnTo>
                      <a:pt x="1987" y="475"/>
                    </a:lnTo>
                    <a:lnTo>
                      <a:pt x="1967" y="450"/>
                    </a:lnTo>
                    <a:lnTo>
                      <a:pt x="1955" y="416"/>
                    </a:lnTo>
                    <a:lnTo>
                      <a:pt x="1944" y="366"/>
                    </a:lnTo>
                    <a:lnTo>
                      <a:pt x="1924" y="349"/>
                    </a:lnTo>
                    <a:lnTo>
                      <a:pt x="1907" y="346"/>
                    </a:lnTo>
                    <a:lnTo>
                      <a:pt x="1891" y="352"/>
                    </a:lnTo>
                    <a:lnTo>
                      <a:pt x="1909" y="391"/>
                    </a:lnTo>
                    <a:lnTo>
                      <a:pt x="1862" y="397"/>
                    </a:lnTo>
                    <a:lnTo>
                      <a:pt x="1840" y="377"/>
                    </a:lnTo>
                    <a:lnTo>
                      <a:pt x="1799" y="388"/>
                    </a:lnTo>
                    <a:lnTo>
                      <a:pt x="1768" y="419"/>
                    </a:lnTo>
                    <a:lnTo>
                      <a:pt x="1768" y="436"/>
                    </a:lnTo>
                    <a:lnTo>
                      <a:pt x="1780" y="464"/>
                    </a:lnTo>
                    <a:lnTo>
                      <a:pt x="1829" y="473"/>
                    </a:lnTo>
                    <a:lnTo>
                      <a:pt x="1868" y="506"/>
                    </a:lnTo>
                    <a:lnTo>
                      <a:pt x="1934" y="599"/>
                    </a:lnTo>
                    <a:lnTo>
                      <a:pt x="1961" y="660"/>
                    </a:lnTo>
                    <a:lnTo>
                      <a:pt x="1965" y="724"/>
                    </a:lnTo>
                    <a:lnTo>
                      <a:pt x="1959" y="777"/>
                    </a:lnTo>
                    <a:lnTo>
                      <a:pt x="1944" y="777"/>
                    </a:lnTo>
                    <a:lnTo>
                      <a:pt x="1926" y="757"/>
                    </a:lnTo>
                    <a:lnTo>
                      <a:pt x="1901" y="783"/>
                    </a:lnTo>
                    <a:lnTo>
                      <a:pt x="1875" y="805"/>
                    </a:lnTo>
                    <a:lnTo>
                      <a:pt x="1871" y="841"/>
                    </a:lnTo>
                    <a:lnTo>
                      <a:pt x="1899" y="886"/>
                    </a:lnTo>
                    <a:lnTo>
                      <a:pt x="1881" y="923"/>
                    </a:lnTo>
                    <a:lnTo>
                      <a:pt x="1875" y="984"/>
                    </a:lnTo>
                    <a:lnTo>
                      <a:pt x="1909" y="1023"/>
                    </a:lnTo>
                    <a:lnTo>
                      <a:pt x="1946" y="1035"/>
                    </a:lnTo>
                    <a:lnTo>
                      <a:pt x="1985" y="1077"/>
                    </a:lnTo>
                    <a:lnTo>
                      <a:pt x="2018" y="1133"/>
                    </a:lnTo>
                    <a:lnTo>
                      <a:pt x="2020" y="1217"/>
                    </a:lnTo>
                    <a:lnTo>
                      <a:pt x="2008" y="1255"/>
                    </a:lnTo>
                    <a:lnTo>
                      <a:pt x="1973" y="1289"/>
                    </a:lnTo>
                    <a:lnTo>
                      <a:pt x="1930" y="1305"/>
                    </a:lnTo>
                    <a:lnTo>
                      <a:pt x="1903" y="1331"/>
                    </a:lnTo>
                    <a:lnTo>
                      <a:pt x="1887" y="1317"/>
                    </a:lnTo>
                    <a:lnTo>
                      <a:pt x="1873" y="1331"/>
                    </a:lnTo>
                    <a:lnTo>
                      <a:pt x="1869" y="1392"/>
                    </a:lnTo>
                    <a:lnTo>
                      <a:pt x="1879" y="1429"/>
                    </a:lnTo>
                    <a:lnTo>
                      <a:pt x="1922" y="1471"/>
                    </a:lnTo>
                    <a:lnTo>
                      <a:pt x="1940" y="1513"/>
                    </a:lnTo>
                    <a:lnTo>
                      <a:pt x="1953" y="1535"/>
                    </a:lnTo>
                    <a:lnTo>
                      <a:pt x="1950" y="1580"/>
                    </a:lnTo>
                    <a:lnTo>
                      <a:pt x="1922" y="1616"/>
                    </a:lnTo>
                    <a:lnTo>
                      <a:pt x="1893" y="1616"/>
                    </a:lnTo>
                    <a:lnTo>
                      <a:pt x="1846" y="1563"/>
                    </a:lnTo>
                    <a:lnTo>
                      <a:pt x="1813" y="1544"/>
                    </a:lnTo>
                    <a:lnTo>
                      <a:pt x="1799" y="1532"/>
                    </a:lnTo>
                    <a:lnTo>
                      <a:pt x="1786" y="1560"/>
                    </a:lnTo>
                    <a:lnTo>
                      <a:pt x="1789" y="1600"/>
                    </a:lnTo>
                    <a:lnTo>
                      <a:pt x="1801" y="1630"/>
                    </a:lnTo>
                    <a:lnTo>
                      <a:pt x="1809" y="1678"/>
                    </a:lnTo>
                    <a:lnTo>
                      <a:pt x="1838" y="1695"/>
                    </a:lnTo>
                    <a:lnTo>
                      <a:pt x="1829" y="1720"/>
                    </a:lnTo>
                    <a:lnTo>
                      <a:pt x="1830" y="1757"/>
                    </a:lnTo>
                    <a:lnTo>
                      <a:pt x="1840" y="1792"/>
                    </a:lnTo>
                    <a:lnTo>
                      <a:pt x="1821" y="1789"/>
                    </a:lnTo>
                    <a:lnTo>
                      <a:pt x="1799" y="1748"/>
                    </a:lnTo>
                    <a:lnTo>
                      <a:pt x="1801" y="1703"/>
                    </a:lnTo>
                    <a:lnTo>
                      <a:pt x="1793" y="1689"/>
                    </a:lnTo>
                    <a:lnTo>
                      <a:pt x="1786" y="1639"/>
                    </a:lnTo>
                    <a:lnTo>
                      <a:pt x="1776" y="1625"/>
                    </a:lnTo>
                    <a:lnTo>
                      <a:pt x="1772" y="1555"/>
                    </a:lnTo>
                    <a:lnTo>
                      <a:pt x="1758" y="1513"/>
                    </a:lnTo>
                    <a:lnTo>
                      <a:pt x="1735" y="1474"/>
                    </a:lnTo>
                    <a:lnTo>
                      <a:pt x="1692" y="1451"/>
                    </a:lnTo>
                    <a:lnTo>
                      <a:pt x="1663" y="1415"/>
                    </a:lnTo>
                    <a:lnTo>
                      <a:pt x="1651" y="1387"/>
                    </a:lnTo>
                    <a:lnTo>
                      <a:pt x="1629" y="1356"/>
                    </a:lnTo>
                    <a:lnTo>
                      <a:pt x="1596" y="1286"/>
                    </a:lnTo>
                    <a:lnTo>
                      <a:pt x="1567" y="1291"/>
                    </a:lnTo>
                    <a:lnTo>
                      <a:pt x="1528" y="1325"/>
                    </a:lnTo>
                    <a:lnTo>
                      <a:pt x="1510" y="1353"/>
                    </a:lnTo>
                    <a:lnTo>
                      <a:pt x="1475" y="1406"/>
                    </a:lnTo>
                    <a:lnTo>
                      <a:pt x="1450" y="1462"/>
                    </a:lnTo>
                    <a:lnTo>
                      <a:pt x="1440" y="1482"/>
                    </a:lnTo>
                    <a:lnTo>
                      <a:pt x="1450" y="1546"/>
                    </a:lnTo>
                    <a:lnTo>
                      <a:pt x="1448" y="1611"/>
                    </a:lnTo>
                    <a:lnTo>
                      <a:pt x="1417" y="1656"/>
                    </a:lnTo>
                    <a:lnTo>
                      <a:pt x="1399" y="1659"/>
                    </a:lnTo>
                    <a:lnTo>
                      <a:pt x="1363" y="1566"/>
                    </a:lnTo>
                    <a:lnTo>
                      <a:pt x="1334" y="1502"/>
                    </a:lnTo>
                    <a:lnTo>
                      <a:pt x="1275" y="1378"/>
                    </a:lnTo>
                    <a:lnTo>
                      <a:pt x="1273" y="1331"/>
                    </a:lnTo>
                    <a:lnTo>
                      <a:pt x="1260" y="1308"/>
                    </a:lnTo>
                    <a:lnTo>
                      <a:pt x="1250" y="1339"/>
                    </a:lnTo>
                    <a:lnTo>
                      <a:pt x="1199" y="1269"/>
                    </a:lnTo>
                    <a:lnTo>
                      <a:pt x="1131" y="1217"/>
                    </a:lnTo>
                    <a:lnTo>
                      <a:pt x="1088" y="1228"/>
                    </a:lnTo>
                    <a:lnTo>
                      <a:pt x="1025" y="1222"/>
                    </a:lnTo>
                    <a:lnTo>
                      <a:pt x="996" y="1183"/>
                    </a:lnTo>
                    <a:lnTo>
                      <a:pt x="963" y="1189"/>
                    </a:lnTo>
                    <a:lnTo>
                      <a:pt x="916" y="1172"/>
                    </a:lnTo>
                    <a:lnTo>
                      <a:pt x="819" y="1040"/>
                    </a:lnTo>
                    <a:lnTo>
                      <a:pt x="824" y="1094"/>
                    </a:lnTo>
                    <a:lnTo>
                      <a:pt x="854" y="1169"/>
                    </a:lnTo>
                    <a:lnTo>
                      <a:pt x="887" y="1222"/>
                    </a:lnTo>
                    <a:lnTo>
                      <a:pt x="922" y="1249"/>
                    </a:lnTo>
                    <a:lnTo>
                      <a:pt x="961" y="1228"/>
                    </a:lnTo>
                    <a:lnTo>
                      <a:pt x="992" y="1228"/>
                    </a:lnTo>
                    <a:lnTo>
                      <a:pt x="1033" y="1275"/>
                    </a:lnTo>
                    <a:lnTo>
                      <a:pt x="1057" y="1311"/>
                    </a:lnTo>
                    <a:lnTo>
                      <a:pt x="1053" y="1333"/>
                    </a:lnTo>
                    <a:lnTo>
                      <a:pt x="983" y="1437"/>
                    </a:lnTo>
                    <a:lnTo>
                      <a:pt x="936" y="1476"/>
                    </a:lnTo>
                    <a:lnTo>
                      <a:pt x="838" y="1527"/>
                    </a:lnTo>
                    <a:lnTo>
                      <a:pt x="809" y="1544"/>
                    </a:lnTo>
                    <a:lnTo>
                      <a:pt x="791" y="1527"/>
                    </a:lnTo>
                    <a:lnTo>
                      <a:pt x="785" y="1507"/>
                    </a:lnTo>
                    <a:lnTo>
                      <a:pt x="784" y="1476"/>
                    </a:lnTo>
                    <a:lnTo>
                      <a:pt x="776" y="1446"/>
                    </a:lnTo>
                    <a:lnTo>
                      <a:pt x="762" y="1420"/>
                    </a:lnTo>
                    <a:lnTo>
                      <a:pt x="750" y="1398"/>
                    </a:lnTo>
                    <a:lnTo>
                      <a:pt x="733" y="1367"/>
                    </a:lnTo>
                    <a:lnTo>
                      <a:pt x="723" y="1348"/>
                    </a:lnTo>
                    <a:lnTo>
                      <a:pt x="715" y="1322"/>
                    </a:lnTo>
                    <a:lnTo>
                      <a:pt x="702" y="1300"/>
                    </a:lnTo>
                    <a:lnTo>
                      <a:pt x="680" y="1244"/>
                    </a:lnTo>
                    <a:lnTo>
                      <a:pt x="668" y="1222"/>
                    </a:lnTo>
                    <a:lnTo>
                      <a:pt x="654" y="1192"/>
                    </a:lnTo>
                    <a:lnTo>
                      <a:pt x="628" y="1150"/>
                    </a:lnTo>
                    <a:lnTo>
                      <a:pt x="615" y="1124"/>
                    </a:lnTo>
                    <a:lnTo>
                      <a:pt x="603" y="1108"/>
                    </a:lnTo>
                    <a:lnTo>
                      <a:pt x="589" y="1071"/>
                    </a:lnTo>
                    <a:lnTo>
                      <a:pt x="630" y="1037"/>
                    </a:lnTo>
                    <a:lnTo>
                      <a:pt x="648" y="965"/>
                    </a:lnTo>
                    <a:lnTo>
                      <a:pt x="609" y="945"/>
                    </a:lnTo>
                    <a:lnTo>
                      <a:pt x="556" y="956"/>
                    </a:lnTo>
                    <a:lnTo>
                      <a:pt x="544" y="948"/>
                    </a:lnTo>
                    <a:lnTo>
                      <a:pt x="539" y="948"/>
                    </a:lnTo>
                    <a:lnTo>
                      <a:pt x="531" y="948"/>
                    </a:lnTo>
                    <a:lnTo>
                      <a:pt x="525" y="948"/>
                    </a:lnTo>
                    <a:lnTo>
                      <a:pt x="523" y="934"/>
                    </a:lnTo>
                    <a:lnTo>
                      <a:pt x="519" y="923"/>
                    </a:lnTo>
                    <a:lnTo>
                      <a:pt x="519" y="900"/>
                    </a:lnTo>
                    <a:lnTo>
                      <a:pt x="509" y="889"/>
                    </a:lnTo>
                    <a:lnTo>
                      <a:pt x="507" y="875"/>
                    </a:lnTo>
                    <a:lnTo>
                      <a:pt x="502" y="872"/>
                    </a:lnTo>
                    <a:lnTo>
                      <a:pt x="496" y="861"/>
                    </a:lnTo>
                    <a:lnTo>
                      <a:pt x="494" y="850"/>
                    </a:lnTo>
                    <a:lnTo>
                      <a:pt x="490" y="839"/>
                    </a:lnTo>
                    <a:lnTo>
                      <a:pt x="486" y="833"/>
                    </a:lnTo>
                    <a:lnTo>
                      <a:pt x="474" y="833"/>
                    </a:lnTo>
                    <a:lnTo>
                      <a:pt x="466" y="833"/>
                    </a:lnTo>
                    <a:lnTo>
                      <a:pt x="463" y="833"/>
                    </a:lnTo>
                    <a:lnTo>
                      <a:pt x="461" y="847"/>
                    </a:lnTo>
                    <a:lnTo>
                      <a:pt x="461" y="861"/>
                    </a:lnTo>
                    <a:lnTo>
                      <a:pt x="461" y="878"/>
                    </a:lnTo>
                    <a:lnTo>
                      <a:pt x="461" y="895"/>
                    </a:lnTo>
                    <a:lnTo>
                      <a:pt x="461" y="906"/>
                    </a:lnTo>
                    <a:lnTo>
                      <a:pt x="451" y="911"/>
                    </a:lnTo>
                    <a:lnTo>
                      <a:pt x="443" y="923"/>
                    </a:lnTo>
                    <a:lnTo>
                      <a:pt x="431" y="906"/>
                    </a:lnTo>
                    <a:lnTo>
                      <a:pt x="423" y="883"/>
                    </a:lnTo>
                    <a:lnTo>
                      <a:pt x="425" y="858"/>
                    </a:lnTo>
                    <a:lnTo>
                      <a:pt x="414" y="825"/>
                    </a:lnTo>
                    <a:lnTo>
                      <a:pt x="408" y="802"/>
                    </a:lnTo>
                    <a:lnTo>
                      <a:pt x="394" y="788"/>
                    </a:lnTo>
                    <a:lnTo>
                      <a:pt x="379" y="774"/>
                    </a:lnTo>
                    <a:lnTo>
                      <a:pt x="371" y="755"/>
                    </a:lnTo>
                    <a:lnTo>
                      <a:pt x="365" y="740"/>
                    </a:lnTo>
                    <a:lnTo>
                      <a:pt x="351" y="738"/>
                    </a:lnTo>
                    <a:lnTo>
                      <a:pt x="347" y="729"/>
                    </a:lnTo>
                    <a:lnTo>
                      <a:pt x="338" y="729"/>
                    </a:lnTo>
                    <a:lnTo>
                      <a:pt x="330" y="743"/>
                    </a:lnTo>
                    <a:lnTo>
                      <a:pt x="322" y="755"/>
                    </a:lnTo>
                    <a:lnTo>
                      <a:pt x="340" y="769"/>
                    </a:lnTo>
                    <a:lnTo>
                      <a:pt x="349" y="788"/>
                    </a:lnTo>
                    <a:lnTo>
                      <a:pt x="367" y="813"/>
                    </a:lnTo>
                    <a:lnTo>
                      <a:pt x="375" y="825"/>
                    </a:lnTo>
                    <a:lnTo>
                      <a:pt x="388" y="833"/>
                    </a:lnTo>
                    <a:lnTo>
                      <a:pt x="398" y="850"/>
                    </a:lnTo>
                    <a:lnTo>
                      <a:pt x="386" y="869"/>
                    </a:lnTo>
                    <a:lnTo>
                      <a:pt x="384" y="861"/>
                    </a:lnTo>
                    <a:lnTo>
                      <a:pt x="384" y="850"/>
                    </a:lnTo>
                    <a:lnTo>
                      <a:pt x="379" y="875"/>
                    </a:lnTo>
                    <a:lnTo>
                      <a:pt x="377" y="897"/>
                    </a:lnTo>
                    <a:lnTo>
                      <a:pt x="365" y="903"/>
                    </a:lnTo>
                    <a:lnTo>
                      <a:pt x="369" y="875"/>
                    </a:lnTo>
                    <a:lnTo>
                      <a:pt x="367" y="861"/>
                    </a:lnTo>
                    <a:lnTo>
                      <a:pt x="353" y="853"/>
                    </a:lnTo>
                    <a:lnTo>
                      <a:pt x="347" y="847"/>
                    </a:lnTo>
                    <a:lnTo>
                      <a:pt x="342" y="836"/>
                    </a:lnTo>
                    <a:lnTo>
                      <a:pt x="330" y="830"/>
                    </a:lnTo>
                    <a:lnTo>
                      <a:pt x="322" y="822"/>
                    </a:lnTo>
                    <a:lnTo>
                      <a:pt x="314" y="805"/>
                    </a:lnTo>
                    <a:lnTo>
                      <a:pt x="304" y="797"/>
                    </a:lnTo>
                    <a:lnTo>
                      <a:pt x="299" y="780"/>
                    </a:lnTo>
                    <a:lnTo>
                      <a:pt x="297" y="766"/>
                    </a:lnTo>
                    <a:lnTo>
                      <a:pt x="289" y="760"/>
                    </a:lnTo>
                    <a:lnTo>
                      <a:pt x="281" y="752"/>
                    </a:lnTo>
                    <a:lnTo>
                      <a:pt x="265" y="752"/>
                    </a:lnTo>
                    <a:lnTo>
                      <a:pt x="252" y="755"/>
                    </a:lnTo>
                    <a:lnTo>
                      <a:pt x="236" y="752"/>
                    </a:lnTo>
                    <a:lnTo>
                      <a:pt x="209" y="755"/>
                    </a:lnTo>
                    <a:lnTo>
                      <a:pt x="189" y="757"/>
                    </a:lnTo>
                    <a:lnTo>
                      <a:pt x="183" y="763"/>
                    </a:lnTo>
                    <a:lnTo>
                      <a:pt x="181" y="780"/>
                    </a:lnTo>
                    <a:lnTo>
                      <a:pt x="181" y="799"/>
                    </a:lnTo>
                    <a:lnTo>
                      <a:pt x="170" y="819"/>
                    </a:lnTo>
                    <a:lnTo>
                      <a:pt x="162" y="827"/>
                    </a:lnTo>
                    <a:lnTo>
                      <a:pt x="158" y="833"/>
                    </a:lnTo>
                    <a:lnTo>
                      <a:pt x="152" y="847"/>
                    </a:lnTo>
                    <a:lnTo>
                      <a:pt x="148" y="858"/>
                    </a:lnTo>
                    <a:lnTo>
                      <a:pt x="154" y="867"/>
                    </a:lnTo>
                    <a:lnTo>
                      <a:pt x="154" y="883"/>
                    </a:lnTo>
                    <a:lnTo>
                      <a:pt x="152" y="892"/>
                    </a:lnTo>
                    <a:lnTo>
                      <a:pt x="148" y="903"/>
                    </a:lnTo>
                    <a:lnTo>
                      <a:pt x="139" y="923"/>
                    </a:lnTo>
                    <a:lnTo>
                      <a:pt x="133" y="914"/>
                    </a:lnTo>
                    <a:lnTo>
                      <a:pt x="127" y="920"/>
                    </a:lnTo>
                    <a:lnTo>
                      <a:pt x="119" y="928"/>
                    </a:lnTo>
                    <a:lnTo>
                      <a:pt x="107" y="931"/>
                    </a:lnTo>
                    <a:lnTo>
                      <a:pt x="96" y="945"/>
                    </a:lnTo>
                    <a:lnTo>
                      <a:pt x="84" y="948"/>
                    </a:lnTo>
                    <a:lnTo>
                      <a:pt x="72" y="948"/>
                    </a:lnTo>
                    <a:lnTo>
                      <a:pt x="60" y="948"/>
                    </a:lnTo>
                    <a:lnTo>
                      <a:pt x="35" y="956"/>
                    </a:lnTo>
                    <a:lnTo>
                      <a:pt x="23" y="956"/>
                    </a:lnTo>
                    <a:lnTo>
                      <a:pt x="18" y="937"/>
                    </a:lnTo>
                    <a:lnTo>
                      <a:pt x="12" y="911"/>
                    </a:lnTo>
                    <a:lnTo>
                      <a:pt x="8" y="889"/>
                    </a:lnTo>
                    <a:lnTo>
                      <a:pt x="6" y="867"/>
                    </a:lnTo>
                    <a:lnTo>
                      <a:pt x="6" y="839"/>
                    </a:lnTo>
                    <a:lnTo>
                      <a:pt x="0" y="80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4" name="Group 13"/>
            <p:cNvGrpSpPr>
              <a:grpSpLocks/>
            </p:cNvGrpSpPr>
            <p:nvPr/>
          </p:nvGrpSpPr>
          <p:grpSpPr bwMode="auto">
            <a:xfrm>
              <a:off x="11363300" y="3382477"/>
              <a:ext cx="461583" cy="680413"/>
              <a:chOff x="5159" y="2570"/>
              <a:chExt cx="499" cy="1128"/>
            </a:xfrm>
            <a:solidFill>
              <a:schemeClr val="bg1"/>
            </a:solidFill>
          </p:grpSpPr>
          <p:grpSp>
            <p:nvGrpSpPr>
              <p:cNvPr id="136" name="Group 18"/>
              <p:cNvGrpSpPr>
                <a:grpSpLocks/>
              </p:cNvGrpSpPr>
              <p:nvPr/>
            </p:nvGrpSpPr>
            <p:grpSpPr bwMode="auto">
              <a:xfrm>
                <a:off x="5159" y="3361"/>
                <a:ext cx="499" cy="337"/>
                <a:chOff x="5159" y="3361"/>
                <a:chExt cx="499" cy="337"/>
              </a:xfrm>
              <a:grpFill/>
            </p:grpSpPr>
            <p:sp>
              <p:nvSpPr>
                <p:cNvPr id="138" name="Freeform 15"/>
                <p:cNvSpPr>
                  <a:spLocks/>
                </p:cNvSpPr>
                <p:nvPr/>
              </p:nvSpPr>
              <p:spPr bwMode="auto">
                <a:xfrm>
                  <a:off x="5571" y="3361"/>
                  <a:ext cx="87" cy="207"/>
                </a:xfrm>
                <a:custGeom>
                  <a:avLst/>
                  <a:gdLst>
                    <a:gd name="T0" fmla="*/ 28 w 87"/>
                    <a:gd name="T1" fmla="*/ 3 h 207"/>
                    <a:gd name="T2" fmla="*/ 37 w 87"/>
                    <a:gd name="T3" fmla="*/ 0 h 207"/>
                    <a:gd name="T4" fmla="*/ 52 w 87"/>
                    <a:gd name="T5" fmla="*/ 23 h 207"/>
                    <a:gd name="T6" fmla="*/ 49 w 87"/>
                    <a:gd name="T7" fmla="*/ 89 h 207"/>
                    <a:gd name="T8" fmla="*/ 60 w 87"/>
                    <a:gd name="T9" fmla="*/ 89 h 207"/>
                    <a:gd name="T10" fmla="*/ 62 w 87"/>
                    <a:gd name="T11" fmla="*/ 98 h 207"/>
                    <a:gd name="T12" fmla="*/ 67 w 87"/>
                    <a:gd name="T13" fmla="*/ 112 h 207"/>
                    <a:gd name="T14" fmla="*/ 69 w 87"/>
                    <a:gd name="T15" fmla="*/ 121 h 207"/>
                    <a:gd name="T16" fmla="*/ 77 w 87"/>
                    <a:gd name="T17" fmla="*/ 118 h 207"/>
                    <a:gd name="T18" fmla="*/ 84 w 87"/>
                    <a:gd name="T19" fmla="*/ 104 h 207"/>
                    <a:gd name="T20" fmla="*/ 86 w 87"/>
                    <a:gd name="T21" fmla="*/ 112 h 207"/>
                    <a:gd name="T22" fmla="*/ 82 w 87"/>
                    <a:gd name="T23" fmla="*/ 124 h 207"/>
                    <a:gd name="T24" fmla="*/ 77 w 87"/>
                    <a:gd name="T25" fmla="*/ 132 h 207"/>
                    <a:gd name="T26" fmla="*/ 75 w 87"/>
                    <a:gd name="T27" fmla="*/ 149 h 207"/>
                    <a:gd name="T28" fmla="*/ 65 w 87"/>
                    <a:gd name="T29" fmla="*/ 157 h 207"/>
                    <a:gd name="T30" fmla="*/ 58 w 87"/>
                    <a:gd name="T31" fmla="*/ 160 h 207"/>
                    <a:gd name="T32" fmla="*/ 49 w 87"/>
                    <a:gd name="T33" fmla="*/ 169 h 207"/>
                    <a:gd name="T34" fmla="*/ 47 w 87"/>
                    <a:gd name="T35" fmla="*/ 177 h 207"/>
                    <a:gd name="T36" fmla="*/ 49 w 87"/>
                    <a:gd name="T37" fmla="*/ 186 h 207"/>
                    <a:gd name="T38" fmla="*/ 52 w 87"/>
                    <a:gd name="T39" fmla="*/ 195 h 207"/>
                    <a:gd name="T40" fmla="*/ 41 w 87"/>
                    <a:gd name="T41" fmla="*/ 200 h 207"/>
                    <a:gd name="T42" fmla="*/ 34 w 87"/>
                    <a:gd name="T43" fmla="*/ 203 h 207"/>
                    <a:gd name="T44" fmla="*/ 28 w 87"/>
                    <a:gd name="T45" fmla="*/ 206 h 207"/>
                    <a:gd name="T46" fmla="*/ 24 w 87"/>
                    <a:gd name="T47" fmla="*/ 203 h 207"/>
                    <a:gd name="T48" fmla="*/ 13 w 87"/>
                    <a:gd name="T49" fmla="*/ 200 h 207"/>
                    <a:gd name="T50" fmla="*/ 9 w 87"/>
                    <a:gd name="T51" fmla="*/ 195 h 207"/>
                    <a:gd name="T52" fmla="*/ 13 w 87"/>
                    <a:gd name="T53" fmla="*/ 189 h 207"/>
                    <a:gd name="T54" fmla="*/ 22 w 87"/>
                    <a:gd name="T55" fmla="*/ 186 h 207"/>
                    <a:gd name="T56" fmla="*/ 28 w 87"/>
                    <a:gd name="T57" fmla="*/ 172 h 207"/>
                    <a:gd name="T58" fmla="*/ 28 w 87"/>
                    <a:gd name="T59" fmla="*/ 166 h 207"/>
                    <a:gd name="T60" fmla="*/ 22 w 87"/>
                    <a:gd name="T61" fmla="*/ 160 h 207"/>
                    <a:gd name="T62" fmla="*/ 13 w 87"/>
                    <a:gd name="T63" fmla="*/ 151 h 207"/>
                    <a:gd name="T64" fmla="*/ 6 w 87"/>
                    <a:gd name="T65" fmla="*/ 151 h 207"/>
                    <a:gd name="T66" fmla="*/ 2 w 87"/>
                    <a:gd name="T67" fmla="*/ 149 h 207"/>
                    <a:gd name="T68" fmla="*/ 0 w 87"/>
                    <a:gd name="T69" fmla="*/ 141 h 207"/>
                    <a:gd name="T70" fmla="*/ 2 w 87"/>
                    <a:gd name="T71" fmla="*/ 135 h 207"/>
                    <a:gd name="T72" fmla="*/ 6 w 87"/>
                    <a:gd name="T73" fmla="*/ 135 h 207"/>
                    <a:gd name="T74" fmla="*/ 13 w 87"/>
                    <a:gd name="T75" fmla="*/ 132 h 207"/>
                    <a:gd name="T76" fmla="*/ 22 w 87"/>
                    <a:gd name="T77" fmla="*/ 124 h 207"/>
                    <a:gd name="T78" fmla="*/ 26 w 87"/>
                    <a:gd name="T79" fmla="*/ 121 h 207"/>
                    <a:gd name="T80" fmla="*/ 30 w 87"/>
                    <a:gd name="T81" fmla="*/ 89 h 207"/>
                    <a:gd name="T82" fmla="*/ 26 w 87"/>
                    <a:gd name="T83" fmla="*/ 81 h 207"/>
                    <a:gd name="T84" fmla="*/ 19 w 87"/>
                    <a:gd name="T85" fmla="*/ 75 h 207"/>
                    <a:gd name="T86" fmla="*/ 17 w 87"/>
                    <a:gd name="T87" fmla="*/ 58 h 207"/>
                    <a:gd name="T88" fmla="*/ 19 w 87"/>
                    <a:gd name="T89" fmla="*/ 40 h 207"/>
                    <a:gd name="T90" fmla="*/ 22 w 87"/>
                    <a:gd name="T91" fmla="*/ 29 h 207"/>
                    <a:gd name="T92" fmla="*/ 28 w 87"/>
                    <a:gd name="T93" fmla="*/ 3 h 207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87"/>
                    <a:gd name="T142" fmla="*/ 0 h 207"/>
                    <a:gd name="T143" fmla="*/ 87 w 87"/>
                    <a:gd name="T144" fmla="*/ 207 h 207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87" h="207">
                      <a:moveTo>
                        <a:pt x="28" y="3"/>
                      </a:moveTo>
                      <a:lnTo>
                        <a:pt x="37" y="0"/>
                      </a:lnTo>
                      <a:lnTo>
                        <a:pt x="52" y="23"/>
                      </a:lnTo>
                      <a:lnTo>
                        <a:pt x="49" y="89"/>
                      </a:lnTo>
                      <a:lnTo>
                        <a:pt x="60" y="89"/>
                      </a:lnTo>
                      <a:lnTo>
                        <a:pt x="62" y="98"/>
                      </a:lnTo>
                      <a:lnTo>
                        <a:pt x="67" y="112"/>
                      </a:lnTo>
                      <a:lnTo>
                        <a:pt x="69" y="121"/>
                      </a:lnTo>
                      <a:lnTo>
                        <a:pt x="77" y="118"/>
                      </a:lnTo>
                      <a:lnTo>
                        <a:pt x="84" y="104"/>
                      </a:lnTo>
                      <a:lnTo>
                        <a:pt x="86" y="112"/>
                      </a:lnTo>
                      <a:lnTo>
                        <a:pt x="82" y="124"/>
                      </a:lnTo>
                      <a:lnTo>
                        <a:pt x="77" y="132"/>
                      </a:lnTo>
                      <a:lnTo>
                        <a:pt x="75" y="149"/>
                      </a:lnTo>
                      <a:lnTo>
                        <a:pt x="65" y="157"/>
                      </a:lnTo>
                      <a:lnTo>
                        <a:pt x="58" y="160"/>
                      </a:lnTo>
                      <a:lnTo>
                        <a:pt x="49" y="169"/>
                      </a:lnTo>
                      <a:lnTo>
                        <a:pt x="47" y="177"/>
                      </a:lnTo>
                      <a:lnTo>
                        <a:pt x="49" y="186"/>
                      </a:lnTo>
                      <a:lnTo>
                        <a:pt x="52" y="195"/>
                      </a:lnTo>
                      <a:lnTo>
                        <a:pt x="41" y="200"/>
                      </a:lnTo>
                      <a:lnTo>
                        <a:pt x="34" y="203"/>
                      </a:lnTo>
                      <a:lnTo>
                        <a:pt x="28" y="206"/>
                      </a:lnTo>
                      <a:lnTo>
                        <a:pt x="24" y="203"/>
                      </a:lnTo>
                      <a:lnTo>
                        <a:pt x="13" y="200"/>
                      </a:lnTo>
                      <a:lnTo>
                        <a:pt x="9" y="195"/>
                      </a:lnTo>
                      <a:lnTo>
                        <a:pt x="13" y="189"/>
                      </a:lnTo>
                      <a:lnTo>
                        <a:pt x="22" y="186"/>
                      </a:lnTo>
                      <a:lnTo>
                        <a:pt x="28" y="172"/>
                      </a:lnTo>
                      <a:lnTo>
                        <a:pt x="28" y="166"/>
                      </a:lnTo>
                      <a:lnTo>
                        <a:pt x="22" y="160"/>
                      </a:lnTo>
                      <a:lnTo>
                        <a:pt x="13" y="151"/>
                      </a:lnTo>
                      <a:lnTo>
                        <a:pt x="6" y="151"/>
                      </a:lnTo>
                      <a:lnTo>
                        <a:pt x="2" y="149"/>
                      </a:lnTo>
                      <a:lnTo>
                        <a:pt x="0" y="141"/>
                      </a:lnTo>
                      <a:lnTo>
                        <a:pt x="2" y="135"/>
                      </a:lnTo>
                      <a:lnTo>
                        <a:pt x="6" y="135"/>
                      </a:lnTo>
                      <a:lnTo>
                        <a:pt x="13" y="132"/>
                      </a:lnTo>
                      <a:lnTo>
                        <a:pt x="22" y="124"/>
                      </a:lnTo>
                      <a:lnTo>
                        <a:pt x="26" y="121"/>
                      </a:lnTo>
                      <a:lnTo>
                        <a:pt x="30" y="89"/>
                      </a:lnTo>
                      <a:lnTo>
                        <a:pt x="26" y="81"/>
                      </a:lnTo>
                      <a:lnTo>
                        <a:pt x="19" y="75"/>
                      </a:lnTo>
                      <a:lnTo>
                        <a:pt x="17" y="58"/>
                      </a:lnTo>
                      <a:lnTo>
                        <a:pt x="19" y="40"/>
                      </a:lnTo>
                      <a:lnTo>
                        <a:pt x="22" y="29"/>
                      </a:lnTo>
                      <a:lnTo>
                        <a:pt x="28" y="3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9" name="Freeform 16"/>
                <p:cNvSpPr>
                  <a:spLocks/>
                </p:cNvSpPr>
                <p:nvPr/>
              </p:nvSpPr>
              <p:spPr bwMode="auto">
                <a:xfrm>
                  <a:off x="5420" y="3520"/>
                  <a:ext cx="154" cy="178"/>
                </a:xfrm>
                <a:custGeom>
                  <a:avLst/>
                  <a:gdLst>
                    <a:gd name="T0" fmla="*/ 108 w 154"/>
                    <a:gd name="T1" fmla="*/ 0 h 178"/>
                    <a:gd name="T2" fmla="*/ 126 w 154"/>
                    <a:gd name="T3" fmla="*/ 0 h 178"/>
                    <a:gd name="T4" fmla="*/ 153 w 154"/>
                    <a:gd name="T5" fmla="*/ 46 h 178"/>
                    <a:gd name="T6" fmla="*/ 124 w 154"/>
                    <a:gd name="T7" fmla="*/ 87 h 178"/>
                    <a:gd name="T8" fmla="*/ 124 w 154"/>
                    <a:gd name="T9" fmla="*/ 104 h 178"/>
                    <a:gd name="T10" fmla="*/ 118 w 154"/>
                    <a:gd name="T11" fmla="*/ 110 h 178"/>
                    <a:gd name="T12" fmla="*/ 101 w 154"/>
                    <a:gd name="T13" fmla="*/ 110 h 178"/>
                    <a:gd name="T14" fmla="*/ 81 w 154"/>
                    <a:gd name="T15" fmla="*/ 133 h 178"/>
                    <a:gd name="T16" fmla="*/ 62 w 154"/>
                    <a:gd name="T17" fmla="*/ 157 h 178"/>
                    <a:gd name="T18" fmla="*/ 50 w 154"/>
                    <a:gd name="T19" fmla="*/ 177 h 178"/>
                    <a:gd name="T20" fmla="*/ 50 w 154"/>
                    <a:gd name="T21" fmla="*/ 160 h 178"/>
                    <a:gd name="T22" fmla="*/ 27 w 154"/>
                    <a:gd name="T23" fmla="*/ 162 h 178"/>
                    <a:gd name="T24" fmla="*/ 17 w 154"/>
                    <a:gd name="T25" fmla="*/ 162 h 178"/>
                    <a:gd name="T26" fmla="*/ 0 w 154"/>
                    <a:gd name="T27" fmla="*/ 162 h 178"/>
                    <a:gd name="T28" fmla="*/ 23 w 154"/>
                    <a:gd name="T29" fmla="*/ 133 h 178"/>
                    <a:gd name="T30" fmla="*/ 31 w 154"/>
                    <a:gd name="T31" fmla="*/ 119 h 178"/>
                    <a:gd name="T32" fmla="*/ 39 w 154"/>
                    <a:gd name="T33" fmla="*/ 119 h 178"/>
                    <a:gd name="T34" fmla="*/ 56 w 154"/>
                    <a:gd name="T35" fmla="*/ 96 h 178"/>
                    <a:gd name="T36" fmla="*/ 62 w 154"/>
                    <a:gd name="T37" fmla="*/ 96 h 178"/>
                    <a:gd name="T38" fmla="*/ 62 w 154"/>
                    <a:gd name="T39" fmla="*/ 93 h 178"/>
                    <a:gd name="T40" fmla="*/ 70 w 154"/>
                    <a:gd name="T41" fmla="*/ 84 h 178"/>
                    <a:gd name="T42" fmla="*/ 81 w 154"/>
                    <a:gd name="T43" fmla="*/ 84 h 178"/>
                    <a:gd name="T44" fmla="*/ 77 w 154"/>
                    <a:gd name="T45" fmla="*/ 58 h 178"/>
                    <a:gd name="T46" fmla="*/ 79 w 154"/>
                    <a:gd name="T47" fmla="*/ 58 h 178"/>
                    <a:gd name="T48" fmla="*/ 89 w 154"/>
                    <a:gd name="T49" fmla="*/ 44 h 178"/>
                    <a:gd name="T50" fmla="*/ 93 w 154"/>
                    <a:gd name="T51" fmla="*/ 55 h 178"/>
                    <a:gd name="T52" fmla="*/ 110 w 154"/>
                    <a:gd name="T53" fmla="*/ 35 h 178"/>
                    <a:gd name="T54" fmla="*/ 108 w 154"/>
                    <a:gd name="T55" fmla="*/ 0 h 178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54"/>
                    <a:gd name="T85" fmla="*/ 0 h 178"/>
                    <a:gd name="T86" fmla="*/ 154 w 154"/>
                    <a:gd name="T87" fmla="*/ 178 h 178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54" h="178">
                      <a:moveTo>
                        <a:pt x="108" y="0"/>
                      </a:moveTo>
                      <a:lnTo>
                        <a:pt x="126" y="0"/>
                      </a:lnTo>
                      <a:lnTo>
                        <a:pt x="153" y="46"/>
                      </a:lnTo>
                      <a:lnTo>
                        <a:pt x="124" y="87"/>
                      </a:lnTo>
                      <a:lnTo>
                        <a:pt x="124" y="104"/>
                      </a:lnTo>
                      <a:lnTo>
                        <a:pt x="118" y="110"/>
                      </a:lnTo>
                      <a:lnTo>
                        <a:pt x="101" y="110"/>
                      </a:lnTo>
                      <a:lnTo>
                        <a:pt x="81" y="133"/>
                      </a:lnTo>
                      <a:lnTo>
                        <a:pt x="62" y="157"/>
                      </a:lnTo>
                      <a:lnTo>
                        <a:pt x="50" y="177"/>
                      </a:lnTo>
                      <a:lnTo>
                        <a:pt x="50" y="160"/>
                      </a:lnTo>
                      <a:lnTo>
                        <a:pt x="27" y="162"/>
                      </a:lnTo>
                      <a:lnTo>
                        <a:pt x="17" y="162"/>
                      </a:lnTo>
                      <a:lnTo>
                        <a:pt x="0" y="162"/>
                      </a:lnTo>
                      <a:lnTo>
                        <a:pt x="23" y="133"/>
                      </a:lnTo>
                      <a:lnTo>
                        <a:pt x="31" y="119"/>
                      </a:lnTo>
                      <a:lnTo>
                        <a:pt x="39" y="119"/>
                      </a:lnTo>
                      <a:lnTo>
                        <a:pt x="56" y="96"/>
                      </a:lnTo>
                      <a:lnTo>
                        <a:pt x="62" y="96"/>
                      </a:lnTo>
                      <a:lnTo>
                        <a:pt x="62" y="93"/>
                      </a:lnTo>
                      <a:lnTo>
                        <a:pt x="70" y="84"/>
                      </a:lnTo>
                      <a:lnTo>
                        <a:pt x="81" y="84"/>
                      </a:lnTo>
                      <a:lnTo>
                        <a:pt x="77" y="58"/>
                      </a:lnTo>
                      <a:lnTo>
                        <a:pt x="79" y="58"/>
                      </a:lnTo>
                      <a:lnTo>
                        <a:pt x="89" y="44"/>
                      </a:lnTo>
                      <a:lnTo>
                        <a:pt x="93" y="55"/>
                      </a:lnTo>
                      <a:lnTo>
                        <a:pt x="110" y="35"/>
                      </a:lnTo>
                      <a:lnTo>
                        <a:pt x="108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0" name="Freeform 17"/>
                <p:cNvSpPr>
                  <a:spLocks/>
                </p:cNvSpPr>
                <p:nvPr/>
              </p:nvSpPr>
              <p:spPr bwMode="auto">
                <a:xfrm>
                  <a:off x="5159" y="3530"/>
                  <a:ext cx="64" cy="98"/>
                </a:xfrm>
                <a:custGeom>
                  <a:avLst/>
                  <a:gdLst>
                    <a:gd name="T0" fmla="*/ 0 w 64"/>
                    <a:gd name="T1" fmla="*/ 0 h 98"/>
                    <a:gd name="T2" fmla="*/ 14 w 64"/>
                    <a:gd name="T3" fmla="*/ 0 h 98"/>
                    <a:gd name="T4" fmla="*/ 29 w 64"/>
                    <a:gd name="T5" fmla="*/ 12 h 98"/>
                    <a:gd name="T6" fmla="*/ 63 w 64"/>
                    <a:gd name="T7" fmla="*/ 12 h 98"/>
                    <a:gd name="T8" fmla="*/ 59 w 64"/>
                    <a:gd name="T9" fmla="*/ 27 h 98"/>
                    <a:gd name="T10" fmla="*/ 63 w 64"/>
                    <a:gd name="T11" fmla="*/ 45 h 98"/>
                    <a:gd name="T12" fmla="*/ 52 w 64"/>
                    <a:gd name="T13" fmla="*/ 45 h 98"/>
                    <a:gd name="T14" fmla="*/ 50 w 64"/>
                    <a:gd name="T15" fmla="*/ 49 h 98"/>
                    <a:gd name="T16" fmla="*/ 43 w 64"/>
                    <a:gd name="T17" fmla="*/ 52 h 98"/>
                    <a:gd name="T18" fmla="*/ 50 w 64"/>
                    <a:gd name="T19" fmla="*/ 97 h 98"/>
                    <a:gd name="T20" fmla="*/ 29 w 64"/>
                    <a:gd name="T21" fmla="*/ 94 h 98"/>
                    <a:gd name="T22" fmla="*/ 11 w 64"/>
                    <a:gd name="T23" fmla="*/ 79 h 98"/>
                    <a:gd name="T24" fmla="*/ 11 w 64"/>
                    <a:gd name="T25" fmla="*/ 49 h 98"/>
                    <a:gd name="T26" fmla="*/ 11 w 64"/>
                    <a:gd name="T27" fmla="*/ 36 h 98"/>
                    <a:gd name="T28" fmla="*/ 0 w 64"/>
                    <a:gd name="T29" fmla="*/ 27 h 98"/>
                    <a:gd name="T30" fmla="*/ 0 w 64"/>
                    <a:gd name="T31" fmla="*/ 0 h 9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4"/>
                    <a:gd name="T49" fmla="*/ 0 h 98"/>
                    <a:gd name="T50" fmla="*/ 64 w 64"/>
                    <a:gd name="T51" fmla="*/ 98 h 9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4" h="98">
                      <a:moveTo>
                        <a:pt x="0" y="0"/>
                      </a:moveTo>
                      <a:lnTo>
                        <a:pt x="14" y="0"/>
                      </a:lnTo>
                      <a:lnTo>
                        <a:pt x="29" y="12"/>
                      </a:lnTo>
                      <a:lnTo>
                        <a:pt x="63" y="12"/>
                      </a:lnTo>
                      <a:lnTo>
                        <a:pt x="59" y="27"/>
                      </a:lnTo>
                      <a:lnTo>
                        <a:pt x="63" y="45"/>
                      </a:lnTo>
                      <a:lnTo>
                        <a:pt x="52" y="45"/>
                      </a:lnTo>
                      <a:lnTo>
                        <a:pt x="50" y="49"/>
                      </a:lnTo>
                      <a:lnTo>
                        <a:pt x="43" y="52"/>
                      </a:lnTo>
                      <a:lnTo>
                        <a:pt x="50" y="97"/>
                      </a:lnTo>
                      <a:lnTo>
                        <a:pt x="29" y="94"/>
                      </a:lnTo>
                      <a:lnTo>
                        <a:pt x="11" y="79"/>
                      </a:lnTo>
                      <a:lnTo>
                        <a:pt x="11" y="49"/>
                      </a:lnTo>
                      <a:lnTo>
                        <a:pt x="11" y="36"/>
                      </a:ln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37" name="Freeform 18"/>
              <p:cNvSpPr>
                <a:spLocks/>
              </p:cNvSpPr>
              <p:nvPr/>
            </p:nvSpPr>
            <p:spPr bwMode="auto">
              <a:xfrm>
                <a:off x="5259" y="2570"/>
                <a:ext cx="97" cy="109"/>
              </a:xfrm>
              <a:custGeom>
                <a:avLst/>
                <a:gdLst>
                  <a:gd name="T0" fmla="*/ 17 w 97"/>
                  <a:gd name="T1" fmla="*/ 40 h 109"/>
                  <a:gd name="T2" fmla="*/ 0 w 97"/>
                  <a:gd name="T3" fmla="*/ 86 h 109"/>
                  <a:gd name="T4" fmla="*/ 6 w 97"/>
                  <a:gd name="T5" fmla="*/ 105 h 109"/>
                  <a:gd name="T6" fmla="*/ 34 w 97"/>
                  <a:gd name="T7" fmla="*/ 108 h 109"/>
                  <a:gd name="T8" fmla="*/ 58 w 97"/>
                  <a:gd name="T9" fmla="*/ 108 h 109"/>
                  <a:gd name="T10" fmla="*/ 66 w 97"/>
                  <a:gd name="T11" fmla="*/ 89 h 109"/>
                  <a:gd name="T12" fmla="*/ 70 w 97"/>
                  <a:gd name="T13" fmla="*/ 71 h 109"/>
                  <a:gd name="T14" fmla="*/ 96 w 97"/>
                  <a:gd name="T15" fmla="*/ 71 h 109"/>
                  <a:gd name="T16" fmla="*/ 92 w 97"/>
                  <a:gd name="T17" fmla="*/ 43 h 109"/>
                  <a:gd name="T18" fmla="*/ 92 w 97"/>
                  <a:gd name="T19" fmla="*/ 15 h 109"/>
                  <a:gd name="T20" fmla="*/ 66 w 97"/>
                  <a:gd name="T21" fmla="*/ 0 h 109"/>
                  <a:gd name="T22" fmla="*/ 64 w 97"/>
                  <a:gd name="T23" fmla="*/ 31 h 109"/>
                  <a:gd name="T24" fmla="*/ 79 w 97"/>
                  <a:gd name="T25" fmla="*/ 49 h 109"/>
                  <a:gd name="T26" fmla="*/ 55 w 97"/>
                  <a:gd name="T27" fmla="*/ 49 h 109"/>
                  <a:gd name="T28" fmla="*/ 47 w 97"/>
                  <a:gd name="T29" fmla="*/ 62 h 109"/>
                  <a:gd name="T30" fmla="*/ 17 w 97"/>
                  <a:gd name="T31" fmla="*/ 40 h 10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7"/>
                  <a:gd name="T49" fmla="*/ 0 h 109"/>
                  <a:gd name="T50" fmla="*/ 97 w 97"/>
                  <a:gd name="T51" fmla="*/ 109 h 10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7" h="109">
                    <a:moveTo>
                      <a:pt x="17" y="40"/>
                    </a:moveTo>
                    <a:lnTo>
                      <a:pt x="0" y="86"/>
                    </a:lnTo>
                    <a:lnTo>
                      <a:pt x="6" y="105"/>
                    </a:lnTo>
                    <a:lnTo>
                      <a:pt x="34" y="108"/>
                    </a:lnTo>
                    <a:lnTo>
                      <a:pt x="58" y="108"/>
                    </a:lnTo>
                    <a:lnTo>
                      <a:pt x="66" y="89"/>
                    </a:lnTo>
                    <a:lnTo>
                      <a:pt x="70" y="71"/>
                    </a:lnTo>
                    <a:lnTo>
                      <a:pt x="96" y="71"/>
                    </a:lnTo>
                    <a:lnTo>
                      <a:pt x="92" y="43"/>
                    </a:lnTo>
                    <a:lnTo>
                      <a:pt x="92" y="15"/>
                    </a:lnTo>
                    <a:lnTo>
                      <a:pt x="66" y="0"/>
                    </a:lnTo>
                    <a:lnTo>
                      <a:pt x="64" y="31"/>
                    </a:lnTo>
                    <a:lnTo>
                      <a:pt x="79" y="49"/>
                    </a:lnTo>
                    <a:lnTo>
                      <a:pt x="55" y="49"/>
                    </a:lnTo>
                    <a:lnTo>
                      <a:pt x="47" y="62"/>
                    </a:lnTo>
                    <a:lnTo>
                      <a:pt x="17" y="4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5" name="Group 19"/>
            <p:cNvGrpSpPr>
              <a:grpSpLocks/>
            </p:cNvGrpSpPr>
            <p:nvPr/>
          </p:nvGrpSpPr>
          <p:grpSpPr bwMode="auto">
            <a:xfrm>
              <a:off x="10556533" y="2496949"/>
              <a:ext cx="966314" cy="1445701"/>
              <a:chOff x="4287" y="1102"/>
              <a:chExt cx="1044" cy="2397"/>
            </a:xfrm>
            <a:solidFill>
              <a:schemeClr val="bg1"/>
            </a:solidFill>
          </p:grpSpPr>
          <p:grpSp>
            <p:nvGrpSpPr>
              <p:cNvPr id="123" name="Group 24"/>
              <p:cNvGrpSpPr>
                <a:grpSpLocks/>
              </p:cNvGrpSpPr>
              <p:nvPr/>
            </p:nvGrpSpPr>
            <p:grpSpPr bwMode="auto">
              <a:xfrm>
                <a:off x="4454" y="1346"/>
                <a:ext cx="239" cy="725"/>
                <a:chOff x="4454" y="1346"/>
                <a:chExt cx="239" cy="725"/>
              </a:xfrm>
              <a:grpFill/>
            </p:grpSpPr>
            <p:sp>
              <p:nvSpPr>
                <p:cNvPr id="133" name="Freeform 21"/>
                <p:cNvSpPr>
                  <a:spLocks/>
                </p:cNvSpPr>
                <p:nvPr/>
              </p:nvSpPr>
              <p:spPr bwMode="auto">
                <a:xfrm>
                  <a:off x="4454" y="1989"/>
                  <a:ext cx="64" cy="82"/>
                </a:xfrm>
                <a:custGeom>
                  <a:avLst/>
                  <a:gdLst>
                    <a:gd name="T0" fmla="*/ 0 w 64"/>
                    <a:gd name="T1" fmla="*/ 62 h 82"/>
                    <a:gd name="T2" fmla="*/ 11 w 64"/>
                    <a:gd name="T3" fmla="*/ 78 h 82"/>
                    <a:gd name="T4" fmla="*/ 25 w 64"/>
                    <a:gd name="T5" fmla="*/ 75 h 82"/>
                    <a:gd name="T6" fmla="*/ 45 w 64"/>
                    <a:gd name="T7" fmla="*/ 81 h 82"/>
                    <a:gd name="T8" fmla="*/ 61 w 64"/>
                    <a:gd name="T9" fmla="*/ 81 h 82"/>
                    <a:gd name="T10" fmla="*/ 63 w 64"/>
                    <a:gd name="T11" fmla="*/ 53 h 82"/>
                    <a:gd name="T12" fmla="*/ 59 w 64"/>
                    <a:gd name="T13" fmla="*/ 34 h 82"/>
                    <a:gd name="T14" fmla="*/ 47 w 64"/>
                    <a:gd name="T15" fmla="*/ 12 h 82"/>
                    <a:gd name="T16" fmla="*/ 36 w 64"/>
                    <a:gd name="T17" fmla="*/ 12 h 82"/>
                    <a:gd name="T18" fmla="*/ 32 w 64"/>
                    <a:gd name="T19" fmla="*/ 0 h 82"/>
                    <a:gd name="T20" fmla="*/ 16 w 64"/>
                    <a:gd name="T21" fmla="*/ 0 h 82"/>
                    <a:gd name="T22" fmla="*/ 16 w 64"/>
                    <a:gd name="T23" fmla="*/ 25 h 82"/>
                    <a:gd name="T24" fmla="*/ 0 w 64"/>
                    <a:gd name="T25" fmla="*/ 62 h 8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82"/>
                    <a:gd name="T41" fmla="*/ 64 w 64"/>
                    <a:gd name="T42" fmla="*/ 82 h 8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82">
                      <a:moveTo>
                        <a:pt x="0" y="62"/>
                      </a:moveTo>
                      <a:lnTo>
                        <a:pt x="11" y="78"/>
                      </a:lnTo>
                      <a:lnTo>
                        <a:pt x="25" y="75"/>
                      </a:lnTo>
                      <a:lnTo>
                        <a:pt x="45" y="81"/>
                      </a:lnTo>
                      <a:lnTo>
                        <a:pt x="61" y="81"/>
                      </a:lnTo>
                      <a:lnTo>
                        <a:pt x="63" y="53"/>
                      </a:lnTo>
                      <a:lnTo>
                        <a:pt x="59" y="34"/>
                      </a:lnTo>
                      <a:lnTo>
                        <a:pt x="47" y="12"/>
                      </a:lnTo>
                      <a:lnTo>
                        <a:pt x="36" y="12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16" y="25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4" name="Freeform 22"/>
                <p:cNvSpPr>
                  <a:spLocks/>
                </p:cNvSpPr>
                <p:nvPr/>
              </p:nvSpPr>
              <p:spPr bwMode="auto">
                <a:xfrm>
                  <a:off x="4601" y="1862"/>
                  <a:ext cx="62" cy="101"/>
                </a:xfrm>
                <a:custGeom>
                  <a:avLst/>
                  <a:gdLst>
                    <a:gd name="T0" fmla="*/ 14 w 62"/>
                    <a:gd name="T1" fmla="*/ 0 h 101"/>
                    <a:gd name="T2" fmla="*/ 41 w 62"/>
                    <a:gd name="T3" fmla="*/ 3 h 101"/>
                    <a:gd name="T4" fmla="*/ 50 w 62"/>
                    <a:gd name="T5" fmla="*/ 30 h 101"/>
                    <a:gd name="T6" fmla="*/ 61 w 62"/>
                    <a:gd name="T7" fmla="*/ 45 h 101"/>
                    <a:gd name="T8" fmla="*/ 52 w 62"/>
                    <a:gd name="T9" fmla="*/ 57 h 101"/>
                    <a:gd name="T10" fmla="*/ 61 w 62"/>
                    <a:gd name="T11" fmla="*/ 72 h 101"/>
                    <a:gd name="T12" fmla="*/ 56 w 62"/>
                    <a:gd name="T13" fmla="*/ 91 h 101"/>
                    <a:gd name="T14" fmla="*/ 47 w 62"/>
                    <a:gd name="T15" fmla="*/ 100 h 101"/>
                    <a:gd name="T16" fmla="*/ 29 w 62"/>
                    <a:gd name="T17" fmla="*/ 97 h 101"/>
                    <a:gd name="T18" fmla="*/ 18 w 62"/>
                    <a:gd name="T19" fmla="*/ 97 h 101"/>
                    <a:gd name="T20" fmla="*/ 11 w 62"/>
                    <a:gd name="T21" fmla="*/ 85 h 101"/>
                    <a:gd name="T22" fmla="*/ 5 w 62"/>
                    <a:gd name="T23" fmla="*/ 69 h 101"/>
                    <a:gd name="T24" fmla="*/ 5 w 62"/>
                    <a:gd name="T25" fmla="*/ 54 h 101"/>
                    <a:gd name="T26" fmla="*/ 0 w 62"/>
                    <a:gd name="T27" fmla="*/ 33 h 101"/>
                    <a:gd name="T28" fmla="*/ 14 w 62"/>
                    <a:gd name="T29" fmla="*/ 0 h 10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2"/>
                    <a:gd name="T46" fmla="*/ 0 h 101"/>
                    <a:gd name="T47" fmla="*/ 62 w 62"/>
                    <a:gd name="T48" fmla="*/ 101 h 10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2" h="101">
                      <a:moveTo>
                        <a:pt x="14" y="0"/>
                      </a:moveTo>
                      <a:lnTo>
                        <a:pt x="41" y="3"/>
                      </a:lnTo>
                      <a:lnTo>
                        <a:pt x="50" y="30"/>
                      </a:lnTo>
                      <a:lnTo>
                        <a:pt x="61" y="45"/>
                      </a:lnTo>
                      <a:lnTo>
                        <a:pt x="52" y="57"/>
                      </a:lnTo>
                      <a:lnTo>
                        <a:pt x="61" y="72"/>
                      </a:lnTo>
                      <a:lnTo>
                        <a:pt x="56" y="91"/>
                      </a:lnTo>
                      <a:lnTo>
                        <a:pt x="47" y="100"/>
                      </a:lnTo>
                      <a:lnTo>
                        <a:pt x="29" y="97"/>
                      </a:lnTo>
                      <a:lnTo>
                        <a:pt x="18" y="97"/>
                      </a:lnTo>
                      <a:lnTo>
                        <a:pt x="11" y="85"/>
                      </a:lnTo>
                      <a:lnTo>
                        <a:pt x="5" y="69"/>
                      </a:lnTo>
                      <a:lnTo>
                        <a:pt x="5" y="54"/>
                      </a:lnTo>
                      <a:lnTo>
                        <a:pt x="0" y="33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5" name="Freeform 23"/>
                <p:cNvSpPr>
                  <a:spLocks/>
                </p:cNvSpPr>
                <p:nvPr/>
              </p:nvSpPr>
              <p:spPr bwMode="auto">
                <a:xfrm>
                  <a:off x="4591" y="1346"/>
                  <a:ext cx="102" cy="94"/>
                </a:xfrm>
                <a:custGeom>
                  <a:avLst/>
                  <a:gdLst>
                    <a:gd name="T0" fmla="*/ 15 w 102"/>
                    <a:gd name="T1" fmla="*/ 0 h 94"/>
                    <a:gd name="T2" fmla="*/ 28 w 102"/>
                    <a:gd name="T3" fmla="*/ 14 h 94"/>
                    <a:gd name="T4" fmla="*/ 40 w 102"/>
                    <a:gd name="T5" fmla="*/ 11 h 94"/>
                    <a:gd name="T6" fmla="*/ 60 w 102"/>
                    <a:gd name="T7" fmla="*/ 14 h 94"/>
                    <a:gd name="T8" fmla="*/ 77 w 102"/>
                    <a:gd name="T9" fmla="*/ 14 h 94"/>
                    <a:gd name="T10" fmla="*/ 84 w 102"/>
                    <a:gd name="T11" fmla="*/ 23 h 94"/>
                    <a:gd name="T12" fmla="*/ 95 w 102"/>
                    <a:gd name="T13" fmla="*/ 44 h 94"/>
                    <a:gd name="T14" fmla="*/ 101 w 102"/>
                    <a:gd name="T15" fmla="*/ 54 h 94"/>
                    <a:gd name="T16" fmla="*/ 79 w 102"/>
                    <a:gd name="T17" fmla="*/ 60 h 94"/>
                    <a:gd name="T18" fmla="*/ 72 w 102"/>
                    <a:gd name="T19" fmla="*/ 66 h 94"/>
                    <a:gd name="T20" fmla="*/ 79 w 102"/>
                    <a:gd name="T21" fmla="*/ 78 h 94"/>
                    <a:gd name="T22" fmla="*/ 79 w 102"/>
                    <a:gd name="T23" fmla="*/ 90 h 94"/>
                    <a:gd name="T24" fmla="*/ 55 w 102"/>
                    <a:gd name="T25" fmla="*/ 78 h 94"/>
                    <a:gd name="T26" fmla="*/ 36 w 102"/>
                    <a:gd name="T27" fmla="*/ 69 h 94"/>
                    <a:gd name="T28" fmla="*/ 28 w 102"/>
                    <a:gd name="T29" fmla="*/ 72 h 94"/>
                    <a:gd name="T30" fmla="*/ 28 w 102"/>
                    <a:gd name="T31" fmla="*/ 90 h 94"/>
                    <a:gd name="T32" fmla="*/ 15 w 102"/>
                    <a:gd name="T33" fmla="*/ 93 h 94"/>
                    <a:gd name="T34" fmla="*/ 9 w 102"/>
                    <a:gd name="T35" fmla="*/ 78 h 94"/>
                    <a:gd name="T36" fmla="*/ 6 w 102"/>
                    <a:gd name="T37" fmla="*/ 60 h 94"/>
                    <a:gd name="T38" fmla="*/ 0 w 102"/>
                    <a:gd name="T39" fmla="*/ 57 h 94"/>
                    <a:gd name="T40" fmla="*/ 6 w 102"/>
                    <a:gd name="T41" fmla="*/ 38 h 94"/>
                    <a:gd name="T42" fmla="*/ 17 w 102"/>
                    <a:gd name="T43" fmla="*/ 32 h 94"/>
                    <a:gd name="T44" fmla="*/ 15 w 102"/>
                    <a:gd name="T45" fmla="*/ 0 h 9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02"/>
                    <a:gd name="T70" fmla="*/ 0 h 94"/>
                    <a:gd name="T71" fmla="*/ 102 w 102"/>
                    <a:gd name="T72" fmla="*/ 94 h 9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02" h="94">
                      <a:moveTo>
                        <a:pt x="15" y="0"/>
                      </a:moveTo>
                      <a:lnTo>
                        <a:pt x="28" y="14"/>
                      </a:lnTo>
                      <a:lnTo>
                        <a:pt x="40" y="11"/>
                      </a:lnTo>
                      <a:lnTo>
                        <a:pt x="60" y="14"/>
                      </a:lnTo>
                      <a:lnTo>
                        <a:pt x="77" y="14"/>
                      </a:lnTo>
                      <a:lnTo>
                        <a:pt x="84" y="23"/>
                      </a:lnTo>
                      <a:lnTo>
                        <a:pt x="95" y="44"/>
                      </a:lnTo>
                      <a:lnTo>
                        <a:pt x="101" y="54"/>
                      </a:lnTo>
                      <a:lnTo>
                        <a:pt x="79" y="60"/>
                      </a:lnTo>
                      <a:lnTo>
                        <a:pt x="72" y="66"/>
                      </a:lnTo>
                      <a:lnTo>
                        <a:pt x="79" y="78"/>
                      </a:lnTo>
                      <a:lnTo>
                        <a:pt x="79" y="90"/>
                      </a:lnTo>
                      <a:lnTo>
                        <a:pt x="55" y="78"/>
                      </a:lnTo>
                      <a:lnTo>
                        <a:pt x="36" y="69"/>
                      </a:lnTo>
                      <a:lnTo>
                        <a:pt x="28" y="72"/>
                      </a:lnTo>
                      <a:lnTo>
                        <a:pt x="28" y="90"/>
                      </a:lnTo>
                      <a:lnTo>
                        <a:pt x="15" y="93"/>
                      </a:lnTo>
                      <a:lnTo>
                        <a:pt x="9" y="78"/>
                      </a:lnTo>
                      <a:lnTo>
                        <a:pt x="6" y="60"/>
                      </a:lnTo>
                      <a:lnTo>
                        <a:pt x="0" y="57"/>
                      </a:lnTo>
                      <a:lnTo>
                        <a:pt x="6" y="38"/>
                      </a:lnTo>
                      <a:lnTo>
                        <a:pt x="17" y="32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14:hiddenLine>
                  </a:ext>
                </a:extLst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124" name="Freeform 24"/>
              <p:cNvSpPr>
                <a:spLocks/>
              </p:cNvSpPr>
              <p:nvPr/>
            </p:nvSpPr>
            <p:spPr bwMode="auto">
              <a:xfrm>
                <a:off x="4670" y="2798"/>
                <a:ext cx="661" cy="701"/>
              </a:xfrm>
              <a:custGeom>
                <a:avLst/>
                <a:gdLst>
                  <a:gd name="T0" fmla="*/ 510 w 661"/>
                  <a:gd name="T1" fmla="*/ 56 h 701"/>
                  <a:gd name="T2" fmla="*/ 536 w 661"/>
                  <a:gd name="T3" fmla="*/ 79 h 701"/>
                  <a:gd name="T4" fmla="*/ 564 w 661"/>
                  <a:gd name="T5" fmla="*/ 182 h 701"/>
                  <a:gd name="T6" fmla="*/ 625 w 661"/>
                  <a:gd name="T7" fmla="*/ 289 h 701"/>
                  <a:gd name="T8" fmla="*/ 660 w 661"/>
                  <a:gd name="T9" fmla="*/ 399 h 701"/>
                  <a:gd name="T10" fmla="*/ 634 w 661"/>
                  <a:gd name="T11" fmla="*/ 500 h 701"/>
                  <a:gd name="T12" fmla="*/ 609 w 661"/>
                  <a:gd name="T13" fmla="*/ 565 h 701"/>
                  <a:gd name="T14" fmla="*/ 593 w 661"/>
                  <a:gd name="T15" fmla="*/ 627 h 701"/>
                  <a:gd name="T16" fmla="*/ 577 w 661"/>
                  <a:gd name="T17" fmla="*/ 663 h 701"/>
                  <a:gd name="T18" fmla="*/ 546 w 661"/>
                  <a:gd name="T19" fmla="*/ 689 h 701"/>
                  <a:gd name="T20" fmla="*/ 495 w 661"/>
                  <a:gd name="T21" fmla="*/ 680 h 701"/>
                  <a:gd name="T22" fmla="*/ 444 w 661"/>
                  <a:gd name="T23" fmla="*/ 663 h 701"/>
                  <a:gd name="T24" fmla="*/ 416 w 661"/>
                  <a:gd name="T25" fmla="*/ 624 h 701"/>
                  <a:gd name="T26" fmla="*/ 408 w 661"/>
                  <a:gd name="T27" fmla="*/ 573 h 701"/>
                  <a:gd name="T28" fmla="*/ 390 w 661"/>
                  <a:gd name="T29" fmla="*/ 551 h 701"/>
                  <a:gd name="T30" fmla="*/ 363 w 661"/>
                  <a:gd name="T31" fmla="*/ 554 h 701"/>
                  <a:gd name="T32" fmla="*/ 337 w 661"/>
                  <a:gd name="T33" fmla="*/ 514 h 701"/>
                  <a:gd name="T34" fmla="*/ 316 w 661"/>
                  <a:gd name="T35" fmla="*/ 509 h 701"/>
                  <a:gd name="T36" fmla="*/ 280 w 661"/>
                  <a:gd name="T37" fmla="*/ 514 h 701"/>
                  <a:gd name="T38" fmla="*/ 251 w 661"/>
                  <a:gd name="T39" fmla="*/ 520 h 701"/>
                  <a:gd name="T40" fmla="*/ 225 w 661"/>
                  <a:gd name="T41" fmla="*/ 542 h 701"/>
                  <a:gd name="T42" fmla="*/ 188 w 661"/>
                  <a:gd name="T43" fmla="*/ 559 h 701"/>
                  <a:gd name="T44" fmla="*/ 150 w 661"/>
                  <a:gd name="T45" fmla="*/ 585 h 701"/>
                  <a:gd name="T46" fmla="*/ 131 w 661"/>
                  <a:gd name="T47" fmla="*/ 596 h 701"/>
                  <a:gd name="T48" fmla="*/ 76 w 661"/>
                  <a:gd name="T49" fmla="*/ 590 h 701"/>
                  <a:gd name="T50" fmla="*/ 64 w 661"/>
                  <a:gd name="T51" fmla="*/ 576 h 701"/>
                  <a:gd name="T52" fmla="*/ 64 w 661"/>
                  <a:gd name="T53" fmla="*/ 500 h 701"/>
                  <a:gd name="T54" fmla="*/ 46 w 661"/>
                  <a:gd name="T55" fmla="*/ 455 h 701"/>
                  <a:gd name="T56" fmla="*/ 29 w 661"/>
                  <a:gd name="T57" fmla="*/ 418 h 701"/>
                  <a:gd name="T58" fmla="*/ 5 w 661"/>
                  <a:gd name="T59" fmla="*/ 289 h 701"/>
                  <a:gd name="T60" fmla="*/ 7 w 661"/>
                  <a:gd name="T61" fmla="*/ 247 h 701"/>
                  <a:gd name="T62" fmla="*/ 54 w 661"/>
                  <a:gd name="T63" fmla="*/ 224 h 701"/>
                  <a:gd name="T64" fmla="*/ 89 w 661"/>
                  <a:gd name="T65" fmla="*/ 219 h 701"/>
                  <a:gd name="T66" fmla="*/ 109 w 661"/>
                  <a:gd name="T67" fmla="*/ 207 h 701"/>
                  <a:gd name="T68" fmla="*/ 121 w 661"/>
                  <a:gd name="T69" fmla="*/ 171 h 701"/>
                  <a:gd name="T70" fmla="*/ 117 w 661"/>
                  <a:gd name="T71" fmla="*/ 152 h 701"/>
                  <a:gd name="T72" fmla="*/ 164 w 661"/>
                  <a:gd name="T73" fmla="*/ 101 h 701"/>
                  <a:gd name="T74" fmla="*/ 202 w 661"/>
                  <a:gd name="T75" fmla="*/ 65 h 701"/>
                  <a:gd name="T76" fmla="*/ 235 w 661"/>
                  <a:gd name="T77" fmla="*/ 90 h 701"/>
                  <a:gd name="T78" fmla="*/ 261 w 661"/>
                  <a:gd name="T79" fmla="*/ 62 h 701"/>
                  <a:gd name="T80" fmla="*/ 286 w 661"/>
                  <a:gd name="T81" fmla="*/ 28 h 701"/>
                  <a:gd name="T82" fmla="*/ 314 w 661"/>
                  <a:gd name="T83" fmla="*/ 8 h 701"/>
                  <a:gd name="T84" fmla="*/ 357 w 661"/>
                  <a:gd name="T85" fmla="*/ 14 h 701"/>
                  <a:gd name="T86" fmla="*/ 373 w 661"/>
                  <a:gd name="T87" fmla="*/ 39 h 701"/>
                  <a:gd name="T88" fmla="*/ 373 w 661"/>
                  <a:gd name="T89" fmla="*/ 70 h 701"/>
                  <a:gd name="T90" fmla="*/ 410 w 661"/>
                  <a:gd name="T91" fmla="*/ 127 h 701"/>
                  <a:gd name="T92" fmla="*/ 442 w 661"/>
                  <a:gd name="T93" fmla="*/ 144 h 701"/>
                  <a:gd name="T94" fmla="*/ 467 w 661"/>
                  <a:gd name="T95" fmla="*/ 90 h 701"/>
                  <a:gd name="T96" fmla="*/ 475 w 661"/>
                  <a:gd name="T97" fmla="*/ 0 h 70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61"/>
                  <a:gd name="T148" fmla="*/ 0 h 701"/>
                  <a:gd name="T149" fmla="*/ 661 w 661"/>
                  <a:gd name="T150" fmla="*/ 701 h 70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61" h="701">
                    <a:moveTo>
                      <a:pt x="475" y="0"/>
                    </a:moveTo>
                    <a:lnTo>
                      <a:pt x="510" y="0"/>
                    </a:lnTo>
                    <a:lnTo>
                      <a:pt x="510" y="56"/>
                    </a:lnTo>
                    <a:lnTo>
                      <a:pt x="524" y="70"/>
                    </a:lnTo>
                    <a:lnTo>
                      <a:pt x="528" y="79"/>
                    </a:lnTo>
                    <a:lnTo>
                      <a:pt x="536" y="79"/>
                    </a:lnTo>
                    <a:lnTo>
                      <a:pt x="540" y="90"/>
                    </a:lnTo>
                    <a:lnTo>
                      <a:pt x="544" y="146"/>
                    </a:lnTo>
                    <a:lnTo>
                      <a:pt x="564" y="182"/>
                    </a:lnTo>
                    <a:lnTo>
                      <a:pt x="593" y="235"/>
                    </a:lnTo>
                    <a:lnTo>
                      <a:pt x="593" y="244"/>
                    </a:lnTo>
                    <a:lnTo>
                      <a:pt x="625" y="289"/>
                    </a:lnTo>
                    <a:lnTo>
                      <a:pt x="625" y="297"/>
                    </a:lnTo>
                    <a:lnTo>
                      <a:pt x="656" y="334"/>
                    </a:lnTo>
                    <a:lnTo>
                      <a:pt x="660" y="399"/>
                    </a:lnTo>
                    <a:lnTo>
                      <a:pt x="656" y="458"/>
                    </a:lnTo>
                    <a:lnTo>
                      <a:pt x="646" y="486"/>
                    </a:lnTo>
                    <a:lnTo>
                      <a:pt x="634" y="500"/>
                    </a:lnTo>
                    <a:lnTo>
                      <a:pt x="630" y="528"/>
                    </a:lnTo>
                    <a:lnTo>
                      <a:pt x="619" y="554"/>
                    </a:lnTo>
                    <a:lnTo>
                      <a:pt x="609" y="565"/>
                    </a:lnTo>
                    <a:lnTo>
                      <a:pt x="611" y="573"/>
                    </a:lnTo>
                    <a:lnTo>
                      <a:pt x="599" y="590"/>
                    </a:lnTo>
                    <a:lnTo>
                      <a:pt x="593" y="627"/>
                    </a:lnTo>
                    <a:lnTo>
                      <a:pt x="591" y="647"/>
                    </a:lnTo>
                    <a:lnTo>
                      <a:pt x="579" y="655"/>
                    </a:lnTo>
                    <a:lnTo>
                      <a:pt x="577" y="663"/>
                    </a:lnTo>
                    <a:lnTo>
                      <a:pt x="570" y="680"/>
                    </a:lnTo>
                    <a:lnTo>
                      <a:pt x="556" y="683"/>
                    </a:lnTo>
                    <a:lnTo>
                      <a:pt x="546" y="689"/>
                    </a:lnTo>
                    <a:lnTo>
                      <a:pt x="532" y="700"/>
                    </a:lnTo>
                    <a:lnTo>
                      <a:pt x="514" y="677"/>
                    </a:lnTo>
                    <a:lnTo>
                      <a:pt x="495" y="680"/>
                    </a:lnTo>
                    <a:lnTo>
                      <a:pt x="489" y="680"/>
                    </a:lnTo>
                    <a:lnTo>
                      <a:pt x="461" y="686"/>
                    </a:lnTo>
                    <a:lnTo>
                      <a:pt x="444" y="663"/>
                    </a:lnTo>
                    <a:lnTo>
                      <a:pt x="432" y="641"/>
                    </a:lnTo>
                    <a:lnTo>
                      <a:pt x="424" y="644"/>
                    </a:lnTo>
                    <a:lnTo>
                      <a:pt x="416" y="624"/>
                    </a:lnTo>
                    <a:lnTo>
                      <a:pt x="412" y="607"/>
                    </a:lnTo>
                    <a:lnTo>
                      <a:pt x="408" y="601"/>
                    </a:lnTo>
                    <a:lnTo>
                      <a:pt x="408" y="573"/>
                    </a:lnTo>
                    <a:lnTo>
                      <a:pt x="410" y="556"/>
                    </a:lnTo>
                    <a:lnTo>
                      <a:pt x="406" y="545"/>
                    </a:lnTo>
                    <a:lnTo>
                      <a:pt x="390" y="551"/>
                    </a:lnTo>
                    <a:lnTo>
                      <a:pt x="383" y="554"/>
                    </a:lnTo>
                    <a:lnTo>
                      <a:pt x="369" y="554"/>
                    </a:lnTo>
                    <a:lnTo>
                      <a:pt x="363" y="554"/>
                    </a:lnTo>
                    <a:lnTo>
                      <a:pt x="357" y="554"/>
                    </a:lnTo>
                    <a:lnTo>
                      <a:pt x="347" y="537"/>
                    </a:lnTo>
                    <a:lnTo>
                      <a:pt x="337" y="514"/>
                    </a:lnTo>
                    <a:lnTo>
                      <a:pt x="335" y="517"/>
                    </a:lnTo>
                    <a:lnTo>
                      <a:pt x="318" y="517"/>
                    </a:lnTo>
                    <a:lnTo>
                      <a:pt x="316" y="509"/>
                    </a:lnTo>
                    <a:lnTo>
                      <a:pt x="306" y="517"/>
                    </a:lnTo>
                    <a:lnTo>
                      <a:pt x="296" y="514"/>
                    </a:lnTo>
                    <a:lnTo>
                      <a:pt x="280" y="514"/>
                    </a:lnTo>
                    <a:lnTo>
                      <a:pt x="270" y="509"/>
                    </a:lnTo>
                    <a:lnTo>
                      <a:pt x="267" y="517"/>
                    </a:lnTo>
                    <a:lnTo>
                      <a:pt x="251" y="520"/>
                    </a:lnTo>
                    <a:lnTo>
                      <a:pt x="247" y="514"/>
                    </a:lnTo>
                    <a:lnTo>
                      <a:pt x="237" y="528"/>
                    </a:lnTo>
                    <a:lnTo>
                      <a:pt x="225" y="542"/>
                    </a:lnTo>
                    <a:lnTo>
                      <a:pt x="217" y="542"/>
                    </a:lnTo>
                    <a:lnTo>
                      <a:pt x="206" y="559"/>
                    </a:lnTo>
                    <a:lnTo>
                      <a:pt x="188" y="559"/>
                    </a:lnTo>
                    <a:lnTo>
                      <a:pt x="174" y="565"/>
                    </a:lnTo>
                    <a:lnTo>
                      <a:pt x="158" y="573"/>
                    </a:lnTo>
                    <a:lnTo>
                      <a:pt x="150" y="585"/>
                    </a:lnTo>
                    <a:lnTo>
                      <a:pt x="145" y="582"/>
                    </a:lnTo>
                    <a:lnTo>
                      <a:pt x="139" y="593"/>
                    </a:lnTo>
                    <a:lnTo>
                      <a:pt x="131" y="596"/>
                    </a:lnTo>
                    <a:lnTo>
                      <a:pt x="121" y="610"/>
                    </a:lnTo>
                    <a:lnTo>
                      <a:pt x="89" y="610"/>
                    </a:lnTo>
                    <a:lnTo>
                      <a:pt x="76" y="590"/>
                    </a:lnTo>
                    <a:lnTo>
                      <a:pt x="74" y="582"/>
                    </a:lnTo>
                    <a:lnTo>
                      <a:pt x="70" y="590"/>
                    </a:lnTo>
                    <a:lnTo>
                      <a:pt x="64" y="576"/>
                    </a:lnTo>
                    <a:lnTo>
                      <a:pt x="66" y="540"/>
                    </a:lnTo>
                    <a:lnTo>
                      <a:pt x="70" y="517"/>
                    </a:lnTo>
                    <a:lnTo>
                      <a:pt x="64" y="500"/>
                    </a:lnTo>
                    <a:lnTo>
                      <a:pt x="58" y="483"/>
                    </a:lnTo>
                    <a:lnTo>
                      <a:pt x="56" y="464"/>
                    </a:lnTo>
                    <a:lnTo>
                      <a:pt x="46" y="455"/>
                    </a:lnTo>
                    <a:lnTo>
                      <a:pt x="44" y="452"/>
                    </a:lnTo>
                    <a:lnTo>
                      <a:pt x="42" y="444"/>
                    </a:lnTo>
                    <a:lnTo>
                      <a:pt x="29" y="418"/>
                    </a:lnTo>
                    <a:lnTo>
                      <a:pt x="11" y="357"/>
                    </a:lnTo>
                    <a:lnTo>
                      <a:pt x="5" y="314"/>
                    </a:lnTo>
                    <a:lnTo>
                      <a:pt x="5" y="289"/>
                    </a:lnTo>
                    <a:lnTo>
                      <a:pt x="0" y="281"/>
                    </a:lnTo>
                    <a:lnTo>
                      <a:pt x="2" y="258"/>
                    </a:lnTo>
                    <a:lnTo>
                      <a:pt x="7" y="247"/>
                    </a:lnTo>
                    <a:lnTo>
                      <a:pt x="29" y="216"/>
                    </a:lnTo>
                    <a:lnTo>
                      <a:pt x="50" y="219"/>
                    </a:lnTo>
                    <a:lnTo>
                      <a:pt x="54" y="224"/>
                    </a:lnTo>
                    <a:lnTo>
                      <a:pt x="82" y="224"/>
                    </a:lnTo>
                    <a:lnTo>
                      <a:pt x="84" y="216"/>
                    </a:lnTo>
                    <a:lnTo>
                      <a:pt x="89" y="219"/>
                    </a:lnTo>
                    <a:lnTo>
                      <a:pt x="97" y="210"/>
                    </a:lnTo>
                    <a:lnTo>
                      <a:pt x="103" y="213"/>
                    </a:lnTo>
                    <a:lnTo>
                      <a:pt x="109" y="207"/>
                    </a:lnTo>
                    <a:lnTo>
                      <a:pt x="107" y="199"/>
                    </a:lnTo>
                    <a:lnTo>
                      <a:pt x="113" y="179"/>
                    </a:lnTo>
                    <a:lnTo>
                      <a:pt x="121" y="171"/>
                    </a:lnTo>
                    <a:lnTo>
                      <a:pt x="117" y="166"/>
                    </a:lnTo>
                    <a:lnTo>
                      <a:pt x="121" y="160"/>
                    </a:lnTo>
                    <a:lnTo>
                      <a:pt x="117" y="152"/>
                    </a:lnTo>
                    <a:lnTo>
                      <a:pt x="129" y="138"/>
                    </a:lnTo>
                    <a:lnTo>
                      <a:pt x="147" y="135"/>
                    </a:lnTo>
                    <a:lnTo>
                      <a:pt x="164" y="101"/>
                    </a:lnTo>
                    <a:lnTo>
                      <a:pt x="186" y="73"/>
                    </a:lnTo>
                    <a:lnTo>
                      <a:pt x="196" y="70"/>
                    </a:lnTo>
                    <a:lnTo>
                      <a:pt x="202" y="65"/>
                    </a:lnTo>
                    <a:lnTo>
                      <a:pt x="211" y="65"/>
                    </a:lnTo>
                    <a:lnTo>
                      <a:pt x="229" y="87"/>
                    </a:lnTo>
                    <a:lnTo>
                      <a:pt x="235" y="90"/>
                    </a:lnTo>
                    <a:lnTo>
                      <a:pt x="241" y="79"/>
                    </a:lnTo>
                    <a:lnTo>
                      <a:pt x="253" y="65"/>
                    </a:lnTo>
                    <a:lnTo>
                      <a:pt x="261" y="62"/>
                    </a:lnTo>
                    <a:lnTo>
                      <a:pt x="269" y="39"/>
                    </a:lnTo>
                    <a:lnTo>
                      <a:pt x="276" y="37"/>
                    </a:lnTo>
                    <a:lnTo>
                      <a:pt x="286" y="28"/>
                    </a:lnTo>
                    <a:lnTo>
                      <a:pt x="296" y="20"/>
                    </a:lnTo>
                    <a:lnTo>
                      <a:pt x="306" y="20"/>
                    </a:lnTo>
                    <a:lnTo>
                      <a:pt x="314" y="8"/>
                    </a:lnTo>
                    <a:lnTo>
                      <a:pt x="326" y="8"/>
                    </a:lnTo>
                    <a:lnTo>
                      <a:pt x="339" y="8"/>
                    </a:lnTo>
                    <a:lnTo>
                      <a:pt x="357" y="14"/>
                    </a:lnTo>
                    <a:lnTo>
                      <a:pt x="369" y="25"/>
                    </a:lnTo>
                    <a:lnTo>
                      <a:pt x="371" y="34"/>
                    </a:lnTo>
                    <a:lnTo>
                      <a:pt x="373" y="39"/>
                    </a:lnTo>
                    <a:lnTo>
                      <a:pt x="375" y="53"/>
                    </a:lnTo>
                    <a:lnTo>
                      <a:pt x="373" y="59"/>
                    </a:lnTo>
                    <a:lnTo>
                      <a:pt x="373" y="70"/>
                    </a:lnTo>
                    <a:lnTo>
                      <a:pt x="371" y="79"/>
                    </a:lnTo>
                    <a:lnTo>
                      <a:pt x="400" y="110"/>
                    </a:lnTo>
                    <a:lnTo>
                      <a:pt x="410" y="127"/>
                    </a:lnTo>
                    <a:lnTo>
                      <a:pt x="422" y="132"/>
                    </a:lnTo>
                    <a:lnTo>
                      <a:pt x="434" y="141"/>
                    </a:lnTo>
                    <a:lnTo>
                      <a:pt x="442" y="144"/>
                    </a:lnTo>
                    <a:lnTo>
                      <a:pt x="453" y="135"/>
                    </a:lnTo>
                    <a:lnTo>
                      <a:pt x="463" y="110"/>
                    </a:lnTo>
                    <a:lnTo>
                      <a:pt x="467" y="90"/>
                    </a:lnTo>
                    <a:lnTo>
                      <a:pt x="471" y="53"/>
                    </a:lnTo>
                    <a:lnTo>
                      <a:pt x="475" y="37"/>
                    </a:lnTo>
                    <a:lnTo>
                      <a:pt x="475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5" name="Freeform 25"/>
              <p:cNvSpPr>
                <a:spLocks/>
              </p:cNvSpPr>
              <p:nvPr/>
            </p:nvSpPr>
            <p:spPr bwMode="auto">
              <a:xfrm>
                <a:off x="4517" y="2648"/>
                <a:ext cx="370" cy="103"/>
              </a:xfrm>
              <a:custGeom>
                <a:avLst/>
                <a:gdLst>
                  <a:gd name="T0" fmla="*/ 28 w 370"/>
                  <a:gd name="T1" fmla="*/ 15 h 103"/>
                  <a:gd name="T2" fmla="*/ 74 w 370"/>
                  <a:gd name="T3" fmla="*/ 15 h 103"/>
                  <a:gd name="T4" fmla="*/ 101 w 370"/>
                  <a:gd name="T5" fmla="*/ 18 h 103"/>
                  <a:gd name="T6" fmla="*/ 125 w 370"/>
                  <a:gd name="T7" fmla="*/ 48 h 103"/>
                  <a:gd name="T8" fmla="*/ 147 w 370"/>
                  <a:gd name="T9" fmla="*/ 54 h 103"/>
                  <a:gd name="T10" fmla="*/ 180 w 370"/>
                  <a:gd name="T11" fmla="*/ 66 h 103"/>
                  <a:gd name="T12" fmla="*/ 200 w 370"/>
                  <a:gd name="T13" fmla="*/ 72 h 103"/>
                  <a:gd name="T14" fmla="*/ 208 w 370"/>
                  <a:gd name="T15" fmla="*/ 48 h 103"/>
                  <a:gd name="T16" fmla="*/ 252 w 370"/>
                  <a:gd name="T17" fmla="*/ 54 h 103"/>
                  <a:gd name="T18" fmla="*/ 283 w 370"/>
                  <a:gd name="T19" fmla="*/ 63 h 103"/>
                  <a:gd name="T20" fmla="*/ 305 w 370"/>
                  <a:gd name="T21" fmla="*/ 66 h 103"/>
                  <a:gd name="T22" fmla="*/ 321 w 370"/>
                  <a:gd name="T23" fmla="*/ 54 h 103"/>
                  <a:gd name="T24" fmla="*/ 347 w 370"/>
                  <a:gd name="T25" fmla="*/ 48 h 103"/>
                  <a:gd name="T26" fmla="*/ 369 w 370"/>
                  <a:gd name="T27" fmla="*/ 42 h 103"/>
                  <a:gd name="T28" fmla="*/ 363 w 370"/>
                  <a:gd name="T29" fmla="*/ 72 h 103"/>
                  <a:gd name="T30" fmla="*/ 347 w 370"/>
                  <a:gd name="T31" fmla="*/ 81 h 103"/>
                  <a:gd name="T32" fmla="*/ 335 w 370"/>
                  <a:gd name="T33" fmla="*/ 84 h 103"/>
                  <a:gd name="T34" fmla="*/ 319 w 370"/>
                  <a:gd name="T35" fmla="*/ 93 h 103"/>
                  <a:gd name="T36" fmla="*/ 303 w 370"/>
                  <a:gd name="T37" fmla="*/ 93 h 103"/>
                  <a:gd name="T38" fmla="*/ 289 w 370"/>
                  <a:gd name="T39" fmla="*/ 96 h 103"/>
                  <a:gd name="T40" fmla="*/ 268 w 370"/>
                  <a:gd name="T41" fmla="*/ 102 h 103"/>
                  <a:gd name="T42" fmla="*/ 254 w 370"/>
                  <a:gd name="T43" fmla="*/ 81 h 103"/>
                  <a:gd name="T44" fmla="*/ 238 w 370"/>
                  <a:gd name="T45" fmla="*/ 102 h 103"/>
                  <a:gd name="T46" fmla="*/ 216 w 370"/>
                  <a:gd name="T47" fmla="*/ 81 h 103"/>
                  <a:gd name="T48" fmla="*/ 204 w 370"/>
                  <a:gd name="T49" fmla="*/ 84 h 103"/>
                  <a:gd name="T50" fmla="*/ 186 w 370"/>
                  <a:gd name="T51" fmla="*/ 93 h 103"/>
                  <a:gd name="T52" fmla="*/ 168 w 370"/>
                  <a:gd name="T53" fmla="*/ 87 h 103"/>
                  <a:gd name="T54" fmla="*/ 149 w 370"/>
                  <a:gd name="T55" fmla="*/ 84 h 103"/>
                  <a:gd name="T56" fmla="*/ 129 w 370"/>
                  <a:gd name="T57" fmla="*/ 93 h 103"/>
                  <a:gd name="T58" fmla="*/ 103 w 370"/>
                  <a:gd name="T59" fmla="*/ 78 h 103"/>
                  <a:gd name="T60" fmla="*/ 68 w 370"/>
                  <a:gd name="T61" fmla="*/ 69 h 103"/>
                  <a:gd name="T62" fmla="*/ 42 w 370"/>
                  <a:gd name="T63" fmla="*/ 60 h 103"/>
                  <a:gd name="T64" fmla="*/ 16 w 370"/>
                  <a:gd name="T65" fmla="*/ 45 h 103"/>
                  <a:gd name="T66" fmla="*/ 2 w 370"/>
                  <a:gd name="T67" fmla="*/ 39 h 103"/>
                  <a:gd name="T68" fmla="*/ 0 w 370"/>
                  <a:gd name="T69" fmla="*/ 0 h 10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0"/>
                  <a:gd name="T106" fmla="*/ 0 h 103"/>
                  <a:gd name="T107" fmla="*/ 370 w 370"/>
                  <a:gd name="T108" fmla="*/ 103 h 10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0" h="103">
                    <a:moveTo>
                      <a:pt x="0" y="0"/>
                    </a:moveTo>
                    <a:lnTo>
                      <a:pt x="28" y="15"/>
                    </a:lnTo>
                    <a:lnTo>
                      <a:pt x="52" y="15"/>
                    </a:lnTo>
                    <a:lnTo>
                      <a:pt x="74" y="15"/>
                    </a:lnTo>
                    <a:lnTo>
                      <a:pt x="90" y="15"/>
                    </a:lnTo>
                    <a:lnTo>
                      <a:pt x="101" y="18"/>
                    </a:lnTo>
                    <a:lnTo>
                      <a:pt x="117" y="27"/>
                    </a:lnTo>
                    <a:lnTo>
                      <a:pt x="125" y="48"/>
                    </a:lnTo>
                    <a:lnTo>
                      <a:pt x="133" y="57"/>
                    </a:lnTo>
                    <a:lnTo>
                      <a:pt x="147" y="54"/>
                    </a:lnTo>
                    <a:lnTo>
                      <a:pt x="162" y="54"/>
                    </a:lnTo>
                    <a:lnTo>
                      <a:pt x="180" y="66"/>
                    </a:lnTo>
                    <a:lnTo>
                      <a:pt x="192" y="72"/>
                    </a:lnTo>
                    <a:lnTo>
                      <a:pt x="200" y="72"/>
                    </a:lnTo>
                    <a:lnTo>
                      <a:pt x="202" y="57"/>
                    </a:lnTo>
                    <a:lnTo>
                      <a:pt x="208" y="48"/>
                    </a:lnTo>
                    <a:lnTo>
                      <a:pt x="232" y="54"/>
                    </a:lnTo>
                    <a:lnTo>
                      <a:pt x="252" y="54"/>
                    </a:lnTo>
                    <a:lnTo>
                      <a:pt x="270" y="54"/>
                    </a:lnTo>
                    <a:lnTo>
                      <a:pt x="283" y="63"/>
                    </a:lnTo>
                    <a:lnTo>
                      <a:pt x="291" y="69"/>
                    </a:lnTo>
                    <a:lnTo>
                      <a:pt x="305" y="66"/>
                    </a:lnTo>
                    <a:lnTo>
                      <a:pt x="315" y="60"/>
                    </a:lnTo>
                    <a:lnTo>
                      <a:pt x="321" y="54"/>
                    </a:lnTo>
                    <a:lnTo>
                      <a:pt x="337" y="54"/>
                    </a:lnTo>
                    <a:lnTo>
                      <a:pt x="347" y="48"/>
                    </a:lnTo>
                    <a:lnTo>
                      <a:pt x="361" y="42"/>
                    </a:lnTo>
                    <a:lnTo>
                      <a:pt x="369" y="42"/>
                    </a:lnTo>
                    <a:lnTo>
                      <a:pt x="367" y="63"/>
                    </a:lnTo>
                    <a:lnTo>
                      <a:pt x="363" y="72"/>
                    </a:lnTo>
                    <a:lnTo>
                      <a:pt x="355" y="81"/>
                    </a:lnTo>
                    <a:lnTo>
                      <a:pt x="347" y="81"/>
                    </a:lnTo>
                    <a:lnTo>
                      <a:pt x="345" y="81"/>
                    </a:lnTo>
                    <a:lnTo>
                      <a:pt x="335" y="84"/>
                    </a:lnTo>
                    <a:lnTo>
                      <a:pt x="327" y="96"/>
                    </a:lnTo>
                    <a:lnTo>
                      <a:pt x="319" y="93"/>
                    </a:lnTo>
                    <a:lnTo>
                      <a:pt x="311" y="87"/>
                    </a:lnTo>
                    <a:lnTo>
                      <a:pt x="303" y="93"/>
                    </a:lnTo>
                    <a:lnTo>
                      <a:pt x="295" y="96"/>
                    </a:lnTo>
                    <a:lnTo>
                      <a:pt x="289" y="96"/>
                    </a:lnTo>
                    <a:lnTo>
                      <a:pt x="283" y="102"/>
                    </a:lnTo>
                    <a:lnTo>
                      <a:pt x="268" y="102"/>
                    </a:lnTo>
                    <a:lnTo>
                      <a:pt x="262" y="93"/>
                    </a:lnTo>
                    <a:lnTo>
                      <a:pt x="254" y="81"/>
                    </a:lnTo>
                    <a:lnTo>
                      <a:pt x="244" y="93"/>
                    </a:lnTo>
                    <a:lnTo>
                      <a:pt x="238" y="102"/>
                    </a:lnTo>
                    <a:lnTo>
                      <a:pt x="230" y="102"/>
                    </a:lnTo>
                    <a:lnTo>
                      <a:pt x="216" y="81"/>
                    </a:lnTo>
                    <a:lnTo>
                      <a:pt x="212" y="84"/>
                    </a:lnTo>
                    <a:lnTo>
                      <a:pt x="204" y="84"/>
                    </a:lnTo>
                    <a:lnTo>
                      <a:pt x="198" y="96"/>
                    </a:lnTo>
                    <a:lnTo>
                      <a:pt x="186" y="93"/>
                    </a:lnTo>
                    <a:lnTo>
                      <a:pt x="174" y="93"/>
                    </a:lnTo>
                    <a:lnTo>
                      <a:pt x="168" y="87"/>
                    </a:lnTo>
                    <a:lnTo>
                      <a:pt x="160" y="81"/>
                    </a:lnTo>
                    <a:lnTo>
                      <a:pt x="149" y="84"/>
                    </a:lnTo>
                    <a:lnTo>
                      <a:pt x="137" y="96"/>
                    </a:lnTo>
                    <a:lnTo>
                      <a:pt x="129" y="93"/>
                    </a:lnTo>
                    <a:lnTo>
                      <a:pt x="117" y="87"/>
                    </a:lnTo>
                    <a:lnTo>
                      <a:pt x="103" y="78"/>
                    </a:lnTo>
                    <a:lnTo>
                      <a:pt x="92" y="78"/>
                    </a:lnTo>
                    <a:lnTo>
                      <a:pt x="68" y="69"/>
                    </a:lnTo>
                    <a:lnTo>
                      <a:pt x="52" y="63"/>
                    </a:lnTo>
                    <a:lnTo>
                      <a:pt x="42" y="60"/>
                    </a:lnTo>
                    <a:lnTo>
                      <a:pt x="26" y="57"/>
                    </a:lnTo>
                    <a:lnTo>
                      <a:pt x="16" y="45"/>
                    </a:lnTo>
                    <a:lnTo>
                      <a:pt x="6" y="42"/>
                    </a:lnTo>
                    <a:lnTo>
                      <a:pt x="2" y="39"/>
                    </a:lnTo>
                    <a:lnTo>
                      <a:pt x="0" y="3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6" name="Freeform 26"/>
              <p:cNvSpPr>
                <a:spLocks/>
              </p:cNvSpPr>
              <p:nvPr/>
            </p:nvSpPr>
            <p:spPr bwMode="auto">
              <a:xfrm>
                <a:off x="4714" y="2463"/>
                <a:ext cx="173" cy="190"/>
              </a:xfrm>
              <a:custGeom>
                <a:avLst/>
                <a:gdLst>
                  <a:gd name="T0" fmla="*/ 84 w 173"/>
                  <a:gd name="T1" fmla="*/ 3 h 190"/>
                  <a:gd name="T2" fmla="*/ 143 w 173"/>
                  <a:gd name="T3" fmla="*/ 0 h 190"/>
                  <a:gd name="T4" fmla="*/ 154 w 173"/>
                  <a:gd name="T5" fmla="*/ 23 h 190"/>
                  <a:gd name="T6" fmla="*/ 137 w 173"/>
                  <a:gd name="T7" fmla="*/ 38 h 190"/>
                  <a:gd name="T8" fmla="*/ 133 w 173"/>
                  <a:gd name="T9" fmla="*/ 49 h 190"/>
                  <a:gd name="T10" fmla="*/ 121 w 173"/>
                  <a:gd name="T11" fmla="*/ 64 h 190"/>
                  <a:gd name="T12" fmla="*/ 106 w 173"/>
                  <a:gd name="T13" fmla="*/ 67 h 190"/>
                  <a:gd name="T14" fmla="*/ 92 w 173"/>
                  <a:gd name="T15" fmla="*/ 58 h 190"/>
                  <a:gd name="T16" fmla="*/ 76 w 173"/>
                  <a:gd name="T17" fmla="*/ 38 h 190"/>
                  <a:gd name="T18" fmla="*/ 55 w 173"/>
                  <a:gd name="T19" fmla="*/ 38 h 190"/>
                  <a:gd name="T20" fmla="*/ 53 w 173"/>
                  <a:gd name="T21" fmla="*/ 67 h 190"/>
                  <a:gd name="T22" fmla="*/ 55 w 173"/>
                  <a:gd name="T23" fmla="*/ 84 h 190"/>
                  <a:gd name="T24" fmla="*/ 76 w 173"/>
                  <a:gd name="T25" fmla="*/ 73 h 190"/>
                  <a:gd name="T26" fmla="*/ 90 w 173"/>
                  <a:gd name="T27" fmla="*/ 79 h 190"/>
                  <a:gd name="T28" fmla="*/ 86 w 173"/>
                  <a:gd name="T29" fmla="*/ 96 h 190"/>
                  <a:gd name="T30" fmla="*/ 84 w 173"/>
                  <a:gd name="T31" fmla="*/ 108 h 190"/>
                  <a:gd name="T32" fmla="*/ 86 w 173"/>
                  <a:gd name="T33" fmla="*/ 125 h 190"/>
                  <a:gd name="T34" fmla="*/ 96 w 173"/>
                  <a:gd name="T35" fmla="*/ 134 h 190"/>
                  <a:gd name="T36" fmla="*/ 92 w 173"/>
                  <a:gd name="T37" fmla="*/ 154 h 190"/>
                  <a:gd name="T38" fmla="*/ 86 w 173"/>
                  <a:gd name="T39" fmla="*/ 177 h 190"/>
                  <a:gd name="T40" fmla="*/ 72 w 173"/>
                  <a:gd name="T41" fmla="*/ 183 h 190"/>
                  <a:gd name="T42" fmla="*/ 66 w 173"/>
                  <a:gd name="T43" fmla="*/ 172 h 190"/>
                  <a:gd name="T44" fmla="*/ 57 w 173"/>
                  <a:gd name="T45" fmla="*/ 145 h 190"/>
                  <a:gd name="T46" fmla="*/ 57 w 173"/>
                  <a:gd name="T47" fmla="*/ 119 h 190"/>
                  <a:gd name="T48" fmla="*/ 37 w 173"/>
                  <a:gd name="T49" fmla="*/ 119 h 190"/>
                  <a:gd name="T50" fmla="*/ 25 w 173"/>
                  <a:gd name="T51" fmla="*/ 122 h 190"/>
                  <a:gd name="T52" fmla="*/ 41 w 173"/>
                  <a:gd name="T53" fmla="*/ 134 h 190"/>
                  <a:gd name="T54" fmla="*/ 49 w 173"/>
                  <a:gd name="T55" fmla="*/ 151 h 190"/>
                  <a:gd name="T56" fmla="*/ 43 w 173"/>
                  <a:gd name="T57" fmla="*/ 174 h 190"/>
                  <a:gd name="T58" fmla="*/ 31 w 173"/>
                  <a:gd name="T59" fmla="*/ 189 h 190"/>
                  <a:gd name="T60" fmla="*/ 31 w 173"/>
                  <a:gd name="T61" fmla="*/ 172 h 190"/>
                  <a:gd name="T62" fmla="*/ 23 w 173"/>
                  <a:gd name="T63" fmla="*/ 151 h 190"/>
                  <a:gd name="T64" fmla="*/ 10 w 173"/>
                  <a:gd name="T65" fmla="*/ 134 h 190"/>
                  <a:gd name="T66" fmla="*/ 2 w 173"/>
                  <a:gd name="T67" fmla="*/ 113 h 190"/>
                  <a:gd name="T68" fmla="*/ 16 w 173"/>
                  <a:gd name="T69" fmla="*/ 90 h 190"/>
                  <a:gd name="T70" fmla="*/ 25 w 173"/>
                  <a:gd name="T71" fmla="*/ 61 h 190"/>
                  <a:gd name="T72" fmla="*/ 27 w 173"/>
                  <a:gd name="T73" fmla="*/ 41 h 190"/>
                  <a:gd name="T74" fmla="*/ 25 w 173"/>
                  <a:gd name="T75" fmla="*/ 23 h 19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3"/>
                  <a:gd name="T115" fmla="*/ 0 h 190"/>
                  <a:gd name="T116" fmla="*/ 173 w 173"/>
                  <a:gd name="T117" fmla="*/ 190 h 19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3" h="190">
                    <a:moveTo>
                      <a:pt x="43" y="0"/>
                    </a:moveTo>
                    <a:lnTo>
                      <a:pt x="84" y="3"/>
                    </a:lnTo>
                    <a:lnTo>
                      <a:pt x="123" y="3"/>
                    </a:lnTo>
                    <a:lnTo>
                      <a:pt x="143" y="0"/>
                    </a:lnTo>
                    <a:lnTo>
                      <a:pt x="172" y="17"/>
                    </a:lnTo>
                    <a:lnTo>
                      <a:pt x="154" y="23"/>
                    </a:lnTo>
                    <a:lnTo>
                      <a:pt x="143" y="32"/>
                    </a:lnTo>
                    <a:lnTo>
                      <a:pt x="137" y="38"/>
                    </a:lnTo>
                    <a:lnTo>
                      <a:pt x="133" y="44"/>
                    </a:lnTo>
                    <a:lnTo>
                      <a:pt x="133" y="49"/>
                    </a:lnTo>
                    <a:lnTo>
                      <a:pt x="133" y="58"/>
                    </a:lnTo>
                    <a:lnTo>
                      <a:pt x="121" y="64"/>
                    </a:lnTo>
                    <a:lnTo>
                      <a:pt x="111" y="64"/>
                    </a:lnTo>
                    <a:lnTo>
                      <a:pt x="106" y="67"/>
                    </a:lnTo>
                    <a:lnTo>
                      <a:pt x="96" y="67"/>
                    </a:lnTo>
                    <a:lnTo>
                      <a:pt x="92" y="58"/>
                    </a:lnTo>
                    <a:lnTo>
                      <a:pt x="84" y="47"/>
                    </a:lnTo>
                    <a:lnTo>
                      <a:pt x="76" y="38"/>
                    </a:lnTo>
                    <a:lnTo>
                      <a:pt x="59" y="38"/>
                    </a:lnTo>
                    <a:lnTo>
                      <a:pt x="55" y="38"/>
                    </a:lnTo>
                    <a:lnTo>
                      <a:pt x="51" y="52"/>
                    </a:lnTo>
                    <a:lnTo>
                      <a:pt x="53" y="67"/>
                    </a:lnTo>
                    <a:lnTo>
                      <a:pt x="53" y="76"/>
                    </a:lnTo>
                    <a:lnTo>
                      <a:pt x="55" y="84"/>
                    </a:lnTo>
                    <a:lnTo>
                      <a:pt x="63" y="81"/>
                    </a:lnTo>
                    <a:lnTo>
                      <a:pt x="76" y="73"/>
                    </a:lnTo>
                    <a:lnTo>
                      <a:pt x="84" y="73"/>
                    </a:lnTo>
                    <a:lnTo>
                      <a:pt x="90" y="79"/>
                    </a:lnTo>
                    <a:lnTo>
                      <a:pt x="90" y="84"/>
                    </a:lnTo>
                    <a:lnTo>
                      <a:pt x="86" y="96"/>
                    </a:lnTo>
                    <a:lnTo>
                      <a:pt x="84" y="102"/>
                    </a:lnTo>
                    <a:lnTo>
                      <a:pt x="84" y="108"/>
                    </a:lnTo>
                    <a:lnTo>
                      <a:pt x="82" y="116"/>
                    </a:lnTo>
                    <a:lnTo>
                      <a:pt x="86" y="125"/>
                    </a:lnTo>
                    <a:lnTo>
                      <a:pt x="94" y="137"/>
                    </a:lnTo>
                    <a:lnTo>
                      <a:pt x="96" y="134"/>
                    </a:lnTo>
                    <a:lnTo>
                      <a:pt x="96" y="145"/>
                    </a:lnTo>
                    <a:lnTo>
                      <a:pt x="92" y="154"/>
                    </a:lnTo>
                    <a:lnTo>
                      <a:pt x="88" y="163"/>
                    </a:lnTo>
                    <a:lnTo>
                      <a:pt x="86" y="177"/>
                    </a:lnTo>
                    <a:lnTo>
                      <a:pt x="78" y="183"/>
                    </a:lnTo>
                    <a:lnTo>
                      <a:pt x="72" y="183"/>
                    </a:lnTo>
                    <a:lnTo>
                      <a:pt x="66" y="183"/>
                    </a:lnTo>
                    <a:lnTo>
                      <a:pt x="66" y="172"/>
                    </a:lnTo>
                    <a:lnTo>
                      <a:pt x="63" y="151"/>
                    </a:lnTo>
                    <a:lnTo>
                      <a:pt x="57" y="145"/>
                    </a:lnTo>
                    <a:lnTo>
                      <a:pt x="55" y="137"/>
                    </a:lnTo>
                    <a:lnTo>
                      <a:pt x="57" y="119"/>
                    </a:lnTo>
                    <a:lnTo>
                      <a:pt x="51" y="113"/>
                    </a:lnTo>
                    <a:lnTo>
                      <a:pt x="37" y="119"/>
                    </a:lnTo>
                    <a:lnTo>
                      <a:pt x="31" y="113"/>
                    </a:lnTo>
                    <a:lnTo>
                      <a:pt x="25" y="122"/>
                    </a:lnTo>
                    <a:lnTo>
                      <a:pt x="31" y="128"/>
                    </a:lnTo>
                    <a:lnTo>
                      <a:pt x="41" y="134"/>
                    </a:lnTo>
                    <a:lnTo>
                      <a:pt x="43" y="140"/>
                    </a:lnTo>
                    <a:lnTo>
                      <a:pt x="49" y="151"/>
                    </a:lnTo>
                    <a:lnTo>
                      <a:pt x="49" y="160"/>
                    </a:lnTo>
                    <a:lnTo>
                      <a:pt x="43" y="174"/>
                    </a:lnTo>
                    <a:lnTo>
                      <a:pt x="35" y="186"/>
                    </a:lnTo>
                    <a:lnTo>
                      <a:pt x="31" y="189"/>
                    </a:lnTo>
                    <a:lnTo>
                      <a:pt x="31" y="180"/>
                    </a:lnTo>
                    <a:lnTo>
                      <a:pt x="31" y="172"/>
                    </a:lnTo>
                    <a:lnTo>
                      <a:pt x="33" y="160"/>
                    </a:lnTo>
                    <a:lnTo>
                      <a:pt x="23" y="151"/>
                    </a:lnTo>
                    <a:lnTo>
                      <a:pt x="12" y="142"/>
                    </a:lnTo>
                    <a:lnTo>
                      <a:pt x="10" y="134"/>
                    </a:lnTo>
                    <a:lnTo>
                      <a:pt x="0" y="128"/>
                    </a:lnTo>
                    <a:lnTo>
                      <a:pt x="2" y="113"/>
                    </a:lnTo>
                    <a:lnTo>
                      <a:pt x="10" y="105"/>
                    </a:lnTo>
                    <a:lnTo>
                      <a:pt x="16" y="90"/>
                    </a:lnTo>
                    <a:lnTo>
                      <a:pt x="23" y="76"/>
                    </a:lnTo>
                    <a:lnTo>
                      <a:pt x="25" y="61"/>
                    </a:lnTo>
                    <a:lnTo>
                      <a:pt x="23" y="47"/>
                    </a:lnTo>
                    <a:lnTo>
                      <a:pt x="27" y="41"/>
                    </a:lnTo>
                    <a:lnTo>
                      <a:pt x="31" y="35"/>
                    </a:lnTo>
                    <a:lnTo>
                      <a:pt x="25" y="23"/>
                    </a:lnTo>
                    <a:lnTo>
                      <a:pt x="4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7" name="Freeform 27"/>
              <p:cNvSpPr>
                <a:spLocks/>
              </p:cNvSpPr>
              <p:nvPr/>
            </p:nvSpPr>
            <p:spPr bwMode="auto">
              <a:xfrm>
                <a:off x="4543" y="2383"/>
                <a:ext cx="189" cy="256"/>
              </a:xfrm>
              <a:custGeom>
                <a:avLst/>
                <a:gdLst>
                  <a:gd name="T0" fmla="*/ 0 w 189"/>
                  <a:gd name="T1" fmla="*/ 84 h 256"/>
                  <a:gd name="T2" fmla="*/ 39 w 189"/>
                  <a:gd name="T3" fmla="*/ 45 h 256"/>
                  <a:gd name="T4" fmla="*/ 59 w 189"/>
                  <a:gd name="T5" fmla="*/ 28 h 256"/>
                  <a:gd name="T6" fmla="*/ 69 w 189"/>
                  <a:gd name="T7" fmla="*/ 14 h 256"/>
                  <a:gd name="T8" fmla="*/ 100 w 189"/>
                  <a:gd name="T9" fmla="*/ 0 h 256"/>
                  <a:gd name="T10" fmla="*/ 116 w 189"/>
                  <a:gd name="T11" fmla="*/ 31 h 256"/>
                  <a:gd name="T12" fmla="*/ 131 w 189"/>
                  <a:gd name="T13" fmla="*/ 17 h 256"/>
                  <a:gd name="T14" fmla="*/ 137 w 189"/>
                  <a:gd name="T15" fmla="*/ 9 h 256"/>
                  <a:gd name="T16" fmla="*/ 151 w 189"/>
                  <a:gd name="T17" fmla="*/ 0 h 256"/>
                  <a:gd name="T18" fmla="*/ 160 w 189"/>
                  <a:gd name="T19" fmla="*/ 0 h 256"/>
                  <a:gd name="T20" fmla="*/ 162 w 189"/>
                  <a:gd name="T21" fmla="*/ 11 h 256"/>
                  <a:gd name="T22" fmla="*/ 162 w 189"/>
                  <a:gd name="T23" fmla="*/ 20 h 256"/>
                  <a:gd name="T24" fmla="*/ 153 w 189"/>
                  <a:gd name="T25" fmla="*/ 34 h 256"/>
                  <a:gd name="T26" fmla="*/ 153 w 189"/>
                  <a:gd name="T27" fmla="*/ 43 h 256"/>
                  <a:gd name="T28" fmla="*/ 176 w 189"/>
                  <a:gd name="T29" fmla="*/ 79 h 256"/>
                  <a:gd name="T30" fmla="*/ 180 w 189"/>
                  <a:gd name="T31" fmla="*/ 101 h 256"/>
                  <a:gd name="T32" fmla="*/ 186 w 189"/>
                  <a:gd name="T33" fmla="*/ 101 h 256"/>
                  <a:gd name="T34" fmla="*/ 188 w 189"/>
                  <a:gd name="T35" fmla="*/ 113 h 256"/>
                  <a:gd name="T36" fmla="*/ 180 w 189"/>
                  <a:gd name="T37" fmla="*/ 124 h 256"/>
                  <a:gd name="T38" fmla="*/ 174 w 189"/>
                  <a:gd name="T39" fmla="*/ 118 h 256"/>
                  <a:gd name="T40" fmla="*/ 160 w 189"/>
                  <a:gd name="T41" fmla="*/ 127 h 256"/>
                  <a:gd name="T42" fmla="*/ 162 w 189"/>
                  <a:gd name="T43" fmla="*/ 150 h 256"/>
                  <a:gd name="T44" fmla="*/ 145 w 189"/>
                  <a:gd name="T45" fmla="*/ 164 h 256"/>
                  <a:gd name="T46" fmla="*/ 145 w 189"/>
                  <a:gd name="T47" fmla="*/ 201 h 256"/>
                  <a:gd name="T48" fmla="*/ 145 w 189"/>
                  <a:gd name="T49" fmla="*/ 227 h 256"/>
                  <a:gd name="T50" fmla="*/ 137 w 189"/>
                  <a:gd name="T51" fmla="*/ 238 h 256"/>
                  <a:gd name="T52" fmla="*/ 131 w 189"/>
                  <a:gd name="T53" fmla="*/ 255 h 256"/>
                  <a:gd name="T54" fmla="*/ 124 w 189"/>
                  <a:gd name="T55" fmla="*/ 252 h 256"/>
                  <a:gd name="T56" fmla="*/ 112 w 189"/>
                  <a:gd name="T57" fmla="*/ 244 h 256"/>
                  <a:gd name="T58" fmla="*/ 102 w 189"/>
                  <a:gd name="T59" fmla="*/ 235 h 256"/>
                  <a:gd name="T60" fmla="*/ 93 w 189"/>
                  <a:gd name="T61" fmla="*/ 221 h 256"/>
                  <a:gd name="T62" fmla="*/ 65 w 189"/>
                  <a:gd name="T63" fmla="*/ 224 h 256"/>
                  <a:gd name="T64" fmla="*/ 41 w 189"/>
                  <a:gd name="T65" fmla="*/ 215 h 256"/>
                  <a:gd name="T66" fmla="*/ 24 w 189"/>
                  <a:gd name="T67" fmla="*/ 192 h 256"/>
                  <a:gd name="T68" fmla="*/ 14 w 189"/>
                  <a:gd name="T69" fmla="*/ 175 h 256"/>
                  <a:gd name="T70" fmla="*/ 6 w 189"/>
                  <a:gd name="T71" fmla="*/ 161 h 256"/>
                  <a:gd name="T72" fmla="*/ 6 w 189"/>
                  <a:gd name="T73" fmla="*/ 133 h 256"/>
                  <a:gd name="T74" fmla="*/ 0 w 189"/>
                  <a:gd name="T75" fmla="*/ 84 h 25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89"/>
                  <a:gd name="T115" fmla="*/ 0 h 256"/>
                  <a:gd name="T116" fmla="*/ 189 w 189"/>
                  <a:gd name="T117" fmla="*/ 256 h 25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89" h="256">
                    <a:moveTo>
                      <a:pt x="0" y="84"/>
                    </a:moveTo>
                    <a:lnTo>
                      <a:pt x="39" y="45"/>
                    </a:lnTo>
                    <a:lnTo>
                      <a:pt x="59" y="28"/>
                    </a:lnTo>
                    <a:lnTo>
                      <a:pt x="69" y="14"/>
                    </a:lnTo>
                    <a:lnTo>
                      <a:pt x="100" y="0"/>
                    </a:lnTo>
                    <a:lnTo>
                      <a:pt x="116" y="31"/>
                    </a:lnTo>
                    <a:lnTo>
                      <a:pt x="131" y="17"/>
                    </a:lnTo>
                    <a:lnTo>
                      <a:pt x="137" y="9"/>
                    </a:lnTo>
                    <a:lnTo>
                      <a:pt x="151" y="0"/>
                    </a:lnTo>
                    <a:lnTo>
                      <a:pt x="160" y="0"/>
                    </a:lnTo>
                    <a:lnTo>
                      <a:pt x="162" y="11"/>
                    </a:lnTo>
                    <a:lnTo>
                      <a:pt x="162" y="20"/>
                    </a:lnTo>
                    <a:lnTo>
                      <a:pt x="153" y="34"/>
                    </a:lnTo>
                    <a:lnTo>
                      <a:pt x="153" y="43"/>
                    </a:lnTo>
                    <a:lnTo>
                      <a:pt x="176" y="79"/>
                    </a:lnTo>
                    <a:lnTo>
                      <a:pt x="180" y="101"/>
                    </a:lnTo>
                    <a:lnTo>
                      <a:pt x="186" y="101"/>
                    </a:lnTo>
                    <a:lnTo>
                      <a:pt x="188" y="113"/>
                    </a:lnTo>
                    <a:lnTo>
                      <a:pt x="180" y="124"/>
                    </a:lnTo>
                    <a:lnTo>
                      <a:pt x="174" y="118"/>
                    </a:lnTo>
                    <a:lnTo>
                      <a:pt x="160" y="127"/>
                    </a:lnTo>
                    <a:lnTo>
                      <a:pt x="162" y="150"/>
                    </a:lnTo>
                    <a:lnTo>
                      <a:pt x="145" y="164"/>
                    </a:lnTo>
                    <a:lnTo>
                      <a:pt x="145" y="201"/>
                    </a:lnTo>
                    <a:lnTo>
                      <a:pt x="145" y="227"/>
                    </a:lnTo>
                    <a:lnTo>
                      <a:pt x="137" y="238"/>
                    </a:lnTo>
                    <a:lnTo>
                      <a:pt x="131" y="255"/>
                    </a:lnTo>
                    <a:lnTo>
                      <a:pt x="124" y="252"/>
                    </a:lnTo>
                    <a:lnTo>
                      <a:pt x="112" y="244"/>
                    </a:lnTo>
                    <a:lnTo>
                      <a:pt x="102" y="235"/>
                    </a:lnTo>
                    <a:lnTo>
                      <a:pt x="93" y="221"/>
                    </a:lnTo>
                    <a:lnTo>
                      <a:pt x="65" y="224"/>
                    </a:lnTo>
                    <a:lnTo>
                      <a:pt x="41" y="215"/>
                    </a:lnTo>
                    <a:lnTo>
                      <a:pt x="24" y="192"/>
                    </a:lnTo>
                    <a:lnTo>
                      <a:pt x="14" y="175"/>
                    </a:lnTo>
                    <a:lnTo>
                      <a:pt x="6" y="161"/>
                    </a:lnTo>
                    <a:lnTo>
                      <a:pt x="6" y="133"/>
                    </a:lnTo>
                    <a:lnTo>
                      <a:pt x="0" y="84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8" name="Freeform 28"/>
              <p:cNvSpPr>
                <a:spLocks/>
              </p:cNvSpPr>
              <p:nvPr/>
            </p:nvSpPr>
            <p:spPr bwMode="auto">
              <a:xfrm>
                <a:off x="4927" y="2524"/>
                <a:ext cx="356" cy="243"/>
              </a:xfrm>
              <a:custGeom>
                <a:avLst/>
                <a:gdLst>
                  <a:gd name="T0" fmla="*/ 32 w 356"/>
                  <a:gd name="T1" fmla="*/ 3 h 243"/>
                  <a:gd name="T2" fmla="*/ 70 w 356"/>
                  <a:gd name="T3" fmla="*/ 40 h 243"/>
                  <a:gd name="T4" fmla="*/ 76 w 356"/>
                  <a:gd name="T5" fmla="*/ 58 h 243"/>
                  <a:gd name="T6" fmla="*/ 98 w 356"/>
                  <a:gd name="T7" fmla="*/ 49 h 243"/>
                  <a:gd name="T8" fmla="*/ 110 w 356"/>
                  <a:gd name="T9" fmla="*/ 55 h 243"/>
                  <a:gd name="T10" fmla="*/ 124 w 356"/>
                  <a:gd name="T11" fmla="*/ 40 h 243"/>
                  <a:gd name="T12" fmla="*/ 144 w 356"/>
                  <a:gd name="T13" fmla="*/ 32 h 243"/>
                  <a:gd name="T14" fmla="*/ 189 w 356"/>
                  <a:gd name="T15" fmla="*/ 49 h 243"/>
                  <a:gd name="T16" fmla="*/ 217 w 356"/>
                  <a:gd name="T17" fmla="*/ 69 h 243"/>
                  <a:gd name="T18" fmla="*/ 239 w 356"/>
                  <a:gd name="T19" fmla="*/ 84 h 243"/>
                  <a:gd name="T20" fmla="*/ 277 w 356"/>
                  <a:gd name="T21" fmla="*/ 115 h 243"/>
                  <a:gd name="T22" fmla="*/ 281 w 356"/>
                  <a:gd name="T23" fmla="*/ 133 h 243"/>
                  <a:gd name="T24" fmla="*/ 299 w 356"/>
                  <a:gd name="T25" fmla="*/ 147 h 243"/>
                  <a:gd name="T26" fmla="*/ 313 w 356"/>
                  <a:gd name="T27" fmla="*/ 153 h 243"/>
                  <a:gd name="T28" fmla="*/ 329 w 356"/>
                  <a:gd name="T29" fmla="*/ 182 h 243"/>
                  <a:gd name="T30" fmla="*/ 341 w 356"/>
                  <a:gd name="T31" fmla="*/ 199 h 243"/>
                  <a:gd name="T32" fmla="*/ 343 w 356"/>
                  <a:gd name="T33" fmla="*/ 242 h 243"/>
                  <a:gd name="T34" fmla="*/ 327 w 356"/>
                  <a:gd name="T35" fmla="*/ 242 h 243"/>
                  <a:gd name="T36" fmla="*/ 317 w 356"/>
                  <a:gd name="T37" fmla="*/ 233 h 243"/>
                  <a:gd name="T38" fmla="*/ 281 w 356"/>
                  <a:gd name="T39" fmla="*/ 190 h 243"/>
                  <a:gd name="T40" fmla="*/ 245 w 356"/>
                  <a:gd name="T41" fmla="*/ 190 h 243"/>
                  <a:gd name="T42" fmla="*/ 233 w 356"/>
                  <a:gd name="T43" fmla="*/ 205 h 243"/>
                  <a:gd name="T44" fmla="*/ 223 w 356"/>
                  <a:gd name="T45" fmla="*/ 213 h 243"/>
                  <a:gd name="T46" fmla="*/ 201 w 356"/>
                  <a:gd name="T47" fmla="*/ 225 h 243"/>
                  <a:gd name="T48" fmla="*/ 181 w 356"/>
                  <a:gd name="T49" fmla="*/ 219 h 243"/>
                  <a:gd name="T50" fmla="*/ 164 w 356"/>
                  <a:gd name="T51" fmla="*/ 219 h 243"/>
                  <a:gd name="T52" fmla="*/ 142 w 356"/>
                  <a:gd name="T53" fmla="*/ 164 h 243"/>
                  <a:gd name="T54" fmla="*/ 116 w 356"/>
                  <a:gd name="T55" fmla="*/ 115 h 243"/>
                  <a:gd name="T56" fmla="*/ 84 w 356"/>
                  <a:gd name="T57" fmla="*/ 98 h 243"/>
                  <a:gd name="T58" fmla="*/ 54 w 356"/>
                  <a:gd name="T59" fmla="*/ 95 h 243"/>
                  <a:gd name="T60" fmla="*/ 24 w 356"/>
                  <a:gd name="T61" fmla="*/ 78 h 243"/>
                  <a:gd name="T62" fmla="*/ 26 w 356"/>
                  <a:gd name="T63" fmla="*/ 26 h 24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56"/>
                  <a:gd name="T97" fmla="*/ 0 h 243"/>
                  <a:gd name="T98" fmla="*/ 356 w 356"/>
                  <a:gd name="T99" fmla="*/ 243 h 24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56" h="243">
                    <a:moveTo>
                      <a:pt x="0" y="0"/>
                    </a:moveTo>
                    <a:lnTo>
                      <a:pt x="32" y="3"/>
                    </a:lnTo>
                    <a:lnTo>
                      <a:pt x="58" y="6"/>
                    </a:lnTo>
                    <a:lnTo>
                      <a:pt x="70" y="40"/>
                    </a:lnTo>
                    <a:lnTo>
                      <a:pt x="72" y="52"/>
                    </a:lnTo>
                    <a:lnTo>
                      <a:pt x="76" y="58"/>
                    </a:lnTo>
                    <a:lnTo>
                      <a:pt x="84" y="49"/>
                    </a:lnTo>
                    <a:lnTo>
                      <a:pt x="98" y="49"/>
                    </a:lnTo>
                    <a:lnTo>
                      <a:pt x="106" y="58"/>
                    </a:lnTo>
                    <a:lnTo>
                      <a:pt x="110" y="55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34" y="32"/>
                    </a:lnTo>
                    <a:lnTo>
                      <a:pt x="144" y="32"/>
                    </a:lnTo>
                    <a:lnTo>
                      <a:pt x="176" y="49"/>
                    </a:lnTo>
                    <a:lnTo>
                      <a:pt x="189" y="49"/>
                    </a:lnTo>
                    <a:lnTo>
                      <a:pt x="203" y="63"/>
                    </a:lnTo>
                    <a:lnTo>
                      <a:pt x="217" y="69"/>
                    </a:lnTo>
                    <a:lnTo>
                      <a:pt x="229" y="81"/>
                    </a:lnTo>
                    <a:lnTo>
                      <a:pt x="239" y="84"/>
                    </a:lnTo>
                    <a:lnTo>
                      <a:pt x="265" y="95"/>
                    </a:lnTo>
                    <a:lnTo>
                      <a:pt x="277" y="115"/>
                    </a:lnTo>
                    <a:lnTo>
                      <a:pt x="283" y="127"/>
                    </a:lnTo>
                    <a:lnTo>
                      <a:pt x="281" y="133"/>
                    </a:lnTo>
                    <a:lnTo>
                      <a:pt x="291" y="144"/>
                    </a:lnTo>
                    <a:lnTo>
                      <a:pt x="299" y="147"/>
                    </a:lnTo>
                    <a:lnTo>
                      <a:pt x="303" y="150"/>
                    </a:lnTo>
                    <a:lnTo>
                      <a:pt x="313" y="153"/>
                    </a:lnTo>
                    <a:lnTo>
                      <a:pt x="329" y="170"/>
                    </a:lnTo>
                    <a:lnTo>
                      <a:pt x="329" y="182"/>
                    </a:lnTo>
                    <a:lnTo>
                      <a:pt x="339" y="193"/>
                    </a:lnTo>
                    <a:lnTo>
                      <a:pt x="341" y="199"/>
                    </a:lnTo>
                    <a:lnTo>
                      <a:pt x="355" y="222"/>
                    </a:lnTo>
                    <a:lnTo>
                      <a:pt x="343" y="242"/>
                    </a:lnTo>
                    <a:lnTo>
                      <a:pt x="339" y="242"/>
                    </a:lnTo>
                    <a:lnTo>
                      <a:pt x="327" y="242"/>
                    </a:lnTo>
                    <a:lnTo>
                      <a:pt x="323" y="233"/>
                    </a:lnTo>
                    <a:lnTo>
                      <a:pt x="317" y="233"/>
                    </a:lnTo>
                    <a:lnTo>
                      <a:pt x="311" y="236"/>
                    </a:lnTo>
                    <a:lnTo>
                      <a:pt x="281" y="190"/>
                    </a:lnTo>
                    <a:lnTo>
                      <a:pt x="263" y="193"/>
                    </a:lnTo>
                    <a:lnTo>
                      <a:pt x="245" y="190"/>
                    </a:lnTo>
                    <a:lnTo>
                      <a:pt x="239" y="196"/>
                    </a:lnTo>
                    <a:lnTo>
                      <a:pt x="233" y="205"/>
                    </a:lnTo>
                    <a:lnTo>
                      <a:pt x="231" y="199"/>
                    </a:lnTo>
                    <a:lnTo>
                      <a:pt x="223" y="213"/>
                    </a:lnTo>
                    <a:lnTo>
                      <a:pt x="211" y="233"/>
                    </a:lnTo>
                    <a:lnTo>
                      <a:pt x="201" y="225"/>
                    </a:lnTo>
                    <a:lnTo>
                      <a:pt x="189" y="219"/>
                    </a:lnTo>
                    <a:lnTo>
                      <a:pt x="181" y="219"/>
                    </a:lnTo>
                    <a:lnTo>
                      <a:pt x="170" y="213"/>
                    </a:lnTo>
                    <a:lnTo>
                      <a:pt x="164" y="219"/>
                    </a:lnTo>
                    <a:lnTo>
                      <a:pt x="156" y="190"/>
                    </a:lnTo>
                    <a:lnTo>
                      <a:pt x="142" y="164"/>
                    </a:lnTo>
                    <a:lnTo>
                      <a:pt x="128" y="133"/>
                    </a:lnTo>
                    <a:lnTo>
                      <a:pt x="116" y="115"/>
                    </a:lnTo>
                    <a:lnTo>
                      <a:pt x="106" y="98"/>
                    </a:lnTo>
                    <a:lnTo>
                      <a:pt x="84" y="98"/>
                    </a:lnTo>
                    <a:lnTo>
                      <a:pt x="64" y="107"/>
                    </a:lnTo>
                    <a:lnTo>
                      <a:pt x="54" y="95"/>
                    </a:lnTo>
                    <a:lnTo>
                      <a:pt x="34" y="86"/>
                    </a:lnTo>
                    <a:lnTo>
                      <a:pt x="24" y="78"/>
                    </a:lnTo>
                    <a:lnTo>
                      <a:pt x="24" y="43"/>
                    </a:lnTo>
                    <a:lnTo>
                      <a:pt x="26" y="26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9" name="Freeform 29"/>
              <p:cNvSpPr>
                <a:spLocks/>
              </p:cNvSpPr>
              <p:nvPr/>
            </p:nvSpPr>
            <p:spPr bwMode="auto">
              <a:xfrm>
                <a:off x="4287" y="2358"/>
                <a:ext cx="217" cy="317"/>
              </a:xfrm>
              <a:custGeom>
                <a:avLst/>
                <a:gdLst>
                  <a:gd name="T0" fmla="*/ 0 w 217"/>
                  <a:gd name="T1" fmla="*/ 9 h 317"/>
                  <a:gd name="T2" fmla="*/ 22 w 217"/>
                  <a:gd name="T3" fmla="*/ 0 h 317"/>
                  <a:gd name="T4" fmla="*/ 48 w 217"/>
                  <a:gd name="T5" fmla="*/ 14 h 317"/>
                  <a:gd name="T6" fmla="*/ 52 w 217"/>
                  <a:gd name="T7" fmla="*/ 29 h 317"/>
                  <a:gd name="T8" fmla="*/ 52 w 217"/>
                  <a:gd name="T9" fmla="*/ 34 h 317"/>
                  <a:gd name="T10" fmla="*/ 58 w 217"/>
                  <a:gd name="T11" fmla="*/ 37 h 317"/>
                  <a:gd name="T12" fmla="*/ 58 w 217"/>
                  <a:gd name="T13" fmla="*/ 43 h 317"/>
                  <a:gd name="T14" fmla="*/ 66 w 217"/>
                  <a:gd name="T15" fmla="*/ 46 h 317"/>
                  <a:gd name="T16" fmla="*/ 66 w 217"/>
                  <a:gd name="T17" fmla="*/ 57 h 317"/>
                  <a:gd name="T18" fmla="*/ 92 w 217"/>
                  <a:gd name="T19" fmla="*/ 90 h 317"/>
                  <a:gd name="T20" fmla="*/ 96 w 217"/>
                  <a:gd name="T21" fmla="*/ 90 h 317"/>
                  <a:gd name="T22" fmla="*/ 100 w 217"/>
                  <a:gd name="T23" fmla="*/ 99 h 317"/>
                  <a:gd name="T24" fmla="*/ 104 w 217"/>
                  <a:gd name="T25" fmla="*/ 108 h 317"/>
                  <a:gd name="T26" fmla="*/ 108 w 217"/>
                  <a:gd name="T27" fmla="*/ 108 h 317"/>
                  <a:gd name="T28" fmla="*/ 126 w 217"/>
                  <a:gd name="T29" fmla="*/ 119 h 317"/>
                  <a:gd name="T30" fmla="*/ 160 w 217"/>
                  <a:gd name="T31" fmla="*/ 125 h 317"/>
                  <a:gd name="T32" fmla="*/ 162 w 217"/>
                  <a:gd name="T33" fmla="*/ 165 h 317"/>
                  <a:gd name="T34" fmla="*/ 170 w 217"/>
                  <a:gd name="T35" fmla="*/ 170 h 317"/>
                  <a:gd name="T36" fmla="*/ 168 w 217"/>
                  <a:gd name="T37" fmla="*/ 185 h 317"/>
                  <a:gd name="T38" fmla="*/ 188 w 217"/>
                  <a:gd name="T39" fmla="*/ 205 h 317"/>
                  <a:gd name="T40" fmla="*/ 206 w 217"/>
                  <a:gd name="T41" fmla="*/ 213 h 317"/>
                  <a:gd name="T42" fmla="*/ 206 w 217"/>
                  <a:gd name="T43" fmla="*/ 279 h 317"/>
                  <a:gd name="T44" fmla="*/ 216 w 217"/>
                  <a:gd name="T45" fmla="*/ 305 h 317"/>
                  <a:gd name="T46" fmla="*/ 210 w 217"/>
                  <a:gd name="T47" fmla="*/ 313 h 317"/>
                  <a:gd name="T48" fmla="*/ 198 w 217"/>
                  <a:gd name="T49" fmla="*/ 316 h 317"/>
                  <a:gd name="T50" fmla="*/ 196 w 217"/>
                  <a:gd name="T51" fmla="*/ 293 h 317"/>
                  <a:gd name="T52" fmla="*/ 176 w 217"/>
                  <a:gd name="T53" fmla="*/ 316 h 317"/>
                  <a:gd name="T54" fmla="*/ 162 w 217"/>
                  <a:gd name="T55" fmla="*/ 282 h 317"/>
                  <a:gd name="T56" fmla="*/ 154 w 217"/>
                  <a:gd name="T57" fmla="*/ 259 h 317"/>
                  <a:gd name="T58" fmla="*/ 130 w 217"/>
                  <a:gd name="T59" fmla="*/ 227 h 317"/>
                  <a:gd name="T60" fmla="*/ 124 w 217"/>
                  <a:gd name="T61" fmla="*/ 227 h 317"/>
                  <a:gd name="T62" fmla="*/ 102 w 217"/>
                  <a:gd name="T63" fmla="*/ 210 h 317"/>
                  <a:gd name="T64" fmla="*/ 98 w 217"/>
                  <a:gd name="T65" fmla="*/ 193 h 317"/>
                  <a:gd name="T66" fmla="*/ 98 w 217"/>
                  <a:gd name="T67" fmla="*/ 182 h 317"/>
                  <a:gd name="T68" fmla="*/ 80 w 217"/>
                  <a:gd name="T69" fmla="*/ 136 h 317"/>
                  <a:gd name="T70" fmla="*/ 72 w 217"/>
                  <a:gd name="T71" fmla="*/ 108 h 317"/>
                  <a:gd name="T72" fmla="*/ 50 w 217"/>
                  <a:gd name="T73" fmla="*/ 82 h 317"/>
                  <a:gd name="T74" fmla="*/ 20 w 217"/>
                  <a:gd name="T75" fmla="*/ 43 h 317"/>
                  <a:gd name="T76" fmla="*/ 0 w 217"/>
                  <a:gd name="T77" fmla="*/ 9 h 31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17"/>
                  <a:gd name="T118" fmla="*/ 0 h 317"/>
                  <a:gd name="T119" fmla="*/ 217 w 217"/>
                  <a:gd name="T120" fmla="*/ 317 h 31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17" h="317">
                    <a:moveTo>
                      <a:pt x="0" y="9"/>
                    </a:moveTo>
                    <a:lnTo>
                      <a:pt x="22" y="0"/>
                    </a:lnTo>
                    <a:lnTo>
                      <a:pt x="48" y="14"/>
                    </a:lnTo>
                    <a:lnTo>
                      <a:pt x="52" y="29"/>
                    </a:lnTo>
                    <a:lnTo>
                      <a:pt x="52" y="34"/>
                    </a:lnTo>
                    <a:lnTo>
                      <a:pt x="58" y="37"/>
                    </a:lnTo>
                    <a:lnTo>
                      <a:pt x="58" y="43"/>
                    </a:lnTo>
                    <a:lnTo>
                      <a:pt x="66" y="46"/>
                    </a:lnTo>
                    <a:lnTo>
                      <a:pt x="66" y="57"/>
                    </a:lnTo>
                    <a:lnTo>
                      <a:pt x="92" y="90"/>
                    </a:lnTo>
                    <a:lnTo>
                      <a:pt x="96" y="90"/>
                    </a:lnTo>
                    <a:lnTo>
                      <a:pt x="100" y="99"/>
                    </a:lnTo>
                    <a:lnTo>
                      <a:pt x="104" y="108"/>
                    </a:lnTo>
                    <a:lnTo>
                      <a:pt x="108" y="108"/>
                    </a:lnTo>
                    <a:lnTo>
                      <a:pt x="126" y="119"/>
                    </a:lnTo>
                    <a:lnTo>
                      <a:pt x="160" y="125"/>
                    </a:lnTo>
                    <a:lnTo>
                      <a:pt x="162" y="165"/>
                    </a:lnTo>
                    <a:lnTo>
                      <a:pt x="170" y="170"/>
                    </a:lnTo>
                    <a:lnTo>
                      <a:pt x="168" y="185"/>
                    </a:lnTo>
                    <a:lnTo>
                      <a:pt x="188" y="205"/>
                    </a:lnTo>
                    <a:lnTo>
                      <a:pt x="206" y="213"/>
                    </a:lnTo>
                    <a:lnTo>
                      <a:pt x="206" y="279"/>
                    </a:lnTo>
                    <a:lnTo>
                      <a:pt x="216" y="305"/>
                    </a:lnTo>
                    <a:lnTo>
                      <a:pt x="210" y="313"/>
                    </a:lnTo>
                    <a:lnTo>
                      <a:pt x="198" y="316"/>
                    </a:lnTo>
                    <a:lnTo>
                      <a:pt x="196" y="293"/>
                    </a:lnTo>
                    <a:lnTo>
                      <a:pt x="176" y="316"/>
                    </a:lnTo>
                    <a:lnTo>
                      <a:pt x="162" y="282"/>
                    </a:lnTo>
                    <a:lnTo>
                      <a:pt x="154" y="259"/>
                    </a:lnTo>
                    <a:lnTo>
                      <a:pt x="130" y="227"/>
                    </a:lnTo>
                    <a:lnTo>
                      <a:pt x="124" y="227"/>
                    </a:lnTo>
                    <a:lnTo>
                      <a:pt x="102" y="210"/>
                    </a:lnTo>
                    <a:lnTo>
                      <a:pt x="98" y="193"/>
                    </a:lnTo>
                    <a:lnTo>
                      <a:pt x="98" y="182"/>
                    </a:lnTo>
                    <a:lnTo>
                      <a:pt x="80" y="136"/>
                    </a:lnTo>
                    <a:lnTo>
                      <a:pt x="72" y="108"/>
                    </a:lnTo>
                    <a:lnTo>
                      <a:pt x="50" y="82"/>
                    </a:lnTo>
                    <a:lnTo>
                      <a:pt x="20" y="43"/>
                    </a:lnTo>
                    <a:lnTo>
                      <a:pt x="0" y="9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0" name="Freeform 30"/>
              <p:cNvSpPr>
                <a:spLocks/>
              </p:cNvSpPr>
              <p:nvPr/>
            </p:nvSpPr>
            <p:spPr bwMode="auto">
              <a:xfrm>
                <a:off x="4658" y="2025"/>
                <a:ext cx="212" cy="349"/>
              </a:xfrm>
              <a:custGeom>
                <a:avLst/>
                <a:gdLst>
                  <a:gd name="T0" fmla="*/ 14 w 212"/>
                  <a:gd name="T1" fmla="*/ 0 h 349"/>
                  <a:gd name="T2" fmla="*/ 32 w 212"/>
                  <a:gd name="T3" fmla="*/ 0 h 349"/>
                  <a:gd name="T4" fmla="*/ 52 w 212"/>
                  <a:gd name="T5" fmla="*/ 37 h 349"/>
                  <a:gd name="T6" fmla="*/ 48 w 212"/>
                  <a:gd name="T7" fmla="*/ 71 h 349"/>
                  <a:gd name="T8" fmla="*/ 60 w 212"/>
                  <a:gd name="T9" fmla="*/ 83 h 349"/>
                  <a:gd name="T10" fmla="*/ 66 w 212"/>
                  <a:gd name="T11" fmla="*/ 106 h 349"/>
                  <a:gd name="T12" fmla="*/ 81 w 212"/>
                  <a:gd name="T13" fmla="*/ 117 h 349"/>
                  <a:gd name="T14" fmla="*/ 97 w 212"/>
                  <a:gd name="T15" fmla="*/ 120 h 349"/>
                  <a:gd name="T16" fmla="*/ 121 w 212"/>
                  <a:gd name="T17" fmla="*/ 137 h 349"/>
                  <a:gd name="T18" fmla="*/ 138 w 212"/>
                  <a:gd name="T19" fmla="*/ 157 h 349"/>
                  <a:gd name="T20" fmla="*/ 142 w 212"/>
                  <a:gd name="T21" fmla="*/ 157 h 349"/>
                  <a:gd name="T22" fmla="*/ 162 w 212"/>
                  <a:gd name="T23" fmla="*/ 174 h 349"/>
                  <a:gd name="T24" fmla="*/ 162 w 212"/>
                  <a:gd name="T25" fmla="*/ 217 h 349"/>
                  <a:gd name="T26" fmla="*/ 168 w 212"/>
                  <a:gd name="T27" fmla="*/ 237 h 349"/>
                  <a:gd name="T28" fmla="*/ 174 w 212"/>
                  <a:gd name="T29" fmla="*/ 248 h 349"/>
                  <a:gd name="T30" fmla="*/ 182 w 212"/>
                  <a:gd name="T31" fmla="*/ 260 h 349"/>
                  <a:gd name="T32" fmla="*/ 191 w 212"/>
                  <a:gd name="T33" fmla="*/ 274 h 349"/>
                  <a:gd name="T34" fmla="*/ 195 w 212"/>
                  <a:gd name="T35" fmla="*/ 291 h 349"/>
                  <a:gd name="T36" fmla="*/ 211 w 212"/>
                  <a:gd name="T37" fmla="*/ 305 h 349"/>
                  <a:gd name="T38" fmla="*/ 209 w 212"/>
                  <a:gd name="T39" fmla="*/ 322 h 349"/>
                  <a:gd name="T40" fmla="*/ 193 w 212"/>
                  <a:gd name="T41" fmla="*/ 325 h 349"/>
                  <a:gd name="T42" fmla="*/ 187 w 212"/>
                  <a:gd name="T43" fmla="*/ 311 h 349"/>
                  <a:gd name="T44" fmla="*/ 174 w 212"/>
                  <a:gd name="T45" fmla="*/ 311 h 349"/>
                  <a:gd name="T46" fmla="*/ 174 w 212"/>
                  <a:gd name="T47" fmla="*/ 348 h 349"/>
                  <a:gd name="T48" fmla="*/ 164 w 212"/>
                  <a:gd name="T49" fmla="*/ 348 h 349"/>
                  <a:gd name="T50" fmla="*/ 152 w 212"/>
                  <a:gd name="T51" fmla="*/ 331 h 349"/>
                  <a:gd name="T52" fmla="*/ 144 w 212"/>
                  <a:gd name="T53" fmla="*/ 322 h 349"/>
                  <a:gd name="T54" fmla="*/ 144 w 212"/>
                  <a:gd name="T55" fmla="*/ 302 h 349"/>
                  <a:gd name="T56" fmla="*/ 125 w 212"/>
                  <a:gd name="T57" fmla="*/ 302 h 349"/>
                  <a:gd name="T58" fmla="*/ 119 w 212"/>
                  <a:gd name="T59" fmla="*/ 322 h 349"/>
                  <a:gd name="T60" fmla="*/ 113 w 212"/>
                  <a:gd name="T61" fmla="*/ 302 h 349"/>
                  <a:gd name="T62" fmla="*/ 111 w 212"/>
                  <a:gd name="T63" fmla="*/ 282 h 349"/>
                  <a:gd name="T64" fmla="*/ 134 w 212"/>
                  <a:gd name="T65" fmla="*/ 274 h 349"/>
                  <a:gd name="T66" fmla="*/ 146 w 212"/>
                  <a:gd name="T67" fmla="*/ 280 h 349"/>
                  <a:gd name="T68" fmla="*/ 148 w 212"/>
                  <a:gd name="T69" fmla="*/ 245 h 349"/>
                  <a:gd name="T70" fmla="*/ 136 w 212"/>
                  <a:gd name="T71" fmla="*/ 234 h 349"/>
                  <a:gd name="T72" fmla="*/ 127 w 212"/>
                  <a:gd name="T73" fmla="*/ 205 h 349"/>
                  <a:gd name="T74" fmla="*/ 121 w 212"/>
                  <a:gd name="T75" fmla="*/ 171 h 349"/>
                  <a:gd name="T76" fmla="*/ 99 w 212"/>
                  <a:gd name="T77" fmla="*/ 160 h 349"/>
                  <a:gd name="T78" fmla="*/ 89 w 212"/>
                  <a:gd name="T79" fmla="*/ 145 h 349"/>
                  <a:gd name="T80" fmla="*/ 70 w 212"/>
                  <a:gd name="T81" fmla="*/ 137 h 349"/>
                  <a:gd name="T82" fmla="*/ 81 w 212"/>
                  <a:gd name="T83" fmla="*/ 168 h 349"/>
                  <a:gd name="T84" fmla="*/ 60 w 212"/>
                  <a:gd name="T85" fmla="*/ 183 h 349"/>
                  <a:gd name="T86" fmla="*/ 48 w 212"/>
                  <a:gd name="T87" fmla="*/ 148 h 349"/>
                  <a:gd name="T88" fmla="*/ 38 w 212"/>
                  <a:gd name="T89" fmla="*/ 140 h 349"/>
                  <a:gd name="T90" fmla="*/ 38 w 212"/>
                  <a:gd name="T91" fmla="*/ 120 h 349"/>
                  <a:gd name="T92" fmla="*/ 23 w 212"/>
                  <a:gd name="T93" fmla="*/ 97 h 349"/>
                  <a:gd name="T94" fmla="*/ 8 w 212"/>
                  <a:gd name="T95" fmla="*/ 83 h 349"/>
                  <a:gd name="T96" fmla="*/ 0 w 212"/>
                  <a:gd name="T97" fmla="*/ 68 h 349"/>
                  <a:gd name="T98" fmla="*/ 4 w 212"/>
                  <a:gd name="T99" fmla="*/ 57 h 349"/>
                  <a:gd name="T100" fmla="*/ 16 w 212"/>
                  <a:gd name="T101" fmla="*/ 63 h 349"/>
                  <a:gd name="T102" fmla="*/ 19 w 212"/>
                  <a:gd name="T103" fmla="*/ 48 h 349"/>
                  <a:gd name="T104" fmla="*/ 16 w 212"/>
                  <a:gd name="T105" fmla="*/ 29 h 349"/>
                  <a:gd name="T106" fmla="*/ 14 w 212"/>
                  <a:gd name="T107" fmla="*/ 0 h 34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12"/>
                  <a:gd name="T163" fmla="*/ 0 h 349"/>
                  <a:gd name="T164" fmla="*/ 212 w 212"/>
                  <a:gd name="T165" fmla="*/ 349 h 34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12" h="349">
                    <a:moveTo>
                      <a:pt x="14" y="0"/>
                    </a:moveTo>
                    <a:lnTo>
                      <a:pt x="32" y="0"/>
                    </a:lnTo>
                    <a:lnTo>
                      <a:pt x="52" y="37"/>
                    </a:lnTo>
                    <a:lnTo>
                      <a:pt x="48" y="71"/>
                    </a:lnTo>
                    <a:lnTo>
                      <a:pt x="60" y="83"/>
                    </a:lnTo>
                    <a:lnTo>
                      <a:pt x="66" y="106"/>
                    </a:lnTo>
                    <a:lnTo>
                      <a:pt x="81" y="117"/>
                    </a:lnTo>
                    <a:lnTo>
                      <a:pt x="97" y="120"/>
                    </a:lnTo>
                    <a:lnTo>
                      <a:pt x="121" y="137"/>
                    </a:lnTo>
                    <a:lnTo>
                      <a:pt x="138" y="157"/>
                    </a:lnTo>
                    <a:lnTo>
                      <a:pt x="142" y="157"/>
                    </a:lnTo>
                    <a:lnTo>
                      <a:pt x="162" y="174"/>
                    </a:lnTo>
                    <a:lnTo>
                      <a:pt x="162" y="217"/>
                    </a:lnTo>
                    <a:lnTo>
                      <a:pt x="168" y="237"/>
                    </a:lnTo>
                    <a:lnTo>
                      <a:pt x="174" y="248"/>
                    </a:lnTo>
                    <a:lnTo>
                      <a:pt x="182" y="260"/>
                    </a:lnTo>
                    <a:lnTo>
                      <a:pt x="191" y="274"/>
                    </a:lnTo>
                    <a:lnTo>
                      <a:pt x="195" y="291"/>
                    </a:lnTo>
                    <a:lnTo>
                      <a:pt x="211" y="305"/>
                    </a:lnTo>
                    <a:lnTo>
                      <a:pt x="209" y="322"/>
                    </a:lnTo>
                    <a:lnTo>
                      <a:pt x="193" y="325"/>
                    </a:lnTo>
                    <a:lnTo>
                      <a:pt x="187" y="311"/>
                    </a:lnTo>
                    <a:lnTo>
                      <a:pt x="174" y="311"/>
                    </a:lnTo>
                    <a:lnTo>
                      <a:pt x="174" y="348"/>
                    </a:lnTo>
                    <a:lnTo>
                      <a:pt x="164" y="348"/>
                    </a:lnTo>
                    <a:lnTo>
                      <a:pt x="152" y="331"/>
                    </a:lnTo>
                    <a:lnTo>
                      <a:pt x="144" y="322"/>
                    </a:lnTo>
                    <a:lnTo>
                      <a:pt x="144" y="302"/>
                    </a:lnTo>
                    <a:lnTo>
                      <a:pt x="125" y="302"/>
                    </a:lnTo>
                    <a:lnTo>
                      <a:pt x="119" y="322"/>
                    </a:lnTo>
                    <a:lnTo>
                      <a:pt x="113" y="302"/>
                    </a:lnTo>
                    <a:lnTo>
                      <a:pt x="111" y="282"/>
                    </a:lnTo>
                    <a:lnTo>
                      <a:pt x="134" y="274"/>
                    </a:lnTo>
                    <a:lnTo>
                      <a:pt x="146" y="280"/>
                    </a:lnTo>
                    <a:lnTo>
                      <a:pt x="148" y="245"/>
                    </a:lnTo>
                    <a:lnTo>
                      <a:pt x="136" y="234"/>
                    </a:lnTo>
                    <a:lnTo>
                      <a:pt x="127" y="205"/>
                    </a:lnTo>
                    <a:lnTo>
                      <a:pt x="121" y="171"/>
                    </a:lnTo>
                    <a:lnTo>
                      <a:pt x="99" y="160"/>
                    </a:lnTo>
                    <a:lnTo>
                      <a:pt x="89" y="145"/>
                    </a:lnTo>
                    <a:lnTo>
                      <a:pt x="70" y="137"/>
                    </a:lnTo>
                    <a:lnTo>
                      <a:pt x="81" y="168"/>
                    </a:lnTo>
                    <a:lnTo>
                      <a:pt x="60" y="183"/>
                    </a:lnTo>
                    <a:lnTo>
                      <a:pt x="48" y="148"/>
                    </a:lnTo>
                    <a:lnTo>
                      <a:pt x="38" y="140"/>
                    </a:lnTo>
                    <a:lnTo>
                      <a:pt x="38" y="120"/>
                    </a:lnTo>
                    <a:lnTo>
                      <a:pt x="23" y="97"/>
                    </a:lnTo>
                    <a:lnTo>
                      <a:pt x="8" y="83"/>
                    </a:lnTo>
                    <a:lnTo>
                      <a:pt x="0" y="68"/>
                    </a:lnTo>
                    <a:lnTo>
                      <a:pt x="4" y="57"/>
                    </a:lnTo>
                    <a:lnTo>
                      <a:pt x="16" y="63"/>
                    </a:lnTo>
                    <a:lnTo>
                      <a:pt x="19" y="48"/>
                    </a:lnTo>
                    <a:lnTo>
                      <a:pt x="16" y="29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1" name="Freeform 31"/>
              <p:cNvSpPr>
                <a:spLocks/>
              </p:cNvSpPr>
              <p:nvPr/>
            </p:nvSpPr>
            <p:spPr bwMode="auto">
              <a:xfrm>
                <a:off x="4613" y="1449"/>
                <a:ext cx="157" cy="297"/>
              </a:xfrm>
              <a:custGeom>
                <a:avLst/>
                <a:gdLst>
                  <a:gd name="T0" fmla="*/ 33 w 157"/>
                  <a:gd name="T1" fmla="*/ 0 h 297"/>
                  <a:gd name="T2" fmla="*/ 62 w 157"/>
                  <a:gd name="T3" fmla="*/ 20 h 297"/>
                  <a:gd name="T4" fmla="*/ 81 w 157"/>
                  <a:gd name="T5" fmla="*/ 37 h 297"/>
                  <a:gd name="T6" fmla="*/ 93 w 157"/>
                  <a:gd name="T7" fmla="*/ 63 h 297"/>
                  <a:gd name="T8" fmla="*/ 103 w 157"/>
                  <a:gd name="T9" fmla="*/ 63 h 297"/>
                  <a:gd name="T10" fmla="*/ 101 w 157"/>
                  <a:gd name="T11" fmla="*/ 80 h 297"/>
                  <a:gd name="T12" fmla="*/ 113 w 157"/>
                  <a:gd name="T13" fmla="*/ 92 h 297"/>
                  <a:gd name="T14" fmla="*/ 121 w 157"/>
                  <a:gd name="T15" fmla="*/ 109 h 297"/>
                  <a:gd name="T16" fmla="*/ 142 w 157"/>
                  <a:gd name="T17" fmla="*/ 144 h 297"/>
                  <a:gd name="T18" fmla="*/ 156 w 157"/>
                  <a:gd name="T19" fmla="*/ 184 h 297"/>
                  <a:gd name="T20" fmla="*/ 129 w 157"/>
                  <a:gd name="T21" fmla="*/ 181 h 297"/>
                  <a:gd name="T22" fmla="*/ 109 w 157"/>
                  <a:gd name="T23" fmla="*/ 175 h 297"/>
                  <a:gd name="T24" fmla="*/ 123 w 157"/>
                  <a:gd name="T25" fmla="*/ 204 h 297"/>
                  <a:gd name="T26" fmla="*/ 123 w 157"/>
                  <a:gd name="T27" fmla="*/ 221 h 297"/>
                  <a:gd name="T28" fmla="*/ 123 w 157"/>
                  <a:gd name="T29" fmla="*/ 239 h 297"/>
                  <a:gd name="T30" fmla="*/ 115 w 157"/>
                  <a:gd name="T31" fmla="*/ 230 h 297"/>
                  <a:gd name="T32" fmla="*/ 105 w 157"/>
                  <a:gd name="T33" fmla="*/ 216 h 297"/>
                  <a:gd name="T34" fmla="*/ 87 w 157"/>
                  <a:gd name="T35" fmla="*/ 198 h 297"/>
                  <a:gd name="T36" fmla="*/ 76 w 157"/>
                  <a:gd name="T37" fmla="*/ 190 h 297"/>
                  <a:gd name="T38" fmla="*/ 61 w 157"/>
                  <a:gd name="T39" fmla="*/ 198 h 297"/>
                  <a:gd name="T40" fmla="*/ 51 w 157"/>
                  <a:gd name="T41" fmla="*/ 204 h 297"/>
                  <a:gd name="T42" fmla="*/ 57 w 157"/>
                  <a:gd name="T43" fmla="*/ 218 h 297"/>
                  <a:gd name="T44" fmla="*/ 72 w 157"/>
                  <a:gd name="T45" fmla="*/ 230 h 297"/>
                  <a:gd name="T46" fmla="*/ 89 w 157"/>
                  <a:gd name="T47" fmla="*/ 241 h 297"/>
                  <a:gd name="T48" fmla="*/ 95 w 157"/>
                  <a:gd name="T49" fmla="*/ 262 h 297"/>
                  <a:gd name="T50" fmla="*/ 93 w 157"/>
                  <a:gd name="T51" fmla="*/ 287 h 297"/>
                  <a:gd name="T52" fmla="*/ 93 w 157"/>
                  <a:gd name="T53" fmla="*/ 296 h 297"/>
                  <a:gd name="T54" fmla="*/ 87 w 157"/>
                  <a:gd name="T55" fmla="*/ 296 h 297"/>
                  <a:gd name="T56" fmla="*/ 76 w 157"/>
                  <a:gd name="T57" fmla="*/ 287 h 297"/>
                  <a:gd name="T58" fmla="*/ 72 w 157"/>
                  <a:gd name="T59" fmla="*/ 285 h 297"/>
                  <a:gd name="T60" fmla="*/ 66 w 157"/>
                  <a:gd name="T61" fmla="*/ 279 h 297"/>
                  <a:gd name="T62" fmla="*/ 61 w 157"/>
                  <a:gd name="T63" fmla="*/ 293 h 297"/>
                  <a:gd name="T64" fmla="*/ 51 w 157"/>
                  <a:gd name="T65" fmla="*/ 296 h 297"/>
                  <a:gd name="T66" fmla="*/ 43 w 157"/>
                  <a:gd name="T67" fmla="*/ 285 h 297"/>
                  <a:gd name="T68" fmla="*/ 43 w 157"/>
                  <a:gd name="T69" fmla="*/ 259 h 297"/>
                  <a:gd name="T70" fmla="*/ 41 w 157"/>
                  <a:gd name="T71" fmla="*/ 244 h 297"/>
                  <a:gd name="T72" fmla="*/ 31 w 157"/>
                  <a:gd name="T73" fmla="*/ 236 h 297"/>
                  <a:gd name="T74" fmla="*/ 20 w 157"/>
                  <a:gd name="T75" fmla="*/ 250 h 297"/>
                  <a:gd name="T76" fmla="*/ 4 w 157"/>
                  <a:gd name="T77" fmla="*/ 250 h 297"/>
                  <a:gd name="T78" fmla="*/ 0 w 157"/>
                  <a:gd name="T79" fmla="*/ 239 h 297"/>
                  <a:gd name="T80" fmla="*/ 4 w 157"/>
                  <a:gd name="T81" fmla="*/ 210 h 297"/>
                  <a:gd name="T82" fmla="*/ 16 w 157"/>
                  <a:gd name="T83" fmla="*/ 193 h 297"/>
                  <a:gd name="T84" fmla="*/ 14 w 157"/>
                  <a:gd name="T85" fmla="*/ 147 h 297"/>
                  <a:gd name="T86" fmla="*/ 14 w 157"/>
                  <a:gd name="T87" fmla="*/ 135 h 297"/>
                  <a:gd name="T88" fmla="*/ 27 w 157"/>
                  <a:gd name="T89" fmla="*/ 132 h 297"/>
                  <a:gd name="T90" fmla="*/ 37 w 157"/>
                  <a:gd name="T91" fmla="*/ 144 h 297"/>
                  <a:gd name="T92" fmla="*/ 55 w 157"/>
                  <a:gd name="T93" fmla="*/ 149 h 297"/>
                  <a:gd name="T94" fmla="*/ 55 w 157"/>
                  <a:gd name="T95" fmla="*/ 129 h 297"/>
                  <a:gd name="T96" fmla="*/ 47 w 157"/>
                  <a:gd name="T97" fmla="*/ 118 h 297"/>
                  <a:gd name="T98" fmla="*/ 43 w 157"/>
                  <a:gd name="T99" fmla="*/ 109 h 297"/>
                  <a:gd name="T100" fmla="*/ 49 w 157"/>
                  <a:gd name="T101" fmla="*/ 109 h 297"/>
                  <a:gd name="T102" fmla="*/ 53 w 157"/>
                  <a:gd name="T103" fmla="*/ 109 h 297"/>
                  <a:gd name="T104" fmla="*/ 57 w 157"/>
                  <a:gd name="T105" fmla="*/ 109 h 297"/>
                  <a:gd name="T106" fmla="*/ 61 w 157"/>
                  <a:gd name="T107" fmla="*/ 109 h 297"/>
                  <a:gd name="T108" fmla="*/ 66 w 157"/>
                  <a:gd name="T109" fmla="*/ 101 h 297"/>
                  <a:gd name="T110" fmla="*/ 64 w 157"/>
                  <a:gd name="T111" fmla="*/ 92 h 297"/>
                  <a:gd name="T112" fmla="*/ 59 w 157"/>
                  <a:gd name="T113" fmla="*/ 72 h 297"/>
                  <a:gd name="T114" fmla="*/ 47 w 157"/>
                  <a:gd name="T115" fmla="*/ 52 h 297"/>
                  <a:gd name="T116" fmla="*/ 31 w 157"/>
                  <a:gd name="T117" fmla="*/ 40 h 297"/>
                  <a:gd name="T118" fmla="*/ 24 w 157"/>
                  <a:gd name="T119" fmla="*/ 29 h 297"/>
                  <a:gd name="T120" fmla="*/ 33 w 157"/>
                  <a:gd name="T121" fmla="*/ 0 h 29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57"/>
                  <a:gd name="T184" fmla="*/ 0 h 297"/>
                  <a:gd name="T185" fmla="*/ 157 w 157"/>
                  <a:gd name="T186" fmla="*/ 297 h 29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57" h="297">
                    <a:moveTo>
                      <a:pt x="33" y="0"/>
                    </a:moveTo>
                    <a:lnTo>
                      <a:pt x="62" y="20"/>
                    </a:lnTo>
                    <a:lnTo>
                      <a:pt x="81" y="37"/>
                    </a:lnTo>
                    <a:lnTo>
                      <a:pt x="93" y="63"/>
                    </a:lnTo>
                    <a:lnTo>
                      <a:pt x="103" y="63"/>
                    </a:lnTo>
                    <a:lnTo>
                      <a:pt x="101" y="80"/>
                    </a:lnTo>
                    <a:lnTo>
                      <a:pt x="113" y="92"/>
                    </a:lnTo>
                    <a:lnTo>
                      <a:pt x="121" y="109"/>
                    </a:lnTo>
                    <a:lnTo>
                      <a:pt x="142" y="144"/>
                    </a:lnTo>
                    <a:lnTo>
                      <a:pt x="156" y="184"/>
                    </a:lnTo>
                    <a:lnTo>
                      <a:pt x="129" y="181"/>
                    </a:lnTo>
                    <a:lnTo>
                      <a:pt x="109" y="175"/>
                    </a:lnTo>
                    <a:lnTo>
                      <a:pt x="123" y="204"/>
                    </a:lnTo>
                    <a:lnTo>
                      <a:pt x="123" y="221"/>
                    </a:lnTo>
                    <a:lnTo>
                      <a:pt x="123" y="239"/>
                    </a:lnTo>
                    <a:lnTo>
                      <a:pt x="115" y="230"/>
                    </a:lnTo>
                    <a:lnTo>
                      <a:pt x="105" y="216"/>
                    </a:lnTo>
                    <a:lnTo>
                      <a:pt x="87" y="198"/>
                    </a:lnTo>
                    <a:lnTo>
                      <a:pt x="76" y="190"/>
                    </a:lnTo>
                    <a:lnTo>
                      <a:pt x="61" y="198"/>
                    </a:lnTo>
                    <a:lnTo>
                      <a:pt x="51" y="204"/>
                    </a:lnTo>
                    <a:lnTo>
                      <a:pt x="57" y="218"/>
                    </a:lnTo>
                    <a:lnTo>
                      <a:pt x="72" y="230"/>
                    </a:lnTo>
                    <a:lnTo>
                      <a:pt x="89" y="241"/>
                    </a:lnTo>
                    <a:lnTo>
                      <a:pt x="95" y="262"/>
                    </a:lnTo>
                    <a:lnTo>
                      <a:pt x="93" y="287"/>
                    </a:lnTo>
                    <a:lnTo>
                      <a:pt x="93" y="296"/>
                    </a:lnTo>
                    <a:lnTo>
                      <a:pt x="87" y="296"/>
                    </a:lnTo>
                    <a:lnTo>
                      <a:pt x="76" y="287"/>
                    </a:lnTo>
                    <a:lnTo>
                      <a:pt x="72" y="285"/>
                    </a:lnTo>
                    <a:lnTo>
                      <a:pt x="66" y="279"/>
                    </a:lnTo>
                    <a:lnTo>
                      <a:pt x="61" y="293"/>
                    </a:lnTo>
                    <a:lnTo>
                      <a:pt x="51" y="296"/>
                    </a:lnTo>
                    <a:lnTo>
                      <a:pt x="43" y="285"/>
                    </a:lnTo>
                    <a:lnTo>
                      <a:pt x="43" y="259"/>
                    </a:lnTo>
                    <a:lnTo>
                      <a:pt x="41" y="244"/>
                    </a:lnTo>
                    <a:lnTo>
                      <a:pt x="31" y="236"/>
                    </a:lnTo>
                    <a:lnTo>
                      <a:pt x="20" y="250"/>
                    </a:lnTo>
                    <a:lnTo>
                      <a:pt x="4" y="250"/>
                    </a:lnTo>
                    <a:lnTo>
                      <a:pt x="0" y="239"/>
                    </a:lnTo>
                    <a:lnTo>
                      <a:pt x="4" y="210"/>
                    </a:lnTo>
                    <a:lnTo>
                      <a:pt x="16" y="193"/>
                    </a:lnTo>
                    <a:lnTo>
                      <a:pt x="14" y="147"/>
                    </a:lnTo>
                    <a:lnTo>
                      <a:pt x="14" y="135"/>
                    </a:lnTo>
                    <a:lnTo>
                      <a:pt x="27" y="132"/>
                    </a:lnTo>
                    <a:lnTo>
                      <a:pt x="37" y="144"/>
                    </a:lnTo>
                    <a:lnTo>
                      <a:pt x="55" y="149"/>
                    </a:lnTo>
                    <a:lnTo>
                      <a:pt x="55" y="129"/>
                    </a:lnTo>
                    <a:lnTo>
                      <a:pt x="47" y="118"/>
                    </a:lnTo>
                    <a:lnTo>
                      <a:pt x="43" y="109"/>
                    </a:lnTo>
                    <a:lnTo>
                      <a:pt x="49" y="109"/>
                    </a:lnTo>
                    <a:lnTo>
                      <a:pt x="53" y="109"/>
                    </a:lnTo>
                    <a:lnTo>
                      <a:pt x="57" y="109"/>
                    </a:lnTo>
                    <a:lnTo>
                      <a:pt x="61" y="109"/>
                    </a:lnTo>
                    <a:lnTo>
                      <a:pt x="66" y="101"/>
                    </a:lnTo>
                    <a:lnTo>
                      <a:pt x="64" y="92"/>
                    </a:lnTo>
                    <a:lnTo>
                      <a:pt x="59" y="72"/>
                    </a:lnTo>
                    <a:lnTo>
                      <a:pt x="47" y="52"/>
                    </a:lnTo>
                    <a:lnTo>
                      <a:pt x="31" y="40"/>
                    </a:lnTo>
                    <a:lnTo>
                      <a:pt x="24" y="29"/>
                    </a:lnTo>
                    <a:lnTo>
                      <a:pt x="3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2" name="Freeform 32"/>
              <p:cNvSpPr>
                <a:spLocks/>
              </p:cNvSpPr>
              <p:nvPr/>
            </p:nvSpPr>
            <p:spPr bwMode="auto">
              <a:xfrm>
                <a:off x="4442" y="1102"/>
                <a:ext cx="173" cy="245"/>
              </a:xfrm>
              <a:custGeom>
                <a:avLst/>
                <a:gdLst>
                  <a:gd name="T0" fmla="*/ 0 w 173"/>
                  <a:gd name="T1" fmla="*/ 0 h 245"/>
                  <a:gd name="T2" fmla="*/ 16 w 173"/>
                  <a:gd name="T3" fmla="*/ 0 h 245"/>
                  <a:gd name="T4" fmla="*/ 23 w 173"/>
                  <a:gd name="T5" fmla="*/ 17 h 245"/>
                  <a:gd name="T6" fmla="*/ 45 w 173"/>
                  <a:gd name="T7" fmla="*/ 43 h 245"/>
                  <a:gd name="T8" fmla="*/ 55 w 173"/>
                  <a:gd name="T9" fmla="*/ 72 h 245"/>
                  <a:gd name="T10" fmla="*/ 72 w 173"/>
                  <a:gd name="T11" fmla="*/ 75 h 245"/>
                  <a:gd name="T12" fmla="*/ 84 w 173"/>
                  <a:gd name="T13" fmla="*/ 80 h 245"/>
                  <a:gd name="T14" fmla="*/ 94 w 173"/>
                  <a:gd name="T15" fmla="*/ 92 h 245"/>
                  <a:gd name="T16" fmla="*/ 106 w 173"/>
                  <a:gd name="T17" fmla="*/ 92 h 245"/>
                  <a:gd name="T18" fmla="*/ 121 w 173"/>
                  <a:gd name="T19" fmla="*/ 109 h 245"/>
                  <a:gd name="T20" fmla="*/ 133 w 173"/>
                  <a:gd name="T21" fmla="*/ 123 h 245"/>
                  <a:gd name="T22" fmla="*/ 147 w 173"/>
                  <a:gd name="T23" fmla="*/ 132 h 245"/>
                  <a:gd name="T24" fmla="*/ 145 w 173"/>
                  <a:gd name="T25" fmla="*/ 141 h 245"/>
                  <a:gd name="T26" fmla="*/ 137 w 173"/>
                  <a:gd name="T27" fmla="*/ 146 h 245"/>
                  <a:gd name="T28" fmla="*/ 129 w 173"/>
                  <a:gd name="T29" fmla="*/ 146 h 245"/>
                  <a:gd name="T30" fmla="*/ 125 w 173"/>
                  <a:gd name="T31" fmla="*/ 155 h 245"/>
                  <a:gd name="T32" fmla="*/ 141 w 173"/>
                  <a:gd name="T33" fmla="*/ 172 h 245"/>
                  <a:gd name="T34" fmla="*/ 154 w 173"/>
                  <a:gd name="T35" fmla="*/ 189 h 245"/>
                  <a:gd name="T36" fmla="*/ 172 w 173"/>
                  <a:gd name="T37" fmla="*/ 207 h 245"/>
                  <a:gd name="T38" fmla="*/ 160 w 173"/>
                  <a:gd name="T39" fmla="*/ 227 h 245"/>
                  <a:gd name="T40" fmla="*/ 149 w 173"/>
                  <a:gd name="T41" fmla="*/ 233 h 245"/>
                  <a:gd name="T42" fmla="*/ 152 w 173"/>
                  <a:gd name="T43" fmla="*/ 244 h 245"/>
                  <a:gd name="T44" fmla="*/ 133 w 173"/>
                  <a:gd name="T45" fmla="*/ 244 h 245"/>
                  <a:gd name="T46" fmla="*/ 127 w 173"/>
                  <a:gd name="T47" fmla="*/ 235 h 245"/>
                  <a:gd name="T48" fmla="*/ 113 w 173"/>
                  <a:gd name="T49" fmla="*/ 212 h 245"/>
                  <a:gd name="T50" fmla="*/ 102 w 173"/>
                  <a:gd name="T51" fmla="*/ 192 h 245"/>
                  <a:gd name="T52" fmla="*/ 86 w 173"/>
                  <a:gd name="T53" fmla="*/ 158 h 245"/>
                  <a:gd name="T54" fmla="*/ 68 w 173"/>
                  <a:gd name="T55" fmla="*/ 132 h 245"/>
                  <a:gd name="T56" fmla="*/ 47 w 173"/>
                  <a:gd name="T57" fmla="*/ 95 h 245"/>
                  <a:gd name="T58" fmla="*/ 35 w 173"/>
                  <a:gd name="T59" fmla="*/ 83 h 245"/>
                  <a:gd name="T60" fmla="*/ 25 w 173"/>
                  <a:gd name="T61" fmla="*/ 75 h 245"/>
                  <a:gd name="T62" fmla="*/ 20 w 173"/>
                  <a:gd name="T63" fmla="*/ 55 h 245"/>
                  <a:gd name="T64" fmla="*/ 2 w 173"/>
                  <a:gd name="T65" fmla="*/ 37 h 245"/>
                  <a:gd name="T66" fmla="*/ 2 w 173"/>
                  <a:gd name="T67" fmla="*/ 26 h 245"/>
                  <a:gd name="T68" fmla="*/ 0 w 173"/>
                  <a:gd name="T69" fmla="*/ 0 h 2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3"/>
                  <a:gd name="T106" fmla="*/ 0 h 245"/>
                  <a:gd name="T107" fmla="*/ 173 w 173"/>
                  <a:gd name="T108" fmla="*/ 245 h 24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3" h="245">
                    <a:moveTo>
                      <a:pt x="0" y="0"/>
                    </a:moveTo>
                    <a:lnTo>
                      <a:pt x="16" y="0"/>
                    </a:lnTo>
                    <a:lnTo>
                      <a:pt x="23" y="17"/>
                    </a:lnTo>
                    <a:lnTo>
                      <a:pt x="45" y="43"/>
                    </a:lnTo>
                    <a:lnTo>
                      <a:pt x="55" y="72"/>
                    </a:lnTo>
                    <a:lnTo>
                      <a:pt x="72" y="75"/>
                    </a:lnTo>
                    <a:lnTo>
                      <a:pt x="84" y="80"/>
                    </a:lnTo>
                    <a:lnTo>
                      <a:pt x="94" y="92"/>
                    </a:lnTo>
                    <a:lnTo>
                      <a:pt x="106" y="92"/>
                    </a:lnTo>
                    <a:lnTo>
                      <a:pt x="121" y="109"/>
                    </a:lnTo>
                    <a:lnTo>
                      <a:pt x="133" y="123"/>
                    </a:lnTo>
                    <a:lnTo>
                      <a:pt x="147" y="132"/>
                    </a:lnTo>
                    <a:lnTo>
                      <a:pt x="145" y="141"/>
                    </a:lnTo>
                    <a:lnTo>
                      <a:pt x="137" y="146"/>
                    </a:lnTo>
                    <a:lnTo>
                      <a:pt x="129" y="146"/>
                    </a:lnTo>
                    <a:lnTo>
                      <a:pt x="125" y="155"/>
                    </a:lnTo>
                    <a:lnTo>
                      <a:pt x="141" y="172"/>
                    </a:lnTo>
                    <a:lnTo>
                      <a:pt x="154" y="189"/>
                    </a:lnTo>
                    <a:lnTo>
                      <a:pt x="172" y="207"/>
                    </a:lnTo>
                    <a:lnTo>
                      <a:pt x="160" y="227"/>
                    </a:lnTo>
                    <a:lnTo>
                      <a:pt x="149" y="233"/>
                    </a:lnTo>
                    <a:lnTo>
                      <a:pt x="152" y="244"/>
                    </a:lnTo>
                    <a:lnTo>
                      <a:pt x="133" y="244"/>
                    </a:lnTo>
                    <a:lnTo>
                      <a:pt x="127" y="235"/>
                    </a:lnTo>
                    <a:lnTo>
                      <a:pt x="113" y="212"/>
                    </a:lnTo>
                    <a:lnTo>
                      <a:pt x="102" y="192"/>
                    </a:lnTo>
                    <a:lnTo>
                      <a:pt x="86" y="158"/>
                    </a:lnTo>
                    <a:lnTo>
                      <a:pt x="68" y="132"/>
                    </a:lnTo>
                    <a:lnTo>
                      <a:pt x="47" y="95"/>
                    </a:lnTo>
                    <a:lnTo>
                      <a:pt x="35" y="83"/>
                    </a:lnTo>
                    <a:lnTo>
                      <a:pt x="25" y="75"/>
                    </a:lnTo>
                    <a:lnTo>
                      <a:pt x="20" y="55"/>
                    </a:lnTo>
                    <a:lnTo>
                      <a:pt x="2" y="37"/>
                    </a:lnTo>
                    <a:lnTo>
                      <a:pt x="2" y="26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6677229" y="2291128"/>
              <a:ext cx="1173023" cy="937867"/>
            </a:xfrm>
            <a:custGeom>
              <a:avLst/>
              <a:gdLst>
                <a:gd name="T0" fmla="*/ 218483919 w 1268"/>
                <a:gd name="T1" fmla="*/ 531436915 h 1555"/>
                <a:gd name="T2" fmla="*/ 175644165 w 1268"/>
                <a:gd name="T3" fmla="*/ 372006027 h 1555"/>
                <a:gd name="T4" fmla="*/ 389842842 w 1268"/>
                <a:gd name="T5" fmla="*/ 240063558 h 1555"/>
                <a:gd name="T6" fmla="*/ 486232551 w 1268"/>
                <a:gd name="T7" fmla="*/ 137441210 h 1555"/>
                <a:gd name="T8" fmla="*/ 651166378 w 1268"/>
                <a:gd name="T9" fmla="*/ 115450136 h 1555"/>
                <a:gd name="T10" fmla="*/ 1169528343 w 1268"/>
                <a:gd name="T11" fmla="*/ 120947566 h 1555"/>
                <a:gd name="T12" fmla="*/ 1435135703 w 1268"/>
                <a:gd name="T13" fmla="*/ 172258719 h 1555"/>
                <a:gd name="T14" fmla="*/ 1334462170 w 1268"/>
                <a:gd name="T15" fmla="*/ 166761289 h 1555"/>
                <a:gd name="T16" fmla="*/ 1265918052 w 1268"/>
                <a:gd name="T17" fmla="*/ 5497431 h 1555"/>
                <a:gd name="T18" fmla="*/ 1396579820 w 1268"/>
                <a:gd name="T19" fmla="*/ 0 h 1555"/>
                <a:gd name="T20" fmla="*/ 1497253353 w 1268"/>
                <a:gd name="T21" fmla="*/ 71469320 h 1555"/>
                <a:gd name="T22" fmla="*/ 1651477253 w 1268"/>
                <a:gd name="T23" fmla="*/ 188752405 h 1555"/>
                <a:gd name="T24" fmla="*/ 1623631662 w 1268"/>
                <a:gd name="T25" fmla="*/ 62306034 h 1555"/>
                <a:gd name="T26" fmla="*/ 1904231676 w 1268"/>
                <a:gd name="T27" fmla="*/ 183253621 h 1555"/>
                <a:gd name="T28" fmla="*/ 1908516964 w 1268"/>
                <a:gd name="T29" fmla="*/ 234564774 h 1555"/>
                <a:gd name="T30" fmla="*/ 1824978728 w 1268"/>
                <a:gd name="T31" fmla="*/ 362842741 h 1555"/>
                <a:gd name="T32" fmla="*/ 1752150786 w 1268"/>
                <a:gd name="T33" fmla="*/ 573584782 h 1555"/>
                <a:gd name="T34" fmla="*/ 2013474321 w 1268"/>
                <a:gd name="T35" fmla="*/ 690867804 h 1555"/>
                <a:gd name="T36" fmla="*/ 2019899326 w 1268"/>
                <a:gd name="T37" fmla="*/ 875954438 h 1555"/>
                <a:gd name="T38" fmla="*/ 2058455210 w 1268"/>
                <a:gd name="T39" fmla="*/ 731184265 h 1555"/>
                <a:gd name="T40" fmla="*/ 2058455210 w 1268"/>
                <a:gd name="T41" fmla="*/ 465465046 h 1555"/>
                <a:gd name="T42" fmla="*/ 2147483647 w 1268"/>
                <a:gd name="T43" fmla="*/ 536934345 h 1555"/>
                <a:gd name="T44" fmla="*/ 2147483647 w 1268"/>
                <a:gd name="T45" fmla="*/ 459967616 h 1555"/>
                <a:gd name="T46" fmla="*/ 2147483647 w 1268"/>
                <a:gd name="T47" fmla="*/ 654217367 h 1555"/>
                <a:gd name="T48" fmla="*/ 2147483647 w 1268"/>
                <a:gd name="T49" fmla="*/ 824643285 h 1555"/>
                <a:gd name="T50" fmla="*/ 2147483647 w 1268"/>
                <a:gd name="T51" fmla="*/ 890615154 h 1555"/>
                <a:gd name="T52" fmla="*/ 2147483647 w 1268"/>
                <a:gd name="T53" fmla="*/ 947423737 h 1555"/>
                <a:gd name="T54" fmla="*/ 2147483647 w 1268"/>
                <a:gd name="T55" fmla="*/ 984074173 h 1555"/>
                <a:gd name="T56" fmla="*/ 2147483647 w 1268"/>
                <a:gd name="T57" fmla="*/ 1136176057 h 1555"/>
                <a:gd name="T58" fmla="*/ 2147483647 w 1268"/>
                <a:gd name="T59" fmla="*/ 1145337990 h 1555"/>
                <a:gd name="T60" fmla="*/ 2147483647 w 1268"/>
                <a:gd name="T61" fmla="*/ 1207644003 h 1555"/>
                <a:gd name="T62" fmla="*/ 2147483647 w 1268"/>
                <a:gd name="T63" fmla="*/ 1341420668 h 1555"/>
                <a:gd name="T64" fmla="*/ 2147483647 w 1268"/>
                <a:gd name="T65" fmla="*/ 1541166834 h 1555"/>
                <a:gd name="T66" fmla="*/ 2147483647 w 1268"/>
                <a:gd name="T67" fmla="*/ 1843536320 h 1555"/>
                <a:gd name="T68" fmla="*/ 2147483647 w 1268"/>
                <a:gd name="T69" fmla="*/ 2098260510 h 1555"/>
                <a:gd name="T70" fmla="*/ 2147483647 w 1268"/>
                <a:gd name="T71" fmla="*/ 1926000480 h 1555"/>
                <a:gd name="T72" fmla="*/ 2028468439 w 1268"/>
                <a:gd name="T73" fmla="*/ 1849033751 h 1555"/>
                <a:gd name="T74" fmla="*/ 1917084613 w 1268"/>
                <a:gd name="T75" fmla="*/ 1900344903 h 1555"/>
                <a:gd name="T76" fmla="*/ 1732872844 w 1268"/>
                <a:gd name="T77" fmla="*/ 1926000480 h 1555"/>
                <a:gd name="T78" fmla="*/ 1636483135 w 1268"/>
                <a:gd name="T79" fmla="*/ 2114752800 h 1555"/>
                <a:gd name="T80" fmla="*/ 1848540495 w 1268"/>
                <a:gd name="T81" fmla="*/ 2147483647 h 1555"/>
                <a:gd name="T82" fmla="*/ 1882812554 w 1268"/>
                <a:gd name="T83" fmla="*/ 2147483647 h 1555"/>
                <a:gd name="T84" fmla="*/ 2004906672 w 1268"/>
                <a:gd name="T85" fmla="*/ 2147483647 h 1555"/>
                <a:gd name="T86" fmla="*/ 2071308147 w 1268"/>
                <a:gd name="T87" fmla="*/ 2147483647 h 1555"/>
                <a:gd name="T88" fmla="*/ 2122715503 w 1268"/>
                <a:gd name="T89" fmla="*/ 2147483647 h 1555"/>
                <a:gd name="T90" fmla="*/ 2147483647 w 1268"/>
                <a:gd name="T91" fmla="*/ 2147483647 h 1555"/>
                <a:gd name="T92" fmla="*/ 2147483647 w 1268"/>
                <a:gd name="T93" fmla="*/ 2147483647 h 1555"/>
                <a:gd name="T94" fmla="*/ 2147483647 w 1268"/>
                <a:gd name="T95" fmla="*/ 2147483647 h 1555"/>
                <a:gd name="T96" fmla="*/ 2105580206 w 1268"/>
                <a:gd name="T97" fmla="*/ 2147483647 h 1555"/>
                <a:gd name="T98" fmla="*/ 1949214028 w 1268"/>
                <a:gd name="T99" fmla="*/ 2147483647 h 1555"/>
                <a:gd name="T100" fmla="*/ 1835689021 w 1268"/>
                <a:gd name="T101" fmla="*/ 2147483647 h 1555"/>
                <a:gd name="T102" fmla="*/ 1655761077 w 1268"/>
                <a:gd name="T103" fmla="*/ 2147483647 h 1555"/>
                <a:gd name="T104" fmla="*/ 1338745995 w 1268"/>
                <a:gd name="T105" fmla="*/ 2147483647 h 1555"/>
                <a:gd name="T106" fmla="*/ 1077422459 w 1268"/>
                <a:gd name="T107" fmla="*/ 1783061882 h 1555"/>
                <a:gd name="T108" fmla="*/ 1167387163 w 1268"/>
                <a:gd name="T109" fmla="*/ 2144072879 h 1555"/>
                <a:gd name="T110" fmla="*/ 998169512 w 1268"/>
                <a:gd name="T111" fmla="*/ 1894847473 h 1555"/>
                <a:gd name="T112" fmla="*/ 843945978 w 1268"/>
                <a:gd name="T113" fmla="*/ 1401893753 h 1555"/>
                <a:gd name="T114" fmla="*/ 861081276 w 1268"/>
                <a:gd name="T115" fmla="*/ 1044548612 h 1555"/>
                <a:gd name="T116" fmla="*/ 805390094 w 1268"/>
                <a:gd name="T117" fmla="*/ 767834702 h 1555"/>
                <a:gd name="T118" fmla="*/ 760407560 w 1268"/>
                <a:gd name="T119" fmla="*/ 602906214 h 1555"/>
                <a:gd name="T120" fmla="*/ 655450202 w 1268"/>
                <a:gd name="T121" fmla="*/ 505781339 h 1555"/>
                <a:gd name="T122" fmla="*/ 434825194 w 1268"/>
                <a:gd name="T123" fmla="*/ 531436915 h 1555"/>
                <a:gd name="T124" fmla="*/ 267748632 w 1268"/>
                <a:gd name="T125" fmla="*/ 634059221 h 1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68"/>
                <a:gd name="T190" fmla="*/ 0 h 1555"/>
                <a:gd name="T191" fmla="*/ 1268 w 1268"/>
                <a:gd name="T192" fmla="*/ 1555 h 1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68" h="1555">
                  <a:moveTo>
                    <a:pt x="0" y="399"/>
                  </a:moveTo>
                  <a:lnTo>
                    <a:pt x="61" y="346"/>
                  </a:lnTo>
                  <a:lnTo>
                    <a:pt x="96" y="324"/>
                  </a:lnTo>
                  <a:lnTo>
                    <a:pt x="102" y="290"/>
                  </a:lnTo>
                  <a:lnTo>
                    <a:pt x="74" y="271"/>
                  </a:lnTo>
                  <a:lnTo>
                    <a:pt x="72" y="231"/>
                  </a:lnTo>
                  <a:lnTo>
                    <a:pt x="84" y="220"/>
                  </a:lnTo>
                  <a:lnTo>
                    <a:pt x="82" y="203"/>
                  </a:lnTo>
                  <a:lnTo>
                    <a:pt x="129" y="198"/>
                  </a:lnTo>
                  <a:lnTo>
                    <a:pt x="141" y="167"/>
                  </a:lnTo>
                  <a:lnTo>
                    <a:pt x="143" y="139"/>
                  </a:lnTo>
                  <a:lnTo>
                    <a:pt x="182" y="131"/>
                  </a:lnTo>
                  <a:lnTo>
                    <a:pt x="186" y="103"/>
                  </a:lnTo>
                  <a:lnTo>
                    <a:pt x="149" y="94"/>
                  </a:lnTo>
                  <a:lnTo>
                    <a:pt x="166" y="75"/>
                  </a:lnTo>
                  <a:lnTo>
                    <a:pt x="227" y="75"/>
                  </a:lnTo>
                  <a:lnTo>
                    <a:pt x="244" y="52"/>
                  </a:lnTo>
                  <a:lnTo>
                    <a:pt x="269" y="49"/>
                  </a:lnTo>
                  <a:lnTo>
                    <a:pt x="284" y="34"/>
                  </a:lnTo>
                  <a:lnTo>
                    <a:pt x="304" y="63"/>
                  </a:lnTo>
                  <a:lnTo>
                    <a:pt x="380" y="58"/>
                  </a:lnTo>
                  <a:lnTo>
                    <a:pt x="415" y="91"/>
                  </a:lnTo>
                  <a:lnTo>
                    <a:pt x="529" y="83"/>
                  </a:lnTo>
                  <a:lnTo>
                    <a:pt x="546" y="66"/>
                  </a:lnTo>
                  <a:lnTo>
                    <a:pt x="590" y="94"/>
                  </a:lnTo>
                  <a:lnTo>
                    <a:pt x="634" y="119"/>
                  </a:lnTo>
                  <a:lnTo>
                    <a:pt x="656" y="108"/>
                  </a:lnTo>
                  <a:lnTo>
                    <a:pt x="670" y="94"/>
                  </a:lnTo>
                  <a:lnTo>
                    <a:pt x="707" y="103"/>
                  </a:lnTo>
                  <a:lnTo>
                    <a:pt x="681" y="83"/>
                  </a:lnTo>
                  <a:lnTo>
                    <a:pt x="658" y="86"/>
                  </a:lnTo>
                  <a:lnTo>
                    <a:pt x="623" y="91"/>
                  </a:lnTo>
                  <a:lnTo>
                    <a:pt x="605" y="63"/>
                  </a:lnTo>
                  <a:lnTo>
                    <a:pt x="586" y="49"/>
                  </a:lnTo>
                  <a:lnTo>
                    <a:pt x="586" y="28"/>
                  </a:lnTo>
                  <a:lnTo>
                    <a:pt x="591" y="3"/>
                  </a:lnTo>
                  <a:lnTo>
                    <a:pt x="607" y="0"/>
                  </a:lnTo>
                  <a:lnTo>
                    <a:pt x="629" y="22"/>
                  </a:lnTo>
                  <a:lnTo>
                    <a:pt x="634" y="11"/>
                  </a:lnTo>
                  <a:lnTo>
                    <a:pt x="652" y="0"/>
                  </a:lnTo>
                  <a:lnTo>
                    <a:pt x="674" y="17"/>
                  </a:lnTo>
                  <a:lnTo>
                    <a:pt x="685" y="3"/>
                  </a:lnTo>
                  <a:lnTo>
                    <a:pt x="697" y="25"/>
                  </a:lnTo>
                  <a:lnTo>
                    <a:pt x="699" y="39"/>
                  </a:lnTo>
                  <a:lnTo>
                    <a:pt x="730" y="58"/>
                  </a:lnTo>
                  <a:lnTo>
                    <a:pt x="719" y="75"/>
                  </a:lnTo>
                  <a:lnTo>
                    <a:pt x="719" y="97"/>
                  </a:lnTo>
                  <a:lnTo>
                    <a:pt x="771" y="103"/>
                  </a:lnTo>
                  <a:lnTo>
                    <a:pt x="785" y="75"/>
                  </a:lnTo>
                  <a:lnTo>
                    <a:pt x="775" y="61"/>
                  </a:lnTo>
                  <a:lnTo>
                    <a:pt x="752" y="63"/>
                  </a:lnTo>
                  <a:lnTo>
                    <a:pt x="758" y="34"/>
                  </a:lnTo>
                  <a:lnTo>
                    <a:pt x="805" y="49"/>
                  </a:lnTo>
                  <a:lnTo>
                    <a:pt x="814" y="72"/>
                  </a:lnTo>
                  <a:lnTo>
                    <a:pt x="853" y="72"/>
                  </a:lnTo>
                  <a:lnTo>
                    <a:pt x="889" y="100"/>
                  </a:lnTo>
                  <a:lnTo>
                    <a:pt x="908" y="94"/>
                  </a:lnTo>
                  <a:lnTo>
                    <a:pt x="930" y="119"/>
                  </a:lnTo>
                  <a:lnTo>
                    <a:pt x="908" y="153"/>
                  </a:lnTo>
                  <a:lnTo>
                    <a:pt x="891" y="128"/>
                  </a:lnTo>
                  <a:lnTo>
                    <a:pt x="879" y="136"/>
                  </a:lnTo>
                  <a:lnTo>
                    <a:pt x="863" y="156"/>
                  </a:lnTo>
                  <a:lnTo>
                    <a:pt x="838" y="173"/>
                  </a:lnTo>
                  <a:lnTo>
                    <a:pt x="852" y="198"/>
                  </a:lnTo>
                  <a:lnTo>
                    <a:pt x="828" y="201"/>
                  </a:lnTo>
                  <a:lnTo>
                    <a:pt x="809" y="234"/>
                  </a:lnTo>
                  <a:lnTo>
                    <a:pt x="789" y="276"/>
                  </a:lnTo>
                  <a:lnTo>
                    <a:pt x="818" y="313"/>
                  </a:lnTo>
                  <a:lnTo>
                    <a:pt x="842" y="355"/>
                  </a:lnTo>
                  <a:lnTo>
                    <a:pt x="883" y="360"/>
                  </a:lnTo>
                  <a:lnTo>
                    <a:pt x="922" y="355"/>
                  </a:lnTo>
                  <a:lnTo>
                    <a:pt x="940" y="377"/>
                  </a:lnTo>
                  <a:lnTo>
                    <a:pt x="932" y="388"/>
                  </a:lnTo>
                  <a:lnTo>
                    <a:pt x="920" y="411"/>
                  </a:lnTo>
                  <a:lnTo>
                    <a:pt x="938" y="450"/>
                  </a:lnTo>
                  <a:lnTo>
                    <a:pt x="943" y="478"/>
                  </a:lnTo>
                  <a:lnTo>
                    <a:pt x="965" y="492"/>
                  </a:lnTo>
                  <a:lnTo>
                    <a:pt x="993" y="467"/>
                  </a:lnTo>
                  <a:lnTo>
                    <a:pt x="986" y="430"/>
                  </a:lnTo>
                  <a:lnTo>
                    <a:pt x="961" y="399"/>
                  </a:lnTo>
                  <a:lnTo>
                    <a:pt x="989" y="363"/>
                  </a:lnTo>
                  <a:lnTo>
                    <a:pt x="965" y="301"/>
                  </a:lnTo>
                  <a:lnTo>
                    <a:pt x="941" y="276"/>
                  </a:lnTo>
                  <a:lnTo>
                    <a:pt x="961" y="254"/>
                  </a:lnTo>
                  <a:lnTo>
                    <a:pt x="957" y="220"/>
                  </a:lnTo>
                  <a:lnTo>
                    <a:pt x="971" y="201"/>
                  </a:lnTo>
                  <a:lnTo>
                    <a:pt x="993" y="220"/>
                  </a:lnTo>
                  <a:lnTo>
                    <a:pt x="1048" y="293"/>
                  </a:lnTo>
                  <a:lnTo>
                    <a:pt x="1081" y="304"/>
                  </a:lnTo>
                  <a:lnTo>
                    <a:pt x="1091" y="285"/>
                  </a:lnTo>
                  <a:lnTo>
                    <a:pt x="1083" y="245"/>
                  </a:lnTo>
                  <a:lnTo>
                    <a:pt x="1103" y="251"/>
                  </a:lnTo>
                  <a:lnTo>
                    <a:pt x="1136" y="296"/>
                  </a:lnTo>
                  <a:lnTo>
                    <a:pt x="1142" y="321"/>
                  </a:lnTo>
                  <a:lnTo>
                    <a:pt x="1161" y="338"/>
                  </a:lnTo>
                  <a:lnTo>
                    <a:pt x="1201" y="357"/>
                  </a:lnTo>
                  <a:lnTo>
                    <a:pt x="1220" y="394"/>
                  </a:lnTo>
                  <a:lnTo>
                    <a:pt x="1249" y="419"/>
                  </a:lnTo>
                  <a:lnTo>
                    <a:pt x="1265" y="427"/>
                  </a:lnTo>
                  <a:lnTo>
                    <a:pt x="1267" y="450"/>
                  </a:lnTo>
                  <a:lnTo>
                    <a:pt x="1244" y="464"/>
                  </a:lnTo>
                  <a:lnTo>
                    <a:pt x="1230" y="447"/>
                  </a:lnTo>
                  <a:lnTo>
                    <a:pt x="1218" y="450"/>
                  </a:lnTo>
                  <a:lnTo>
                    <a:pt x="1214" y="486"/>
                  </a:lnTo>
                  <a:lnTo>
                    <a:pt x="1195" y="495"/>
                  </a:lnTo>
                  <a:lnTo>
                    <a:pt x="1173" y="475"/>
                  </a:lnTo>
                  <a:lnTo>
                    <a:pt x="1128" y="475"/>
                  </a:lnTo>
                  <a:lnTo>
                    <a:pt x="1122" y="517"/>
                  </a:lnTo>
                  <a:lnTo>
                    <a:pt x="1134" y="542"/>
                  </a:lnTo>
                  <a:lnTo>
                    <a:pt x="1152" y="528"/>
                  </a:lnTo>
                  <a:lnTo>
                    <a:pt x="1169" y="523"/>
                  </a:lnTo>
                  <a:lnTo>
                    <a:pt x="1187" y="537"/>
                  </a:lnTo>
                  <a:lnTo>
                    <a:pt x="1163" y="567"/>
                  </a:lnTo>
                  <a:lnTo>
                    <a:pt x="1187" y="594"/>
                  </a:lnTo>
                  <a:lnTo>
                    <a:pt x="1218" y="603"/>
                  </a:lnTo>
                  <a:lnTo>
                    <a:pt x="1214" y="620"/>
                  </a:lnTo>
                  <a:lnTo>
                    <a:pt x="1202" y="622"/>
                  </a:lnTo>
                  <a:lnTo>
                    <a:pt x="1173" y="718"/>
                  </a:lnTo>
                  <a:lnTo>
                    <a:pt x="1175" y="656"/>
                  </a:lnTo>
                  <a:lnTo>
                    <a:pt x="1189" y="625"/>
                  </a:lnTo>
                  <a:lnTo>
                    <a:pt x="1173" y="611"/>
                  </a:lnTo>
                  <a:lnTo>
                    <a:pt x="1156" y="631"/>
                  </a:lnTo>
                  <a:lnTo>
                    <a:pt x="1165" y="648"/>
                  </a:lnTo>
                  <a:lnTo>
                    <a:pt x="1152" y="659"/>
                  </a:lnTo>
                  <a:lnTo>
                    <a:pt x="1138" y="673"/>
                  </a:lnTo>
                  <a:lnTo>
                    <a:pt x="1140" y="715"/>
                  </a:lnTo>
                  <a:lnTo>
                    <a:pt x="1120" y="729"/>
                  </a:lnTo>
                  <a:lnTo>
                    <a:pt x="1093" y="732"/>
                  </a:lnTo>
                  <a:lnTo>
                    <a:pt x="1103" y="754"/>
                  </a:lnTo>
                  <a:lnTo>
                    <a:pt x="1093" y="779"/>
                  </a:lnTo>
                  <a:lnTo>
                    <a:pt x="1103" y="799"/>
                  </a:lnTo>
                  <a:lnTo>
                    <a:pt x="1087" y="841"/>
                  </a:lnTo>
                  <a:lnTo>
                    <a:pt x="1081" y="880"/>
                  </a:lnTo>
                  <a:lnTo>
                    <a:pt x="1058" y="903"/>
                  </a:lnTo>
                  <a:lnTo>
                    <a:pt x="1028" y="964"/>
                  </a:lnTo>
                  <a:lnTo>
                    <a:pt x="1025" y="1006"/>
                  </a:lnTo>
                  <a:lnTo>
                    <a:pt x="1034" y="1040"/>
                  </a:lnTo>
                  <a:lnTo>
                    <a:pt x="1048" y="1082"/>
                  </a:lnTo>
                  <a:lnTo>
                    <a:pt x="1056" y="1127"/>
                  </a:lnTo>
                  <a:lnTo>
                    <a:pt x="1042" y="1145"/>
                  </a:lnTo>
                  <a:lnTo>
                    <a:pt x="1025" y="1131"/>
                  </a:lnTo>
                  <a:lnTo>
                    <a:pt x="1028" y="1110"/>
                  </a:lnTo>
                  <a:lnTo>
                    <a:pt x="1019" y="1059"/>
                  </a:lnTo>
                  <a:lnTo>
                    <a:pt x="1007" y="1051"/>
                  </a:lnTo>
                  <a:lnTo>
                    <a:pt x="999" y="1020"/>
                  </a:lnTo>
                  <a:lnTo>
                    <a:pt x="984" y="1020"/>
                  </a:lnTo>
                  <a:lnTo>
                    <a:pt x="967" y="1003"/>
                  </a:lnTo>
                  <a:lnTo>
                    <a:pt x="947" y="1009"/>
                  </a:lnTo>
                  <a:lnTo>
                    <a:pt x="930" y="998"/>
                  </a:lnTo>
                  <a:lnTo>
                    <a:pt x="908" y="1012"/>
                  </a:lnTo>
                  <a:lnTo>
                    <a:pt x="869" y="1001"/>
                  </a:lnTo>
                  <a:lnTo>
                    <a:pt x="895" y="1037"/>
                  </a:lnTo>
                  <a:lnTo>
                    <a:pt x="863" y="1034"/>
                  </a:lnTo>
                  <a:lnTo>
                    <a:pt x="842" y="1006"/>
                  </a:lnTo>
                  <a:lnTo>
                    <a:pt x="803" y="1006"/>
                  </a:lnTo>
                  <a:lnTo>
                    <a:pt x="809" y="1051"/>
                  </a:lnTo>
                  <a:lnTo>
                    <a:pt x="779" y="1037"/>
                  </a:lnTo>
                  <a:lnTo>
                    <a:pt x="764" y="1082"/>
                  </a:lnTo>
                  <a:lnTo>
                    <a:pt x="775" y="1101"/>
                  </a:lnTo>
                  <a:lnTo>
                    <a:pt x="764" y="1154"/>
                  </a:lnTo>
                  <a:lnTo>
                    <a:pt x="777" y="1215"/>
                  </a:lnTo>
                  <a:lnTo>
                    <a:pt x="793" y="1257"/>
                  </a:lnTo>
                  <a:lnTo>
                    <a:pt x="810" y="1296"/>
                  </a:lnTo>
                  <a:lnTo>
                    <a:pt x="863" y="1294"/>
                  </a:lnTo>
                  <a:lnTo>
                    <a:pt x="885" y="1285"/>
                  </a:lnTo>
                  <a:lnTo>
                    <a:pt x="889" y="1257"/>
                  </a:lnTo>
                  <a:lnTo>
                    <a:pt x="877" y="1235"/>
                  </a:lnTo>
                  <a:lnTo>
                    <a:pt x="879" y="1215"/>
                  </a:lnTo>
                  <a:lnTo>
                    <a:pt x="912" y="1221"/>
                  </a:lnTo>
                  <a:lnTo>
                    <a:pt x="945" y="1210"/>
                  </a:lnTo>
                  <a:lnTo>
                    <a:pt x="945" y="1235"/>
                  </a:lnTo>
                  <a:lnTo>
                    <a:pt x="936" y="1271"/>
                  </a:lnTo>
                  <a:lnTo>
                    <a:pt x="920" y="1299"/>
                  </a:lnTo>
                  <a:lnTo>
                    <a:pt x="916" y="1338"/>
                  </a:lnTo>
                  <a:lnTo>
                    <a:pt x="938" y="1355"/>
                  </a:lnTo>
                  <a:lnTo>
                    <a:pt x="967" y="1350"/>
                  </a:lnTo>
                  <a:lnTo>
                    <a:pt x="984" y="1364"/>
                  </a:lnTo>
                  <a:lnTo>
                    <a:pt x="999" y="1358"/>
                  </a:lnTo>
                  <a:lnTo>
                    <a:pt x="1005" y="1383"/>
                  </a:lnTo>
                  <a:lnTo>
                    <a:pt x="991" y="1420"/>
                  </a:lnTo>
                  <a:lnTo>
                    <a:pt x="1003" y="1442"/>
                  </a:lnTo>
                  <a:lnTo>
                    <a:pt x="1005" y="1487"/>
                  </a:lnTo>
                  <a:lnTo>
                    <a:pt x="1025" y="1518"/>
                  </a:lnTo>
                  <a:lnTo>
                    <a:pt x="1050" y="1526"/>
                  </a:lnTo>
                  <a:lnTo>
                    <a:pt x="1068" y="1518"/>
                  </a:lnTo>
                  <a:lnTo>
                    <a:pt x="1075" y="1520"/>
                  </a:lnTo>
                  <a:lnTo>
                    <a:pt x="1109" y="1520"/>
                  </a:lnTo>
                  <a:lnTo>
                    <a:pt x="1138" y="1523"/>
                  </a:lnTo>
                  <a:lnTo>
                    <a:pt x="1146" y="1504"/>
                  </a:lnTo>
                  <a:lnTo>
                    <a:pt x="1120" y="1537"/>
                  </a:lnTo>
                  <a:lnTo>
                    <a:pt x="1103" y="1534"/>
                  </a:lnTo>
                  <a:lnTo>
                    <a:pt x="1085" y="1537"/>
                  </a:lnTo>
                  <a:lnTo>
                    <a:pt x="1050" y="1554"/>
                  </a:lnTo>
                  <a:lnTo>
                    <a:pt x="1021" y="1532"/>
                  </a:lnTo>
                  <a:lnTo>
                    <a:pt x="993" y="1518"/>
                  </a:lnTo>
                  <a:lnTo>
                    <a:pt x="983" y="1520"/>
                  </a:lnTo>
                  <a:lnTo>
                    <a:pt x="984" y="1501"/>
                  </a:lnTo>
                  <a:lnTo>
                    <a:pt x="983" y="1470"/>
                  </a:lnTo>
                  <a:lnTo>
                    <a:pt x="959" y="1442"/>
                  </a:lnTo>
                  <a:lnTo>
                    <a:pt x="910" y="1425"/>
                  </a:lnTo>
                  <a:lnTo>
                    <a:pt x="902" y="1414"/>
                  </a:lnTo>
                  <a:lnTo>
                    <a:pt x="889" y="1417"/>
                  </a:lnTo>
                  <a:lnTo>
                    <a:pt x="875" y="1403"/>
                  </a:lnTo>
                  <a:lnTo>
                    <a:pt x="857" y="1389"/>
                  </a:lnTo>
                  <a:lnTo>
                    <a:pt x="834" y="1350"/>
                  </a:lnTo>
                  <a:lnTo>
                    <a:pt x="807" y="1338"/>
                  </a:lnTo>
                  <a:lnTo>
                    <a:pt x="791" y="1364"/>
                  </a:lnTo>
                  <a:lnTo>
                    <a:pt x="773" y="1344"/>
                  </a:lnTo>
                  <a:lnTo>
                    <a:pt x="752" y="1344"/>
                  </a:lnTo>
                  <a:lnTo>
                    <a:pt x="709" y="1330"/>
                  </a:lnTo>
                  <a:lnTo>
                    <a:pt x="631" y="1263"/>
                  </a:lnTo>
                  <a:lnTo>
                    <a:pt x="625" y="1193"/>
                  </a:lnTo>
                  <a:lnTo>
                    <a:pt x="617" y="1165"/>
                  </a:lnTo>
                  <a:lnTo>
                    <a:pt x="603" y="1145"/>
                  </a:lnTo>
                  <a:lnTo>
                    <a:pt x="586" y="1107"/>
                  </a:lnTo>
                  <a:lnTo>
                    <a:pt x="503" y="973"/>
                  </a:lnTo>
                  <a:lnTo>
                    <a:pt x="503" y="1023"/>
                  </a:lnTo>
                  <a:lnTo>
                    <a:pt x="554" y="1113"/>
                  </a:lnTo>
                  <a:lnTo>
                    <a:pt x="576" y="1187"/>
                  </a:lnTo>
                  <a:lnTo>
                    <a:pt x="545" y="1170"/>
                  </a:lnTo>
                  <a:lnTo>
                    <a:pt x="539" y="1127"/>
                  </a:lnTo>
                  <a:lnTo>
                    <a:pt x="498" y="1099"/>
                  </a:lnTo>
                  <a:lnTo>
                    <a:pt x="521" y="1082"/>
                  </a:lnTo>
                  <a:lnTo>
                    <a:pt x="466" y="1034"/>
                  </a:lnTo>
                  <a:lnTo>
                    <a:pt x="488" y="1006"/>
                  </a:lnTo>
                  <a:lnTo>
                    <a:pt x="468" y="950"/>
                  </a:lnTo>
                  <a:lnTo>
                    <a:pt x="402" y="833"/>
                  </a:lnTo>
                  <a:lnTo>
                    <a:pt x="394" y="765"/>
                  </a:lnTo>
                  <a:lnTo>
                    <a:pt x="398" y="715"/>
                  </a:lnTo>
                  <a:lnTo>
                    <a:pt x="415" y="659"/>
                  </a:lnTo>
                  <a:lnTo>
                    <a:pt x="415" y="603"/>
                  </a:lnTo>
                  <a:lnTo>
                    <a:pt x="402" y="570"/>
                  </a:lnTo>
                  <a:lnTo>
                    <a:pt x="439" y="559"/>
                  </a:lnTo>
                  <a:lnTo>
                    <a:pt x="394" y="492"/>
                  </a:lnTo>
                  <a:lnTo>
                    <a:pt x="396" y="461"/>
                  </a:lnTo>
                  <a:lnTo>
                    <a:pt x="376" y="419"/>
                  </a:lnTo>
                  <a:lnTo>
                    <a:pt x="384" y="394"/>
                  </a:lnTo>
                  <a:lnTo>
                    <a:pt x="371" y="380"/>
                  </a:lnTo>
                  <a:lnTo>
                    <a:pt x="369" y="352"/>
                  </a:lnTo>
                  <a:lnTo>
                    <a:pt x="355" y="329"/>
                  </a:lnTo>
                  <a:lnTo>
                    <a:pt x="371" y="310"/>
                  </a:lnTo>
                  <a:lnTo>
                    <a:pt x="349" y="296"/>
                  </a:lnTo>
                  <a:lnTo>
                    <a:pt x="331" y="315"/>
                  </a:lnTo>
                  <a:lnTo>
                    <a:pt x="306" y="276"/>
                  </a:lnTo>
                  <a:lnTo>
                    <a:pt x="279" y="265"/>
                  </a:lnTo>
                  <a:lnTo>
                    <a:pt x="241" y="265"/>
                  </a:lnTo>
                  <a:lnTo>
                    <a:pt x="215" y="301"/>
                  </a:lnTo>
                  <a:lnTo>
                    <a:pt x="203" y="290"/>
                  </a:lnTo>
                  <a:lnTo>
                    <a:pt x="225" y="243"/>
                  </a:lnTo>
                  <a:lnTo>
                    <a:pt x="205" y="251"/>
                  </a:lnTo>
                  <a:lnTo>
                    <a:pt x="166" y="301"/>
                  </a:lnTo>
                  <a:lnTo>
                    <a:pt x="125" y="346"/>
                  </a:lnTo>
                  <a:lnTo>
                    <a:pt x="88" y="357"/>
                  </a:lnTo>
                  <a:lnTo>
                    <a:pt x="25" y="402"/>
                  </a:lnTo>
                  <a:lnTo>
                    <a:pt x="0" y="399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7430814" y="2289006"/>
              <a:ext cx="259891" cy="130849"/>
            </a:xfrm>
            <a:custGeom>
              <a:avLst/>
              <a:gdLst>
                <a:gd name="T0" fmla="*/ 21409685 w 281"/>
                <a:gd name="T1" fmla="*/ 0 h 217"/>
                <a:gd name="T2" fmla="*/ 0 w 281"/>
                <a:gd name="T3" fmla="*/ 31139050 h 217"/>
                <a:gd name="T4" fmla="*/ 0 w 281"/>
                <a:gd name="T5" fmla="*/ 69604058 h 217"/>
                <a:gd name="T6" fmla="*/ 42819369 w 281"/>
                <a:gd name="T7" fmla="*/ 104406774 h 217"/>
                <a:gd name="T8" fmla="*/ 68511873 w 281"/>
                <a:gd name="T9" fmla="*/ 95248312 h 217"/>
                <a:gd name="T10" fmla="*/ 77076037 w 281"/>
                <a:gd name="T11" fmla="*/ 109901580 h 217"/>
                <a:gd name="T12" fmla="*/ 100626414 w 281"/>
                <a:gd name="T13" fmla="*/ 115396386 h 217"/>
                <a:gd name="T14" fmla="*/ 117754743 w 281"/>
                <a:gd name="T15" fmla="*/ 89753506 h 217"/>
                <a:gd name="T16" fmla="*/ 177700966 w 281"/>
                <a:gd name="T17" fmla="*/ 95248312 h 217"/>
                <a:gd name="T18" fmla="*/ 186265130 w 281"/>
                <a:gd name="T19" fmla="*/ 120891192 h 217"/>
                <a:gd name="T20" fmla="*/ 207674855 w 281"/>
                <a:gd name="T21" fmla="*/ 130049654 h 217"/>
                <a:gd name="T22" fmla="*/ 259058377 w 281"/>
                <a:gd name="T23" fmla="*/ 124554847 h 217"/>
                <a:gd name="T24" fmla="*/ 276186705 w 281"/>
                <a:gd name="T25" fmla="*/ 141040619 h 217"/>
                <a:gd name="T26" fmla="*/ 301879198 w 281"/>
                <a:gd name="T27" fmla="*/ 157525038 h 217"/>
                <a:gd name="T28" fmla="*/ 321146738 w 281"/>
                <a:gd name="T29" fmla="*/ 188664120 h 217"/>
                <a:gd name="T30" fmla="*/ 321146738 w 281"/>
                <a:gd name="T31" fmla="*/ 230794125 h 217"/>
                <a:gd name="T32" fmla="*/ 304019873 w 281"/>
                <a:gd name="T33" fmla="*/ 241783738 h 217"/>
                <a:gd name="T34" fmla="*/ 312584037 w 281"/>
                <a:gd name="T35" fmla="*/ 258269510 h 217"/>
                <a:gd name="T36" fmla="*/ 289032220 w 281"/>
                <a:gd name="T37" fmla="*/ 283912390 h 217"/>
                <a:gd name="T38" fmla="*/ 289032220 w 281"/>
                <a:gd name="T39" fmla="*/ 320546236 h 217"/>
                <a:gd name="T40" fmla="*/ 325429552 w 281"/>
                <a:gd name="T41" fmla="*/ 326041042 h 217"/>
                <a:gd name="T42" fmla="*/ 346839231 w 281"/>
                <a:gd name="T43" fmla="*/ 316882580 h 217"/>
                <a:gd name="T44" fmla="*/ 355403395 w 281"/>
                <a:gd name="T45" fmla="*/ 300398162 h 217"/>
                <a:gd name="T46" fmla="*/ 368248910 w 281"/>
                <a:gd name="T47" fmla="*/ 316882580 h 217"/>
                <a:gd name="T48" fmla="*/ 387518005 w 281"/>
                <a:gd name="T49" fmla="*/ 305892968 h 217"/>
                <a:gd name="T50" fmla="*/ 434620176 w 281"/>
                <a:gd name="T51" fmla="*/ 326041042 h 217"/>
                <a:gd name="T52" fmla="*/ 464594019 w 281"/>
                <a:gd name="T53" fmla="*/ 364507477 h 217"/>
                <a:gd name="T54" fmla="*/ 473156720 w 281"/>
                <a:gd name="T55" fmla="*/ 364507477 h 217"/>
                <a:gd name="T56" fmla="*/ 477439534 w 281"/>
                <a:gd name="T57" fmla="*/ 384655551 h 217"/>
                <a:gd name="T58" fmla="*/ 505271239 w 281"/>
                <a:gd name="T59" fmla="*/ 395646516 h 217"/>
                <a:gd name="T60" fmla="*/ 539527895 w 281"/>
                <a:gd name="T61" fmla="*/ 395646516 h 217"/>
                <a:gd name="T62" fmla="*/ 518118217 w 281"/>
                <a:gd name="T63" fmla="*/ 373665938 h 217"/>
                <a:gd name="T64" fmla="*/ 526682381 w 281"/>
                <a:gd name="T65" fmla="*/ 353516426 h 217"/>
                <a:gd name="T66" fmla="*/ 552373410 w 281"/>
                <a:gd name="T67" fmla="*/ 373665938 h 217"/>
                <a:gd name="T68" fmla="*/ 582347253 w 281"/>
                <a:gd name="T69" fmla="*/ 379160744 h 217"/>
                <a:gd name="T70" fmla="*/ 586630067 w 281"/>
                <a:gd name="T71" fmla="*/ 348021620 h 217"/>
                <a:gd name="T72" fmla="*/ 556656224 w 281"/>
                <a:gd name="T73" fmla="*/ 320546236 h 217"/>
                <a:gd name="T74" fmla="*/ 535245082 w 281"/>
                <a:gd name="T75" fmla="*/ 320546236 h 217"/>
                <a:gd name="T76" fmla="*/ 505271239 w 281"/>
                <a:gd name="T77" fmla="*/ 294903356 h 217"/>
                <a:gd name="T78" fmla="*/ 535245082 w 281"/>
                <a:gd name="T79" fmla="*/ 294903356 h 217"/>
                <a:gd name="T80" fmla="*/ 556656224 w 281"/>
                <a:gd name="T81" fmla="*/ 311387774 h 217"/>
                <a:gd name="T82" fmla="*/ 599475582 w 281"/>
                <a:gd name="T83" fmla="*/ 311387774 h 217"/>
                <a:gd name="T84" fmla="*/ 590911417 w 281"/>
                <a:gd name="T85" fmla="*/ 278417584 h 217"/>
                <a:gd name="T86" fmla="*/ 552373410 w 281"/>
                <a:gd name="T87" fmla="*/ 247278544 h 217"/>
                <a:gd name="T88" fmla="*/ 526682381 w 281"/>
                <a:gd name="T89" fmla="*/ 241783738 h 217"/>
                <a:gd name="T90" fmla="*/ 490285049 w 281"/>
                <a:gd name="T91" fmla="*/ 205149892 h 217"/>
                <a:gd name="T92" fmla="*/ 443182877 w 281"/>
                <a:gd name="T93" fmla="*/ 194158926 h 217"/>
                <a:gd name="T94" fmla="*/ 404646333 w 281"/>
                <a:gd name="T95" fmla="*/ 177674508 h 217"/>
                <a:gd name="T96" fmla="*/ 374672399 w 281"/>
                <a:gd name="T97" fmla="*/ 130049654 h 217"/>
                <a:gd name="T98" fmla="*/ 355403395 w 281"/>
                <a:gd name="T99" fmla="*/ 75098864 h 217"/>
                <a:gd name="T100" fmla="*/ 325429552 w 281"/>
                <a:gd name="T101" fmla="*/ 75098864 h 217"/>
                <a:gd name="T102" fmla="*/ 316865388 w 281"/>
                <a:gd name="T103" fmla="*/ 58614445 h 217"/>
                <a:gd name="T104" fmla="*/ 301879198 w 281"/>
                <a:gd name="T105" fmla="*/ 64109251 h 217"/>
                <a:gd name="T106" fmla="*/ 271905355 w 281"/>
                <a:gd name="T107" fmla="*/ 36633856 h 217"/>
                <a:gd name="T108" fmla="*/ 220521833 w 281"/>
                <a:gd name="T109" fmla="*/ 25644244 h 217"/>
                <a:gd name="T110" fmla="*/ 199112154 w 281"/>
                <a:gd name="T111" fmla="*/ 42128663 h 217"/>
                <a:gd name="T112" fmla="*/ 152009936 w 281"/>
                <a:gd name="T113" fmla="*/ 25644244 h 217"/>
                <a:gd name="T114" fmla="*/ 122036093 w 281"/>
                <a:gd name="T115" fmla="*/ 25644244 h 217"/>
                <a:gd name="T116" fmla="*/ 109190579 w 281"/>
                <a:gd name="T117" fmla="*/ 5494808 h 217"/>
                <a:gd name="T118" fmla="*/ 98485739 w 281"/>
                <a:gd name="T119" fmla="*/ 0 h 217"/>
                <a:gd name="T120" fmla="*/ 77076037 w 281"/>
                <a:gd name="T121" fmla="*/ 5494808 h 217"/>
                <a:gd name="T122" fmla="*/ 21409685 w 281"/>
                <a:gd name="T123" fmla="*/ 0 h 2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1"/>
                <a:gd name="T187" fmla="*/ 0 h 217"/>
                <a:gd name="T188" fmla="*/ 281 w 281"/>
                <a:gd name="T189" fmla="*/ 217 h 21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1" h="217">
                  <a:moveTo>
                    <a:pt x="10" y="0"/>
                  </a:moveTo>
                  <a:lnTo>
                    <a:pt x="0" y="17"/>
                  </a:lnTo>
                  <a:lnTo>
                    <a:pt x="0" y="38"/>
                  </a:lnTo>
                  <a:lnTo>
                    <a:pt x="20" y="57"/>
                  </a:lnTo>
                  <a:lnTo>
                    <a:pt x="32" y="52"/>
                  </a:lnTo>
                  <a:lnTo>
                    <a:pt x="36" y="60"/>
                  </a:lnTo>
                  <a:lnTo>
                    <a:pt x="47" y="63"/>
                  </a:lnTo>
                  <a:lnTo>
                    <a:pt x="55" y="49"/>
                  </a:lnTo>
                  <a:lnTo>
                    <a:pt x="83" y="52"/>
                  </a:lnTo>
                  <a:lnTo>
                    <a:pt x="87" y="66"/>
                  </a:lnTo>
                  <a:lnTo>
                    <a:pt x="97" y="71"/>
                  </a:lnTo>
                  <a:lnTo>
                    <a:pt x="121" y="68"/>
                  </a:lnTo>
                  <a:lnTo>
                    <a:pt x="129" y="77"/>
                  </a:lnTo>
                  <a:lnTo>
                    <a:pt x="141" y="86"/>
                  </a:lnTo>
                  <a:lnTo>
                    <a:pt x="150" y="103"/>
                  </a:lnTo>
                  <a:lnTo>
                    <a:pt x="150" y="126"/>
                  </a:lnTo>
                  <a:lnTo>
                    <a:pt x="142" y="132"/>
                  </a:lnTo>
                  <a:lnTo>
                    <a:pt x="146" y="141"/>
                  </a:lnTo>
                  <a:lnTo>
                    <a:pt x="135" y="155"/>
                  </a:lnTo>
                  <a:lnTo>
                    <a:pt x="135" y="175"/>
                  </a:lnTo>
                  <a:lnTo>
                    <a:pt x="152" y="178"/>
                  </a:lnTo>
                  <a:lnTo>
                    <a:pt x="162" y="173"/>
                  </a:lnTo>
                  <a:lnTo>
                    <a:pt x="166" y="164"/>
                  </a:lnTo>
                  <a:lnTo>
                    <a:pt x="172" y="173"/>
                  </a:lnTo>
                  <a:lnTo>
                    <a:pt x="181" y="167"/>
                  </a:lnTo>
                  <a:lnTo>
                    <a:pt x="203" y="178"/>
                  </a:lnTo>
                  <a:lnTo>
                    <a:pt x="217" y="199"/>
                  </a:lnTo>
                  <a:lnTo>
                    <a:pt x="221" y="199"/>
                  </a:lnTo>
                  <a:lnTo>
                    <a:pt x="223" y="210"/>
                  </a:lnTo>
                  <a:lnTo>
                    <a:pt x="236" y="216"/>
                  </a:lnTo>
                  <a:lnTo>
                    <a:pt x="252" y="216"/>
                  </a:lnTo>
                  <a:lnTo>
                    <a:pt x="242" y="204"/>
                  </a:lnTo>
                  <a:lnTo>
                    <a:pt x="246" y="193"/>
                  </a:lnTo>
                  <a:lnTo>
                    <a:pt x="258" y="204"/>
                  </a:lnTo>
                  <a:lnTo>
                    <a:pt x="272" y="207"/>
                  </a:lnTo>
                  <a:lnTo>
                    <a:pt x="274" y="190"/>
                  </a:lnTo>
                  <a:lnTo>
                    <a:pt x="260" y="175"/>
                  </a:lnTo>
                  <a:lnTo>
                    <a:pt x="250" y="175"/>
                  </a:lnTo>
                  <a:lnTo>
                    <a:pt x="236" y="161"/>
                  </a:lnTo>
                  <a:lnTo>
                    <a:pt x="250" y="161"/>
                  </a:lnTo>
                  <a:lnTo>
                    <a:pt x="260" y="170"/>
                  </a:lnTo>
                  <a:lnTo>
                    <a:pt x="280" y="170"/>
                  </a:lnTo>
                  <a:lnTo>
                    <a:pt x="276" y="152"/>
                  </a:lnTo>
                  <a:lnTo>
                    <a:pt x="258" y="135"/>
                  </a:lnTo>
                  <a:lnTo>
                    <a:pt x="246" y="132"/>
                  </a:lnTo>
                  <a:lnTo>
                    <a:pt x="229" y="112"/>
                  </a:lnTo>
                  <a:lnTo>
                    <a:pt x="207" y="106"/>
                  </a:lnTo>
                  <a:lnTo>
                    <a:pt x="189" y="97"/>
                  </a:lnTo>
                  <a:lnTo>
                    <a:pt x="175" y="71"/>
                  </a:lnTo>
                  <a:lnTo>
                    <a:pt x="166" y="41"/>
                  </a:lnTo>
                  <a:lnTo>
                    <a:pt x="152" y="41"/>
                  </a:lnTo>
                  <a:lnTo>
                    <a:pt x="148" y="32"/>
                  </a:lnTo>
                  <a:lnTo>
                    <a:pt x="141" y="35"/>
                  </a:lnTo>
                  <a:lnTo>
                    <a:pt x="127" y="20"/>
                  </a:lnTo>
                  <a:lnTo>
                    <a:pt x="103" y="14"/>
                  </a:lnTo>
                  <a:lnTo>
                    <a:pt x="93" y="23"/>
                  </a:lnTo>
                  <a:lnTo>
                    <a:pt x="71" y="14"/>
                  </a:lnTo>
                  <a:lnTo>
                    <a:pt x="57" y="14"/>
                  </a:lnTo>
                  <a:lnTo>
                    <a:pt x="51" y="3"/>
                  </a:lnTo>
                  <a:lnTo>
                    <a:pt x="46" y="0"/>
                  </a:lnTo>
                  <a:lnTo>
                    <a:pt x="36" y="3"/>
                  </a:lnTo>
                  <a:lnTo>
                    <a:pt x="10" y="0"/>
                  </a:lnTo>
                </a:path>
              </a:pathLst>
            </a:custGeom>
            <a:solidFill>
              <a:schemeClr val="bg1"/>
            </a:solidFill>
            <a:ln w="1905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" name="Freeform 35"/>
            <p:cNvSpPr>
              <a:spLocks/>
            </p:cNvSpPr>
            <p:nvPr/>
          </p:nvSpPr>
          <p:spPr bwMode="auto">
            <a:xfrm>
              <a:off x="7575310" y="2991345"/>
              <a:ext cx="186640" cy="63656"/>
            </a:xfrm>
            <a:custGeom>
              <a:avLst/>
              <a:gdLst>
                <a:gd name="T0" fmla="*/ 0 w 202"/>
                <a:gd name="T1" fmla="*/ 96289677 h 106"/>
                <a:gd name="T2" fmla="*/ 36324672 w 202"/>
                <a:gd name="T3" fmla="*/ 39968606 h 106"/>
                <a:gd name="T4" fmla="*/ 53418470 w 202"/>
                <a:gd name="T5" fmla="*/ 39968606 h 106"/>
                <a:gd name="T6" fmla="*/ 83333327 w 202"/>
                <a:gd name="T7" fmla="*/ 10900284 h 106"/>
                <a:gd name="T8" fmla="*/ 117520922 w 202"/>
                <a:gd name="T9" fmla="*/ 10900284 h 106"/>
                <a:gd name="T10" fmla="*/ 126067815 w 202"/>
                <a:gd name="T11" fmla="*/ 5450816 h 106"/>
                <a:gd name="T12" fmla="*/ 138887424 w 202"/>
                <a:gd name="T13" fmla="*/ 0 h 106"/>
                <a:gd name="T14" fmla="*/ 181621889 w 202"/>
                <a:gd name="T15" fmla="*/ 34519140 h 106"/>
                <a:gd name="T16" fmla="*/ 194443005 w 202"/>
                <a:gd name="T17" fmla="*/ 56319712 h 106"/>
                <a:gd name="T18" fmla="*/ 202989898 w 202"/>
                <a:gd name="T19" fmla="*/ 45419431 h 106"/>
                <a:gd name="T20" fmla="*/ 237177471 w 202"/>
                <a:gd name="T21" fmla="*/ 67219993 h 106"/>
                <a:gd name="T22" fmla="*/ 258545434 w 202"/>
                <a:gd name="T23" fmla="*/ 67219993 h 106"/>
                <a:gd name="T24" fmla="*/ 275639221 w 202"/>
                <a:gd name="T25" fmla="*/ 83571089 h 106"/>
                <a:gd name="T26" fmla="*/ 305552615 w 202"/>
                <a:gd name="T27" fmla="*/ 96289677 h 106"/>
                <a:gd name="T28" fmla="*/ 305552615 w 202"/>
                <a:gd name="T29" fmla="*/ 123541054 h 106"/>
                <a:gd name="T30" fmla="*/ 361108151 w 202"/>
                <a:gd name="T31" fmla="*/ 123541054 h 106"/>
                <a:gd name="T32" fmla="*/ 373929222 w 202"/>
                <a:gd name="T33" fmla="*/ 150792430 h 106"/>
                <a:gd name="T34" fmla="*/ 408116886 w 202"/>
                <a:gd name="T35" fmla="*/ 150792430 h 106"/>
                <a:gd name="T36" fmla="*/ 429483387 w 202"/>
                <a:gd name="T37" fmla="*/ 185310254 h 106"/>
                <a:gd name="T38" fmla="*/ 416663779 w 202"/>
                <a:gd name="T39" fmla="*/ 190761068 h 106"/>
                <a:gd name="T40" fmla="*/ 408116886 w 202"/>
                <a:gd name="T41" fmla="*/ 179860787 h 106"/>
                <a:gd name="T42" fmla="*/ 403842708 w 202"/>
                <a:gd name="T43" fmla="*/ 174409931 h 106"/>
                <a:gd name="T44" fmla="*/ 373929222 w 202"/>
                <a:gd name="T45" fmla="*/ 179860787 h 106"/>
                <a:gd name="T46" fmla="*/ 365382329 w 202"/>
                <a:gd name="T47" fmla="*/ 185310254 h 106"/>
                <a:gd name="T48" fmla="*/ 339740188 w 202"/>
                <a:gd name="T49" fmla="*/ 190761068 h 106"/>
                <a:gd name="T50" fmla="*/ 301279900 w 202"/>
                <a:gd name="T51" fmla="*/ 190761068 h 106"/>
                <a:gd name="T52" fmla="*/ 275639221 w 202"/>
                <a:gd name="T53" fmla="*/ 190761068 h 106"/>
                <a:gd name="T54" fmla="*/ 275639221 w 202"/>
                <a:gd name="T55" fmla="*/ 174409931 h 106"/>
                <a:gd name="T56" fmla="*/ 237177471 w 202"/>
                <a:gd name="T57" fmla="*/ 128990520 h 106"/>
                <a:gd name="T58" fmla="*/ 237177471 w 202"/>
                <a:gd name="T59" fmla="*/ 101739144 h 106"/>
                <a:gd name="T60" fmla="*/ 194443005 w 202"/>
                <a:gd name="T61" fmla="*/ 101739144 h 106"/>
                <a:gd name="T62" fmla="*/ 177349174 w 202"/>
                <a:gd name="T63" fmla="*/ 83571089 h 106"/>
                <a:gd name="T64" fmla="*/ 164528103 w 202"/>
                <a:gd name="T65" fmla="*/ 101739144 h 106"/>
                <a:gd name="T66" fmla="*/ 151708494 w 202"/>
                <a:gd name="T67" fmla="*/ 78121622 h 106"/>
                <a:gd name="T68" fmla="*/ 138887424 w 202"/>
                <a:gd name="T69" fmla="*/ 78121622 h 106"/>
                <a:gd name="T70" fmla="*/ 138887424 w 202"/>
                <a:gd name="T71" fmla="*/ 50870246 h 106"/>
                <a:gd name="T72" fmla="*/ 126067815 w 202"/>
                <a:gd name="T73" fmla="*/ 39968606 h 106"/>
                <a:gd name="T74" fmla="*/ 87606042 w 202"/>
                <a:gd name="T75" fmla="*/ 45419431 h 106"/>
                <a:gd name="T76" fmla="*/ 61965363 w 202"/>
                <a:gd name="T77" fmla="*/ 78121622 h 106"/>
                <a:gd name="T78" fmla="*/ 34187584 w 202"/>
                <a:gd name="T79" fmla="*/ 83571089 h 106"/>
                <a:gd name="T80" fmla="*/ 0 w 202"/>
                <a:gd name="T81" fmla="*/ 96289677 h 1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2"/>
                <a:gd name="T124" fmla="*/ 0 h 106"/>
                <a:gd name="T125" fmla="*/ 202 w 202"/>
                <a:gd name="T126" fmla="*/ 106 h 1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2" h="106">
                  <a:moveTo>
                    <a:pt x="0" y="53"/>
                  </a:moveTo>
                  <a:lnTo>
                    <a:pt x="17" y="22"/>
                  </a:lnTo>
                  <a:lnTo>
                    <a:pt x="25" y="22"/>
                  </a:lnTo>
                  <a:lnTo>
                    <a:pt x="39" y="6"/>
                  </a:lnTo>
                  <a:lnTo>
                    <a:pt x="55" y="6"/>
                  </a:lnTo>
                  <a:lnTo>
                    <a:pt x="59" y="3"/>
                  </a:lnTo>
                  <a:lnTo>
                    <a:pt x="65" y="0"/>
                  </a:lnTo>
                  <a:lnTo>
                    <a:pt x="85" y="19"/>
                  </a:lnTo>
                  <a:lnTo>
                    <a:pt x="91" y="31"/>
                  </a:lnTo>
                  <a:lnTo>
                    <a:pt x="95" y="25"/>
                  </a:lnTo>
                  <a:lnTo>
                    <a:pt x="111" y="37"/>
                  </a:lnTo>
                  <a:lnTo>
                    <a:pt x="121" y="37"/>
                  </a:lnTo>
                  <a:lnTo>
                    <a:pt x="129" y="46"/>
                  </a:lnTo>
                  <a:lnTo>
                    <a:pt x="143" y="53"/>
                  </a:lnTo>
                  <a:lnTo>
                    <a:pt x="143" y="68"/>
                  </a:lnTo>
                  <a:lnTo>
                    <a:pt x="169" y="68"/>
                  </a:lnTo>
                  <a:lnTo>
                    <a:pt x="175" y="83"/>
                  </a:lnTo>
                  <a:lnTo>
                    <a:pt x="191" y="83"/>
                  </a:lnTo>
                  <a:lnTo>
                    <a:pt x="201" y="102"/>
                  </a:lnTo>
                  <a:lnTo>
                    <a:pt x="195" y="105"/>
                  </a:lnTo>
                  <a:lnTo>
                    <a:pt x="191" y="99"/>
                  </a:lnTo>
                  <a:lnTo>
                    <a:pt x="189" y="96"/>
                  </a:lnTo>
                  <a:lnTo>
                    <a:pt x="175" y="99"/>
                  </a:lnTo>
                  <a:lnTo>
                    <a:pt x="171" y="102"/>
                  </a:lnTo>
                  <a:lnTo>
                    <a:pt x="159" y="105"/>
                  </a:lnTo>
                  <a:lnTo>
                    <a:pt x="141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11" y="71"/>
                  </a:lnTo>
                  <a:lnTo>
                    <a:pt x="111" y="56"/>
                  </a:lnTo>
                  <a:lnTo>
                    <a:pt x="91" y="56"/>
                  </a:lnTo>
                  <a:lnTo>
                    <a:pt x="83" y="46"/>
                  </a:lnTo>
                  <a:lnTo>
                    <a:pt x="77" y="56"/>
                  </a:lnTo>
                  <a:lnTo>
                    <a:pt x="71" y="43"/>
                  </a:lnTo>
                  <a:lnTo>
                    <a:pt x="65" y="43"/>
                  </a:lnTo>
                  <a:lnTo>
                    <a:pt x="65" y="28"/>
                  </a:lnTo>
                  <a:lnTo>
                    <a:pt x="59" y="22"/>
                  </a:lnTo>
                  <a:lnTo>
                    <a:pt x="41" y="25"/>
                  </a:lnTo>
                  <a:lnTo>
                    <a:pt x="29" y="43"/>
                  </a:lnTo>
                  <a:lnTo>
                    <a:pt x="16" y="46"/>
                  </a:lnTo>
                  <a:lnTo>
                    <a:pt x="0" y="53"/>
                  </a:lnTo>
                </a:path>
              </a:pathLst>
            </a:custGeom>
            <a:solidFill>
              <a:schemeClr val="bg1"/>
            </a:solidFill>
            <a:ln w="1905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Freeform 36"/>
            <p:cNvSpPr>
              <a:spLocks/>
            </p:cNvSpPr>
            <p:nvPr/>
          </p:nvSpPr>
          <p:spPr bwMode="auto">
            <a:xfrm>
              <a:off x="7731847" y="3033075"/>
              <a:ext cx="126433" cy="55169"/>
            </a:xfrm>
            <a:custGeom>
              <a:avLst/>
              <a:gdLst>
                <a:gd name="T0" fmla="*/ 0 w 137"/>
                <a:gd name="T1" fmla="*/ 125905532 h 91"/>
                <a:gd name="T2" fmla="*/ 27711492 w 137"/>
                <a:gd name="T3" fmla="*/ 131459966 h 91"/>
                <a:gd name="T4" fmla="*/ 91663993 w 137"/>
                <a:gd name="T5" fmla="*/ 125905532 h 91"/>
                <a:gd name="T6" fmla="*/ 117243844 w 137"/>
                <a:gd name="T7" fmla="*/ 161084067 h 91"/>
                <a:gd name="T8" fmla="*/ 153483394 w 137"/>
                <a:gd name="T9" fmla="*/ 166638501 h 91"/>
                <a:gd name="T10" fmla="*/ 172668265 w 137"/>
                <a:gd name="T11" fmla="*/ 125905532 h 91"/>
                <a:gd name="T12" fmla="*/ 164141656 w 137"/>
                <a:gd name="T13" fmla="*/ 114795304 h 91"/>
                <a:gd name="T14" fmla="*/ 181194874 w 137"/>
                <a:gd name="T15" fmla="*/ 98132002 h 91"/>
                <a:gd name="T16" fmla="*/ 217434470 w 137"/>
                <a:gd name="T17" fmla="*/ 125905532 h 91"/>
                <a:gd name="T18" fmla="*/ 245145950 w 137"/>
                <a:gd name="T19" fmla="*/ 125905532 h 91"/>
                <a:gd name="T20" fmla="*/ 245145950 w 137"/>
                <a:gd name="T21" fmla="*/ 109240870 h 91"/>
                <a:gd name="T22" fmla="*/ 262199169 w 137"/>
                <a:gd name="T23" fmla="*/ 109240870 h 91"/>
                <a:gd name="T24" fmla="*/ 289912109 w 137"/>
                <a:gd name="T25" fmla="*/ 79616748 h 91"/>
                <a:gd name="T26" fmla="*/ 272858890 w 137"/>
                <a:gd name="T27" fmla="*/ 74062314 h 91"/>
                <a:gd name="T28" fmla="*/ 272858890 w 137"/>
                <a:gd name="T29" fmla="*/ 46288784 h 91"/>
                <a:gd name="T30" fmla="*/ 272858890 w 137"/>
                <a:gd name="T31" fmla="*/ 22219101 h 91"/>
                <a:gd name="T32" fmla="*/ 230224384 w 137"/>
                <a:gd name="T33" fmla="*/ 16663307 h 91"/>
                <a:gd name="T34" fmla="*/ 200379791 w 137"/>
                <a:gd name="T35" fmla="*/ 22219101 h 91"/>
                <a:gd name="T36" fmla="*/ 172668265 w 137"/>
                <a:gd name="T37" fmla="*/ 22219101 h 91"/>
                <a:gd name="T38" fmla="*/ 132165410 w 137"/>
                <a:gd name="T39" fmla="*/ 16663307 h 91"/>
                <a:gd name="T40" fmla="*/ 100190625 w 137"/>
                <a:gd name="T41" fmla="*/ 0 h 91"/>
                <a:gd name="T42" fmla="*/ 91663993 w 137"/>
                <a:gd name="T43" fmla="*/ 16663307 h 91"/>
                <a:gd name="T44" fmla="*/ 85267576 w 137"/>
                <a:gd name="T45" fmla="*/ 51843218 h 91"/>
                <a:gd name="T46" fmla="*/ 55424444 w 137"/>
                <a:gd name="T47" fmla="*/ 51843218 h 91"/>
                <a:gd name="T48" fmla="*/ 44766170 w 137"/>
                <a:gd name="T49" fmla="*/ 79616748 h 91"/>
                <a:gd name="T50" fmla="*/ 27711492 w 137"/>
                <a:gd name="T51" fmla="*/ 92577569 h 91"/>
                <a:gd name="T52" fmla="*/ 0 w 137"/>
                <a:gd name="T53" fmla="*/ 125905532 h 9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7"/>
                <a:gd name="T82" fmla="*/ 0 h 91"/>
                <a:gd name="T83" fmla="*/ 137 w 137"/>
                <a:gd name="T84" fmla="*/ 91 h 9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7" h="91">
                  <a:moveTo>
                    <a:pt x="0" y="68"/>
                  </a:moveTo>
                  <a:lnTo>
                    <a:pt x="13" y="71"/>
                  </a:lnTo>
                  <a:lnTo>
                    <a:pt x="43" y="68"/>
                  </a:lnTo>
                  <a:lnTo>
                    <a:pt x="55" y="87"/>
                  </a:lnTo>
                  <a:lnTo>
                    <a:pt x="72" y="90"/>
                  </a:lnTo>
                  <a:lnTo>
                    <a:pt x="81" y="68"/>
                  </a:lnTo>
                  <a:lnTo>
                    <a:pt x="77" y="62"/>
                  </a:lnTo>
                  <a:lnTo>
                    <a:pt x="85" y="53"/>
                  </a:lnTo>
                  <a:lnTo>
                    <a:pt x="102" y="68"/>
                  </a:lnTo>
                  <a:lnTo>
                    <a:pt x="115" y="68"/>
                  </a:lnTo>
                  <a:lnTo>
                    <a:pt x="115" y="59"/>
                  </a:lnTo>
                  <a:lnTo>
                    <a:pt x="123" y="59"/>
                  </a:lnTo>
                  <a:lnTo>
                    <a:pt x="136" y="43"/>
                  </a:lnTo>
                  <a:lnTo>
                    <a:pt x="128" y="40"/>
                  </a:lnTo>
                  <a:lnTo>
                    <a:pt x="128" y="25"/>
                  </a:lnTo>
                  <a:lnTo>
                    <a:pt x="128" y="12"/>
                  </a:lnTo>
                  <a:lnTo>
                    <a:pt x="108" y="9"/>
                  </a:lnTo>
                  <a:lnTo>
                    <a:pt x="94" y="12"/>
                  </a:lnTo>
                  <a:lnTo>
                    <a:pt x="81" y="12"/>
                  </a:lnTo>
                  <a:lnTo>
                    <a:pt x="62" y="9"/>
                  </a:lnTo>
                  <a:lnTo>
                    <a:pt x="47" y="0"/>
                  </a:lnTo>
                  <a:lnTo>
                    <a:pt x="43" y="9"/>
                  </a:lnTo>
                  <a:lnTo>
                    <a:pt x="40" y="28"/>
                  </a:lnTo>
                  <a:lnTo>
                    <a:pt x="26" y="28"/>
                  </a:lnTo>
                  <a:lnTo>
                    <a:pt x="21" y="43"/>
                  </a:lnTo>
                  <a:lnTo>
                    <a:pt x="13" y="50"/>
                  </a:lnTo>
                  <a:lnTo>
                    <a:pt x="0" y="68"/>
                  </a:lnTo>
                </a:path>
              </a:pathLst>
            </a:custGeom>
            <a:solidFill>
              <a:schemeClr val="bg1"/>
            </a:solidFill>
            <a:ln w="1905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" name="Freeform 37"/>
            <p:cNvSpPr>
              <a:spLocks/>
            </p:cNvSpPr>
            <p:nvPr/>
          </p:nvSpPr>
          <p:spPr bwMode="auto">
            <a:xfrm>
              <a:off x="7658595" y="3173826"/>
              <a:ext cx="748567" cy="1026985"/>
            </a:xfrm>
            <a:custGeom>
              <a:avLst/>
              <a:gdLst>
                <a:gd name="T0" fmla="*/ 199291995 w 809"/>
                <a:gd name="T1" fmla="*/ 51297182 h 1703"/>
                <a:gd name="T2" fmla="*/ 330011615 w 809"/>
                <a:gd name="T3" fmla="*/ 5496657 h 1703"/>
                <a:gd name="T4" fmla="*/ 274295080 w 809"/>
                <a:gd name="T5" fmla="*/ 108089667 h 1703"/>
                <a:gd name="T6" fmla="*/ 330011615 w 809"/>
                <a:gd name="T7" fmla="*/ 102593010 h 1703"/>
                <a:gd name="T8" fmla="*/ 383585038 w 809"/>
                <a:gd name="T9" fmla="*/ 97097708 h 1703"/>
                <a:gd name="T10" fmla="*/ 460729863 w 809"/>
                <a:gd name="T11" fmla="*/ 133737570 h 1703"/>
                <a:gd name="T12" fmla="*/ 696451752 w 809"/>
                <a:gd name="T13" fmla="*/ 190530076 h 1703"/>
                <a:gd name="T14" fmla="*/ 805741894 w 809"/>
                <a:gd name="T15" fmla="*/ 247323893 h 1703"/>
                <a:gd name="T16" fmla="*/ 945032500 w 809"/>
                <a:gd name="T17" fmla="*/ 276635783 h 1703"/>
                <a:gd name="T18" fmla="*/ 1146467516 w 809"/>
                <a:gd name="T19" fmla="*/ 430525996 h 1703"/>
                <a:gd name="T20" fmla="*/ 1257900587 w 809"/>
                <a:gd name="T21" fmla="*/ 619224671 h 1703"/>
                <a:gd name="T22" fmla="*/ 1684343760 w 809"/>
                <a:gd name="T23" fmla="*/ 778610272 h 1703"/>
                <a:gd name="T24" fmla="*/ 1688629985 w 809"/>
                <a:gd name="T25" fmla="*/ 1040590025 h 1703"/>
                <a:gd name="T26" fmla="*/ 1579340027 w 809"/>
                <a:gd name="T27" fmla="*/ 1179824209 h 1703"/>
                <a:gd name="T28" fmla="*/ 1562196590 w 809"/>
                <a:gd name="T29" fmla="*/ 1377682173 h 1703"/>
                <a:gd name="T30" fmla="*/ 1500051814 w 809"/>
                <a:gd name="T31" fmla="*/ 1465620888 h 1703"/>
                <a:gd name="T32" fmla="*/ 1397191194 w 809"/>
                <a:gd name="T33" fmla="*/ 1614014361 h 1703"/>
                <a:gd name="T34" fmla="*/ 1253614362 w 809"/>
                <a:gd name="T35" fmla="*/ 1665311522 h 1703"/>
                <a:gd name="T36" fmla="*/ 1176469629 w 809"/>
                <a:gd name="T37" fmla="*/ 1821032967 h 1703"/>
                <a:gd name="T38" fmla="*/ 1159326192 w 809"/>
                <a:gd name="T39" fmla="*/ 1949275193 h 1703"/>
                <a:gd name="T40" fmla="*/ 1041463783 w 809"/>
                <a:gd name="T41" fmla="*/ 2066524106 h 1703"/>
                <a:gd name="T42" fmla="*/ 970746924 w 809"/>
                <a:gd name="T43" fmla="*/ 2147483647 h 1703"/>
                <a:gd name="T44" fmla="*/ 923602838 w 809"/>
                <a:gd name="T45" fmla="*/ 2147483647 h 1703"/>
                <a:gd name="T46" fmla="*/ 897888415 w 809"/>
                <a:gd name="T47" fmla="*/ 2147483647 h 1703"/>
                <a:gd name="T48" fmla="*/ 780027471 w 809"/>
                <a:gd name="T49" fmla="*/ 2147483647 h 1703"/>
                <a:gd name="T50" fmla="*/ 687880766 w 809"/>
                <a:gd name="T51" fmla="*/ 2147483647 h 1703"/>
                <a:gd name="T52" fmla="*/ 683594541 w 809"/>
                <a:gd name="T53" fmla="*/ 2147483647 h 1703"/>
                <a:gd name="T54" fmla="*/ 595734244 w 809"/>
                <a:gd name="T55" fmla="*/ 2147483647 h 1703"/>
                <a:gd name="T56" fmla="*/ 649307667 w 809"/>
                <a:gd name="T57" fmla="*/ 2147483647 h 1703"/>
                <a:gd name="T58" fmla="*/ 561447371 w 809"/>
                <a:gd name="T59" fmla="*/ 2147483647 h 1703"/>
                <a:gd name="T60" fmla="*/ 514303286 w 809"/>
                <a:gd name="T61" fmla="*/ 2147483647 h 1703"/>
                <a:gd name="T62" fmla="*/ 632164231 w 809"/>
                <a:gd name="T63" fmla="*/ 2147483647 h 1703"/>
                <a:gd name="T64" fmla="*/ 492873624 w 809"/>
                <a:gd name="T65" fmla="*/ 2147483647 h 1703"/>
                <a:gd name="T66" fmla="*/ 405013328 w 809"/>
                <a:gd name="T67" fmla="*/ 2147483647 h 1703"/>
                <a:gd name="T68" fmla="*/ 396442341 w 809"/>
                <a:gd name="T69" fmla="*/ 2147483647 h 1703"/>
                <a:gd name="T70" fmla="*/ 383585038 w 809"/>
                <a:gd name="T71" fmla="*/ 2147483647 h 1703"/>
                <a:gd name="T72" fmla="*/ 392156116 w 809"/>
                <a:gd name="T73" fmla="*/ 2046372858 h 1703"/>
                <a:gd name="T74" fmla="*/ 409299553 w 809"/>
                <a:gd name="T75" fmla="*/ 1886986073 h 1703"/>
                <a:gd name="T76" fmla="*/ 400728566 w 809"/>
                <a:gd name="T77" fmla="*/ 1630502976 h 1703"/>
                <a:gd name="T78" fmla="*/ 413585778 w 809"/>
                <a:gd name="T79" fmla="*/ 1419820384 h 1703"/>
                <a:gd name="T80" fmla="*/ 312868178 w 809"/>
                <a:gd name="T81" fmla="*/ 1276921875 h 1703"/>
                <a:gd name="T82" fmla="*/ 156434089 w 809"/>
                <a:gd name="T83" fmla="*/ 1165168264 h 1703"/>
                <a:gd name="T84" fmla="*/ 100717554 w 809"/>
                <a:gd name="T85" fmla="*/ 989294218 h 1703"/>
                <a:gd name="T86" fmla="*/ 30000660 w 809"/>
                <a:gd name="T87" fmla="*/ 892196553 h 1703"/>
                <a:gd name="T88" fmla="*/ 34286885 w 809"/>
                <a:gd name="T89" fmla="*/ 727314465 h 1703"/>
                <a:gd name="T90" fmla="*/ 17143442 w 809"/>
                <a:gd name="T91" fmla="*/ 567927511 h 1703"/>
                <a:gd name="T92" fmla="*/ 126433441 w 809"/>
                <a:gd name="T93" fmla="*/ 256483182 h 170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09"/>
                <a:gd name="T142" fmla="*/ 0 h 1703"/>
                <a:gd name="T143" fmla="*/ 809 w 809"/>
                <a:gd name="T144" fmla="*/ 1703 h 170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09" h="1703">
                  <a:moveTo>
                    <a:pt x="63" y="76"/>
                  </a:moveTo>
                  <a:lnTo>
                    <a:pt x="73" y="56"/>
                  </a:lnTo>
                  <a:lnTo>
                    <a:pt x="93" y="28"/>
                  </a:lnTo>
                  <a:lnTo>
                    <a:pt x="122" y="11"/>
                  </a:lnTo>
                  <a:lnTo>
                    <a:pt x="138" y="0"/>
                  </a:lnTo>
                  <a:lnTo>
                    <a:pt x="154" y="3"/>
                  </a:lnTo>
                  <a:lnTo>
                    <a:pt x="150" y="17"/>
                  </a:lnTo>
                  <a:lnTo>
                    <a:pt x="132" y="31"/>
                  </a:lnTo>
                  <a:lnTo>
                    <a:pt x="128" y="59"/>
                  </a:lnTo>
                  <a:lnTo>
                    <a:pt x="132" y="81"/>
                  </a:lnTo>
                  <a:lnTo>
                    <a:pt x="148" y="81"/>
                  </a:lnTo>
                  <a:lnTo>
                    <a:pt x="154" y="56"/>
                  </a:lnTo>
                  <a:lnTo>
                    <a:pt x="157" y="31"/>
                  </a:lnTo>
                  <a:lnTo>
                    <a:pt x="167" y="39"/>
                  </a:lnTo>
                  <a:lnTo>
                    <a:pt x="179" y="53"/>
                  </a:lnTo>
                  <a:lnTo>
                    <a:pt x="199" y="48"/>
                  </a:lnTo>
                  <a:lnTo>
                    <a:pt x="211" y="59"/>
                  </a:lnTo>
                  <a:lnTo>
                    <a:pt x="215" y="73"/>
                  </a:lnTo>
                  <a:lnTo>
                    <a:pt x="244" y="67"/>
                  </a:lnTo>
                  <a:lnTo>
                    <a:pt x="303" y="59"/>
                  </a:lnTo>
                  <a:lnTo>
                    <a:pt x="325" y="104"/>
                  </a:lnTo>
                  <a:lnTo>
                    <a:pt x="362" y="126"/>
                  </a:lnTo>
                  <a:lnTo>
                    <a:pt x="360" y="146"/>
                  </a:lnTo>
                  <a:lnTo>
                    <a:pt x="376" y="135"/>
                  </a:lnTo>
                  <a:lnTo>
                    <a:pt x="394" y="135"/>
                  </a:lnTo>
                  <a:lnTo>
                    <a:pt x="415" y="154"/>
                  </a:lnTo>
                  <a:lnTo>
                    <a:pt x="441" y="151"/>
                  </a:lnTo>
                  <a:lnTo>
                    <a:pt x="463" y="154"/>
                  </a:lnTo>
                  <a:lnTo>
                    <a:pt x="498" y="191"/>
                  </a:lnTo>
                  <a:lnTo>
                    <a:pt x="535" y="235"/>
                  </a:lnTo>
                  <a:lnTo>
                    <a:pt x="551" y="285"/>
                  </a:lnTo>
                  <a:lnTo>
                    <a:pt x="541" y="324"/>
                  </a:lnTo>
                  <a:lnTo>
                    <a:pt x="587" y="338"/>
                  </a:lnTo>
                  <a:lnTo>
                    <a:pt x="660" y="358"/>
                  </a:lnTo>
                  <a:lnTo>
                    <a:pt x="737" y="380"/>
                  </a:lnTo>
                  <a:lnTo>
                    <a:pt x="786" y="425"/>
                  </a:lnTo>
                  <a:lnTo>
                    <a:pt x="808" y="467"/>
                  </a:lnTo>
                  <a:lnTo>
                    <a:pt x="808" y="521"/>
                  </a:lnTo>
                  <a:lnTo>
                    <a:pt x="788" y="568"/>
                  </a:lnTo>
                  <a:lnTo>
                    <a:pt x="767" y="594"/>
                  </a:lnTo>
                  <a:lnTo>
                    <a:pt x="753" y="610"/>
                  </a:lnTo>
                  <a:lnTo>
                    <a:pt x="737" y="644"/>
                  </a:lnTo>
                  <a:lnTo>
                    <a:pt x="735" y="675"/>
                  </a:lnTo>
                  <a:lnTo>
                    <a:pt x="737" y="714"/>
                  </a:lnTo>
                  <a:lnTo>
                    <a:pt x="729" y="752"/>
                  </a:lnTo>
                  <a:lnTo>
                    <a:pt x="717" y="761"/>
                  </a:lnTo>
                  <a:lnTo>
                    <a:pt x="714" y="783"/>
                  </a:lnTo>
                  <a:lnTo>
                    <a:pt x="700" y="800"/>
                  </a:lnTo>
                  <a:lnTo>
                    <a:pt x="698" y="820"/>
                  </a:lnTo>
                  <a:lnTo>
                    <a:pt x="680" y="842"/>
                  </a:lnTo>
                  <a:lnTo>
                    <a:pt x="652" y="881"/>
                  </a:lnTo>
                  <a:lnTo>
                    <a:pt x="630" y="893"/>
                  </a:lnTo>
                  <a:lnTo>
                    <a:pt x="614" y="890"/>
                  </a:lnTo>
                  <a:lnTo>
                    <a:pt x="585" y="909"/>
                  </a:lnTo>
                  <a:lnTo>
                    <a:pt x="555" y="954"/>
                  </a:lnTo>
                  <a:lnTo>
                    <a:pt x="549" y="971"/>
                  </a:lnTo>
                  <a:lnTo>
                    <a:pt x="549" y="994"/>
                  </a:lnTo>
                  <a:lnTo>
                    <a:pt x="555" y="1019"/>
                  </a:lnTo>
                  <a:lnTo>
                    <a:pt x="541" y="1044"/>
                  </a:lnTo>
                  <a:lnTo>
                    <a:pt x="541" y="1064"/>
                  </a:lnTo>
                  <a:lnTo>
                    <a:pt x="518" y="1086"/>
                  </a:lnTo>
                  <a:lnTo>
                    <a:pt x="500" y="1103"/>
                  </a:lnTo>
                  <a:lnTo>
                    <a:pt x="486" y="1128"/>
                  </a:lnTo>
                  <a:lnTo>
                    <a:pt x="480" y="1153"/>
                  </a:lnTo>
                  <a:lnTo>
                    <a:pt x="461" y="1184"/>
                  </a:lnTo>
                  <a:lnTo>
                    <a:pt x="453" y="1179"/>
                  </a:lnTo>
                  <a:lnTo>
                    <a:pt x="437" y="1179"/>
                  </a:lnTo>
                  <a:lnTo>
                    <a:pt x="417" y="1190"/>
                  </a:lnTo>
                  <a:lnTo>
                    <a:pt x="431" y="1204"/>
                  </a:lnTo>
                  <a:lnTo>
                    <a:pt x="431" y="1232"/>
                  </a:lnTo>
                  <a:lnTo>
                    <a:pt x="429" y="1254"/>
                  </a:lnTo>
                  <a:lnTo>
                    <a:pt x="419" y="1271"/>
                  </a:lnTo>
                  <a:lnTo>
                    <a:pt x="394" y="1274"/>
                  </a:lnTo>
                  <a:lnTo>
                    <a:pt x="374" y="1281"/>
                  </a:lnTo>
                  <a:lnTo>
                    <a:pt x="364" y="1298"/>
                  </a:lnTo>
                  <a:lnTo>
                    <a:pt x="364" y="1326"/>
                  </a:lnTo>
                  <a:lnTo>
                    <a:pt x="341" y="1329"/>
                  </a:lnTo>
                  <a:lnTo>
                    <a:pt x="321" y="1326"/>
                  </a:lnTo>
                  <a:lnTo>
                    <a:pt x="315" y="1337"/>
                  </a:lnTo>
                  <a:lnTo>
                    <a:pt x="325" y="1349"/>
                  </a:lnTo>
                  <a:lnTo>
                    <a:pt x="319" y="1391"/>
                  </a:lnTo>
                  <a:lnTo>
                    <a:pt x="311" y="1427"/>
                  </a:lnTo>
                  <a:lnTo>
                    <a:pt x="285" y="1427"/>
                  </a:lnTo>
                  <a:lnTo>
                    <a:pt x="278" y="1441"/>
                  </a:lnTo>
                  <a:lnTo>
                    <a:pt x="280" y="1469"/>
                  </a:lnTo>
                  <a:lnTo>
                    <a:pt x="293" y="1469"/>
                  </a:lnTo>
                  <a:lnTo>
                    <a:pt x="303" y="1486"/>
                  </a:lnTo>
                  <a:lnTo>
                    <a:pt x="297" y="1514"/>
                  </a:lnTo>
                  <a:lnTo>
                    <a:pt x="283" y="1517"/>
                  </a:lnTo>
                  <a:lnTo>
                    <a:pt x="262" y="1528"/>
                  </a:lnTo>
                  <a:lnTo>
                    <a:pt x="256" y="1551"/>
                  </a:lnTo>
                  <a:lnTo>
                    <a:pt x="254" y="1584"/>
                  </a:lnTo>
                  <a:lnTo>
                    <a:pt x="240" y="1601"/>
                  </a:lnTo>
                  <a:lnTo>
                    <a:pt x="289" y="1657"/>
                  </a:lnTo>
                  <a:lnTo>
                    <a:pt x="303" y="1685"/>
                  </a:lnTo>
                  <a:lnTo>
                    <a:pt x="295" y="1702"/>
                  </a:lnTo>
                  <a:lnTo>
                    <a:pt x="274" y="1691"/>
                  </a:lnTo>
                  <a:lnTo>
                    <a:pt x="256" y="1668"/>
                  </a:lnTo>
                  <a:lnTo>
                    <a:pt x="230" y="1652"/>
                  </a:lnTo>
                  <a:lnTo>
                    <a:pt x="207" y="1623"/>
                  </a:lnTo>
                  <a:lnTo>
                    <a:pt x="191" y="1590"/>
                  </a:lnTo>
                  <a:lnTo>
                    <a:pt x="189" y="1562"/>
                  </a:lnTo>
                  <a:lnTo>
                    <a:pt x="193" y="1539"/>
                  </a:lnTo>
                  <a:lnTo>
                    <a:pt x="191" y="1357"/>
                  </a:lnTo>
                  <a:lnTo>
                    <a:pt x="185" y="1326"/>
                  </a:lnTo>
                  <a:lnTo>
                    <a:pt x="167" y="1293"/>
                  </a:lnTo>
                  <a:lnTo>
                    <a:pt x="167" y="1263"/>
                  </a:lnTo>
                  <a:lnTo>
                    <a:pt x="179" y="1226"/>
                  </a:lnTo>
                  <a:lnTo>
                    <a:pt x="189" y="1181"/>
                  </a:lnTo>
                  <a:lnTo>
                    <a:pt x="185" y="1137"/>
                  </a:lnTo>
                  <a:lnTo>
                    <a:pt x="183" y="1117"/>
                  </a:lnTo>
                  <a:lnTo>
                    <a:pt x="181" y="1092"/>
                  </a:lnTo>
                  <a:lnTo>
                    <a:pt x="187" y="1080"/>
                  </a:lnTo>
                  <a:lnTo>
                    <a:pt x="191" y="1030"/>
                  </a:lnTo>
                  <a:lnTo>
                    <a:pt x="187" y="1005"/>
                  </a:lnTo>
                  <a:lnTo>
                    <a:pt x="195" y="943"/>
                  </a:lnTo>
                  <a:lnTo>
                    <a:pt x="187" y="890"/>
                  </a:lnTo>
                  <a:lnTo>
                    <a:pt x="193" y="862"/>
                  </a:lnTo>
                  <a:lnTo>
                    <a:pt x="203" y="808"/>
                  </a:lnTo>
                  <a:lnTo>
                    <a:pt x="193" y="775"/>
                  </a:lnTo>
                  <a:lnTo>
                    <a:pt x="173" y="750"/>
                  </a:lnTo>
                  <a:lnTo>
                    <a:pt x="167" y="723"/>
                  </a:lnTo>
                  <a:lnTo>
                    <a:pt x="146" y="697"/>
                  </a:lnTo>
                  <a:lnTo>
                    <a:pt x="122" y="680"/>
                  </a:lnTo>
                  <a:lnTo>
                    <a:pt x="89" y="672"/>
                  </a:lnTo>
                  <a:lnTo>
                    <a:pt x="73" y="636"/>
                  </a:lnTo>
                  <a:lnTo>
                    <a:pt x="51" y="599"/>
                  </a:lnTo>
                  <a:lnTo>
                    <a:pt x="49" y="568"/>
                  </a:lnTo>
                  <a:lnTo>
                    <a:pt x="47" y="540"/>
                  </a:lnTo>
                  <a:lnTo>
                    <a:pt x="41" y="521"/>
                  </a:lnTo>
                  <a:lnTo>
                    <a:pt x="30" y="498"/>
                  </a:lnTo>
                  <a:lnTo>
                    <a:pt x="14" y="487"/>
                  </a:lnTo>
                  <a:lnTo>
                    <a:pt x="2" y="465"/>
                  </a:lnTo>
                  <a:lnTo>
                    <a:pt x="16" y="445"/>
                  </a:lnTo>
                  <a:lnTo>
                    <a:pt x="16" y="397"/>
                  </a:lnTo>
                  <a:lnTo>
                    <a:pt x="8" y="372"/>
                  </a:lnTo>
                  <a:lnTo>
                    <a:pt x="0" y="347"/>
                  </a:lnTo>
                  <a:lnTo>
                    <a:pt x="8" y="310"/>
                  </a:lnTo>
                  <a:lnTo>
                    <a:pt x="39" y="221"/>
                  </a:lnTo>
                  <a:lnTo>
                    <a:pt x="41" y="182"/>
                  </a:lnTo>
                  <a:lnTo>
                    <a:pt x="59" y="140"/>
                  </a:lnTo>
                  <a:lnTo>
                    <a:pt x="59" y="118"/>
                  </a:lnTo>
                  <a:lnTo>
                    <a:pt x="63" y="76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1" name="Group 99"/>
            <p:cNvGrpSpPr/>
            <p:nvPr/>
          </p:nvGrpSpPr>
          <p:grpSpPr>
            <a:xfrm>
              <a:off x="7451331" y="2547224"/>
              <a:ext cx="131359" cy="99267"/>
              <a:chOff x="1392382" y="2737527"/>
              <a:chExt cx="207818" cy="222803"/>
            </a:xfrm>
          </p:grpSpPr>
          <p:sp>
            <p:nvSpPr>
              <p:cNvPr id="121" name="Oval 3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2" name="Oval 121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2" name="Group 100"/>
            <p:cNvGrpSpPr/>
            <p:nvPr/>
          </p:nvGrpSpPr>
          <p:grpSpPr>
            <a:xfrm>
              <a:off x="7021088" y="2613832"/>
              <a:ext cx="131359" cy="99267"/>
              <a:chOff x="1392382" y="2737527"/>
              <a:chExt cx="207818" cy="222803"/>
            </a:xfrm>
          </p:grpSpPr>
          <p:sp>
            <p:nvSpPr>
              <p:cNvPr id="119" name="Oval 118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0" name="Oval 119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3" name="Group 103"/>
            <p:cNvGrpSpPr/>
            <p:nvPr/>
          </p:nvGrpSpPr>
          <p:grpSpPr>
            <a:xfrm>
              <a:off x="7573852" y="2728690"/>
              <a:ext cx="131359" cy="99267"/>
              <a:chOff x="1392382" y="2737527"/>
              <a:chExt cx="207818" cy="222803"/>
            </a:xfrm>
          </p:grpSpPr>
          <p:sp>
            <p:nvSpPr>
              <p:cNvPr id="117" name="Oval 116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8" name="Oval 117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4" name="Group 106"/>
            <p:cNvGrpSpPr/>
            <p:nvPr/>
          </p:nvGrpSpPr>
          <p:grpSpPr>
            <a:xfrm>
              <a:off x="7705294" y="3162131"/>
              <a:ext cx="131359" cy="99267"/>
              <a:chOff x="1392382" y="2737527"/>
              <a:chExt cx="207818" cy="222803"/>
            </a:xfrm>
          </p:grpSpPr>
          <p:sp>
            <p:nvSpPr>
              <p:cNvPr id="115" name="Oval 114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6" name="Oval 115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5" name="Group 109"/>
            <p:cNvGrpSpPr/>
            <p:nvPr/>
          </p:nvGrpSpPr>
          <p:grpSpPr>
            <a:xfrm>
              <a:off x="7790400" y="3855314"/>
              <a:ext cx="131359" cy="99267"/>
              <a:chOff x="1392382" y="2737527"/>
              <a:chExt cx="207818" cy="222803"/>
            </a:xfrm>
          </p:grpSpPr>
          <p:sp>
            <p:nvSpPr>
              <p:cNvPr id="113" name="Oval 112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4" name="Oval 113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6" name="Group 112"/>
            <p:cNvGrpSpPr/>
            <p:nvPr/>
          </p:nvGrpSpPr>
          <p:grpSpPr>
            <a:xfrm>
              <a:off x="8162414" y="3608962"/>
              <a:ext cx="131359" cy="99267"/>
              <a:chOff x="1392382" y="2737527"/>
              <a:chExt cx="207818" cy="222803"/>
            </a:xfrm>
          </p:grpSpPr>
          <p:sp>
            <p:nvSpPr>
              <p:cNvPr id="111" name="Oval 110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2" name="Oval 111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7" name="Group 115"/>
            <p:cNvGrpSpPr/>
            <p:nvPr/>
          </p:nvGrpSpPr>
          <p:grpSpPr>
            <a:xfrm>
              <a:off x="7468873" y="2781461"/>
              <a:ext cx="131359" cy="99267"/>
              <a:chOff x="1392382" y="2737527"/>
              <a:chExt cx="207818" cy="222803"/>
            </a:xfrm>
          </p:grpSpPr>
          <p:sp>
            <p:nvSpPr>
              <p:cNvPr id="109" name="Oval 108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0" name="Oval 109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8" name="Group 118"/>
            <p:cNvGrpSpPr/>
            <p:nvPr/>
          </p:nvGrpSpPr>
          <p:grpSpPr>
            <a:xfrm>
              <a:off x="7432037" y="2814766"/>
              <a:ext cx="131359" cy="99267"/>
              <a:chOff x="1392382" y="2737527"/>
              <a:chExt cx="207818" cy="222803"/>
            </a:xfrm>
          </p:grpSpPr>
          <p:sp>
            <p:nvSpPr>
              <p:cNvPr id="107" name="Oval 106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8" name="Oval 107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9" name="Group 121"/>
            <p:cNvGrpSpPr/>
            <p:nvPr/>
          </p:nvGrpSpPr>
          <p:grpSpPr>
            <a:xfrm>
              <a:off x="9715172" y="2971255"/>
              <a:ext cx="131359" cy="99267"/>
              <a:chOff x="1392382" y="2737527"/>
              <a:chExt cx="207818" cy="222803"/>
            </a:xfrm>
          </p:grpSpPr>
          <p:sp>
            <p:nvSpPr>
              <p:cNvPr id="105" name="Oval 104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6" name="Oval 105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0" name="Group 124"/>
            <p:cNvGrpSpPr/>
            <p:nvPr/>
          </p:nvGrpSpPr>
          <p:grpSpPr>
            <a:xfrm>
              <a:off x="9380743" y="2755685"/>
              <a:ext cx="131359" cy="99267"/>
              <a:chOff x="1392382" y="2737527"/>
              <a:chExt cx="207818" cy="222803"/>
            </a:xfrm>
          </p:grpSpPr>
          <p:sp>
            <p:nvSpPr>
              <p:cNvPr id="103" name="Oval 102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4" name="Oval 103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1" name="Group 127"/>
            <p:cNvGrpSpPr/>
            <p:nvPr/>
          </p:nvGrpSpPr>
          <p:grpSpPr>
            <a:xfrm>
              <a:off x="9040894" y="2501506"/>
              <a:ext cx="131359" cy="99267"/>
              <a:chOff x="1392382" y="2737527"/>
              <a:chExt cx="207818" cy="222803"/>
            </a:xfrm>
          </p:grpSpPr>
          <p:sp>
            <p:nvSpPr>
              <p:cNvPr id="101" name="Oval 100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2" name="Group 130"/>
            <p:cNvGrpSpPr/>
            <p:nvPr/>
          </p:nvGrpSpPr>
          <p:grpSpPr>
            <a:xfrm>
              <a:off x="7030520" y="2772660"/>
              <a:ext cx="131359" cy="99267"/>
              <a:chOff x="1392382" y="2737527"/>
              <a:chExt cx="207818" cy="222803"/>
            </a:xfrm>
          </p:grpSpPr>
          <p:sp>
            <p:nvSpPr>
              <p:cNvPr id="99" name="Oval 98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0" name="Oval 99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3" name="Group 133"/>
            <p:cNvGrpSpPr/>
            <p:nvPr/>
          </p:nvGrpSpPr>
          <p:grpSpPr>
            <a:xfrm>
              <a:off x="7021711" y="2725406"/>
              <a:ext cx="131359" cy="99267"/>
              <a:chOff x="1392382" y="2737527"/>
              <a:chExt cx="207818" cy="222803"/>
            </a:xfrm>
          </p:grpSpPr>
          <p:sp>
            <p:nvSpPr>
              <p:cNvPr id="97" name="Oval 96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8" name="Oval 97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4" name="Group 136"/>
            <p:cNvGrpSpPr/>
            <p:nvPr/>
          </p:nvGrpSpPr>
          <p:grpSpPr>
            <a:xfrm>
              <a:off x="7070731" y="2719213"/>
              <a:ext cx="131359" cy="99267"/>
              <a:chOff x="1392382" y="2737527"/>
              <a:chExt cx="207818" cy="222803"/>
            </a:xfrm>
          </p:grpSpPr>
          <p:sp>
            <p:nvSpPr>
              <p:cNvPr id="95" name="Oval 94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6" name="Oval 95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5" name="Group 139"/>
            <p:cNvGrpSpPr/>
            <p:nvPr/>
          </p:nvGrpSpPr>
          <p:grpSpPr>
            <a:xfrm>
              <a:off x="9064678" y="2430276"/>
              <a:ext cx="131359" cy="99267"/>
              <a:chOff x="1392382" y="2737527"/>
              <a:chExt cx="207818" cy="222803"/>
            </a:xfrm>
          </p:grpSpPr>
          <p:sp>
            <p:nvSpPr>
              <p:cNvPr id="93" name="Oval 92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4" name="Oval 93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6" name="Group 142"/>
            <p:cNvGrpSpPr/>
            <p:nvPr/>
          </p:nvGrpSpPr>
          <p:grpSpPr>
            <a:xfrm>
              <a:off x="10485961" y="2900577"/>
              <a:ext cx="131359" cy="99267"/>
              <a:chOff x="1392382" y="2737527"/>
              <a:chExt cx="207818" cy="222803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2" name="Oval 91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7" name="Group 145"/>
            <p:cNvGrpSpPr/>
            <p:nvPr/>
          </p:nvGrpSpPr>
          <p:grpSpPr>
            <a:xfrm>
              <a:off x="10293789" y="2849570"/>
              <a:ext cx="131359" cy="99267"/>
              <a:chOff x="1392382" y="2737527"/>
              <a:chExt cx="207818" cy="222803"/>
            </a:xfrm>
          </p:grpSpPr>
          <p:sp>
            <p:nvSpPr>
              <p:cNvPr id="89" name="Oval 88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0" name="Oval 89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8" name="Group 148"/>
            <p:cNvGrpSpPr/>
            <p:nvPr/>
          </p:nvGrpSpPr>
          <p:grpSpPr>
            <a:xfrm>
              <a:off x="9843928" y="2984537"/>
              <a:ext cx="131359" cy="99267"/>
              <a:chOff x="1392382" y="2737527"/>
              <a:chExt cx="207818" cy="222803"/>
            </a:xfrm>
          </p:grpSpPr>
          <p:sp>
            <p:nvSpPr>
              <p:cNvPr id="87" name="Oval 86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8" name="Oval 87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9" name="Group 151"/>
            <p:cNvGrpSpPr/>
            <p:nvPr/>
          </p:nvGrpSpPr>
          <p:grpSpPr>
            <a:xfrm>
              <a:off x="10623312" y="2852687"/>
              <a:ext cx="131359" cy="99267"/>
              <a:chOff x="1392382" y="2737527"/>
              <a:chExt cx="207818" cy="222803"/>
            </a:xfrm>
          </p:grpSpPr>
          <p:sp>
            <p:nvSpPr>
              <p:cNvPr id="85" name="Oval 84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0" name="Group 154"/>
            <p:cNvGrpSpPr/>
            <p:nvPr/>
          </p:nvGrpSpPr>
          <p:grpSpPr>
            <a:xfrm>
              <a:off x="10523600" y="2728689"/>
              <a:ext cx="131359" cy="99267"/>
              <a:chOff x="1392382" y="2737527"/>
              <a:chExt cx="207818" cy="222803"/>
            </a:xfrm>
          </p:grpSpPr>
          <p:sp>
            <p:nvSpPr>
              <p:cNvPr id="83" name="Oval 82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1" name="Group 157"/>
            <p:cNvGrpSpPr/>
            <p:nvPr/>
          </p:nvGrpSpPr>
          <p:grpSpPr>
            <a:xfrm>
              <a:off x="10360880" y="2733971"/>
              <a:ext cx="131359" cy="99267"/>
              <a:chOff x="1392382" y="2737527"/>
              <a:chExt cx="207818" cy="222803"/>
            </a:xfrm>
          </p:grpSpPr>
          <p:sp>
            <p:nvSpPr>
              <p:cNvPr id="81" name="Oval 80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2" name="Group 160"/>
            <p:cNvGrpSpPr/>
            <p:nvPr/>
          </p:nvGrpSpPr>
          <p:grpSpPr>
            <a:xfrm>
              <a:off x="9421610" y="3706624"/>
              <a:ext cx="131359" cy="99267"/>
              <a:chOff x="1392382" y="2737527"/>
              <a:chExt cx="207818" cy="222803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3" name="Group 163"/>
            <p:cNvGrpSpPr/>
            <p:nvPr/>
          </p:nvGrpSpPr>
          <p:grpSpPr>
            <a:xfrm>
              <a:off x="9331333" y="3781878"/>
              <a:ext cx="131359" cy="99267"/>
              <a:chOff x="1392382" y="2737527"/>
              <a:chExt cx="207818" cy="222803"/>
            </a:xfrm>
          </p:grpSpPr>
          <p:sp>
            <p:nvSpPr>
              <p:cNvPr id="77" name="Oval 76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74" name="Group 169"/>
            <p:cNvGrpSpPr/>
            <p:nvPr/>
          </p:nvGrpSpPr>
          <p:grpSpPr>
            <a:xfrm>
              <a:off x="7463301" y="2616970"/>
              <a:ext cx="131359" cy="99267"/>
              <a:chOff x="1392382" y="2737527"/>
              <a:chExt cx="207818" cy="222803"/>
            </a:xfrm>
          </p:grpSpPr>
          <p:sp>
            <p:nvSpPr>
              <p:cNvPr id="75" name="Oval 74"/>
              <p:cNvSpPr/>
              <p:nvPr/>
            </p:nvSpPr>
            <p:spPr>
              <a:xfrm>
                <a:off x="1457036" y="2810828"/>
                <a:ext cx="76200" cy="76200"/>
              </a:xfrm>
              <a:prstGeom prst="ellipse">
                <a:avLst/>
              </a:prstGeom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6" name="Oval 75"/>
              <p:cNvSpPr/>
              <p:nvPr/>
            </p:nvSpPr>
            <p:spPr>
              <a:xfrm>
                <a:off x="1392382" y="2737527"/>
                <a:ext cx="207818" cy="222803"/>
              </a:xfrm>
              <a:prstGeom prst="ellipse">
                <a:avLst/>
              </a:prstGeom>
              <a:noFill/>
              <a:ln w="19050">
                <a:solidFill>
                  <a:srgbClr val="7887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8" name="Group 217"/>
          <p:cNvGrpSpPr/>
          <p:nvPr/>
        </p:nvGrpSpPr>
        <p:grpSpPr>
          <a:xfrm>
            <a:off x="751072" y="4267231"/>
            <a:ext cx="5046742" cy="661352"/>
            <a:chOff x="814572" y="4352666"/>
            <a:chExt cx="5046742" cy="661352"/>
          </a:xfrm>
        </p:grpSpPr>
        <p:grpSp>
          <p:nvGrpSpPr>
            <p:cNvPr id="153" name="Group 152"/>
            <p:cNvGrpSpPr>
              <a:grpSpLocks noChangeAspect="1"/>
            </p:cNvGrpSpPr>
            <p:nvPr/>
          </p:nvGrpSpPr>
          <p:grpSpPr bwMode="auto">
            <a:xfrm>
              <a:off x="814572" y="4352666"/>
              <a:ext cx="636306" cy="661352"/>
              <a:chOff x="6262" y="599"/>
              <a:chExt cx="2947" cy="3063"/>
            </a:xfrm>
            <a:solidFill>
              <a:srgbClr val="32A0A0"/>
            </a:solidFill>
          </p:grpSpPr>
          <p:sp>
            <p:nvSpPr>
              <p:cNvPr id="154" name="Freeform 153"/>
              <p:cNvSpPr>
                <a:spLocks/>
              </p:cNvSpPr>
              <p:nvPr/>
            </p:nvSpPr>
            <p:spPr bwMode="auto">
              <a:xfrm>
                <a:off x="6302" y="1183"/>
                <a:ext cx="471" cy="620"/>
              </a:xfrm>
              <a:custGeom>
                <a:avLst/>
                <a:gdLst>
                  <a:gd name="T0" fmla="*/ 722 w 1053"/>
                  <a:gd name="T1" fmla="*/ 0 h 1383"/>
                  <a:gd name="T2" fmla="*/ 0 w 1053"/>
                  <a:gd name="T3" fmla="*/ 1383 h 1383"/>
                  <a:gd name="T4" fmla="*/ 1053 w 1053"/>
                  <a:gd name="T5" fmla="*/ 330 h 1383"/>
                  <a:gd name="T6" fmla="*/ 722 w 1053"/>
                  <a:gd name="T7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3" h="1383">
                    <a:moveTo>
                      <a:pt x="722" y="0"/>
                    </a:moveTo>
                    <a:cubicBezTo>
                      <a:pt x="357" y="405"/>
                      <a:pt x="116" y="883"/>
                      <a:pt x="0" y="1383"/>
                    </a:cubicBezTo>
                    <a:cubicBezTo>
                      <a:pt x="1053" y="330"/>
                      <a:pt x="1053" y="330"/>
                      <a:pt x="1053" y="330"/>
                    </a:cubicBezTo>
                    <a:lnTo>
                      <a:pt x="7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55" name="Freeform 154"/>
              <p:cNvSpPr>
                <a:spLocks/>
              </p:cNvSpPr>
              <p:nvPr/>
            </p:nvSpPr>
            <p:spPr bwMode="auto">
              <a:xfrm>
                <a:off x="6318" y="1689"/>
                <a:ext cx="978" cy="1053"/>
              </a:xfrm>
              <a:custGeom>
                <a:avLst/>
                <a:gdLst>
                  <a:gd name="T0" fmla="*/ 1817 w 2186"/>
                  <a:gd name="T1" fmla="*/ 0 h 2350"/>
                  <a:gd name="T2" fmla="*/ 0 w 2186"/>
                  <a:gd name="T3" fmla="*/ 1816 h 2350"/>
                  <a:gd name="T4" fmla="*/ 204 w 2186"/>
                  <a:gd name="T5" fmla="*/ 2350 h 2350"/>
                  <a:gd name="T6" fmla="*/ 2186 w 2186"/>
                  <a:gd name="T7" fmla="*/ 368 h 2350"/>
                  <a:gd name="T8" fmla="*/ 1817 w 2186"/>
                  <a:gd name="T9" fmla="*/ 0 h 2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6" h="2350">
                    <a:moveTo>
                      <a:pt x="1817" y="0"/>
                    </a:moveTo>
                    <a:cubicBezTo>
                      <a:pt x="0" y="1816"/>
                      <a:pt x="0" y="1816"/>
                      <a:pt x="0" y="1816"/>
                    </a:cubicBezTo>
                    <a:cubicBezTo>
                      <a:pt x="51" y="1999"/>
                      <a:pt x="119" y="2177"/>
                      <a:pt x="204" y="2350"/>
                    </a:cubicBezTo>
                    <a:cubicBezTo>
                      <a:pt x="2186" y="368"/>
                      <a:pt x="2186" y="368"/>
                      <a:pt x="2186" y="368"/>
                    </a:cubicBezTo>
                    <a:lnTo>
                      <a:pt x="18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56" name="Freeform 155"/>
              <p:cNvSpPr>
                <a:spLocks/>
              </p:cNvSpPr>
              <p:nvPr/>
            </p:nvSpPr>
            <p:spPr bwMode="auto">
              <a:xfrm>
                <a:off x="6485" y="1959"/>
                <a:ext cx="1079" cy="1101"/>
              </a:xfrm>
              <a:custGeom>
                <a:avLst/>
                <a:gdLst>
                  <a:gd name="T0" fmla="*/ 2047 w 2411"/>
                  <a:gd name="T1" fmla="*/ 0 h 2460"/>
                  <a:gd name="T2" fmla="*/ 0 w 2411"/>
                  <a:gd name="T3" fmla="*/ 2047 h 2460"/>
                  <a:gd name="T4" fmla="*/ 314 w 2411"/>
                  <a:gd name="T5" fmla="*/ 2460 h 2460"/>
                  <a:gd name="T6" fmla="*/ 2411 w 2411"/>
                  <a:gd name="T7" fmla="*/ 364 h 2460"/>
                  <a:gd name="T8" fmla="*/ 2047 w 2411"/>
                  <a:gd name="T9" fmla="*/ 0 h 2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1" h="2460">
                    <a:moveTo>
                      <a:pt x="2047" y="0"/>
                    </a:moveTo>
                    <a:cubicBezTo>
                      <a:pt x="0" y="2047"/>
                      <a:pt x="0" y="2047"/>
                      <a:pt x="0" y="2047"/>
                    </a:cubicBezTo>
                    <a:cubicBezTo>
                      <a:pt x="92" y="2191"/>
                      <a:pt x="197" y="2330"/>
                      <a:pt x="314" y="2460"/>
                    </a:cubicBezTo>
                    <a:cubicBezTo>
                      <a:pt x="2411" y="364"/>
                      <a:pt x="2411" y="364"/>
                      <a:pt x="2411" y="364"/>
                    </a:cubicBezTo>
                    <a:lnTo>
                      <a:pt x="204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57" name="Freeform 156"/>
              <p:cNvSpPr>
                <a:spLocks/>
              </p:cNvSpPr>
              <p:nvPr/>
            </p:nvSpPr>
            <p:spPr bwMode="auto">
              <a:xfrm>
                <a:off x="6262" y="1436"/>
                <a:ext cx="764" cy="894"/>
              </a:xfrm>
              <a:custGeom>
                <a:avLst/>
                <a:gdLst>
                  <a:gd name="T0" fmla="*/ 1376 w 1707"/>
                  <a:gd name="T1" fmla="*/ 0 h 1997"/>
                  <a:gd name="T2" fmla="*/ 12 w 1707"/>
                  <a:gd name="T3" fmla="*/ 1364 h 1997"/>
                  <a:gd name="T4" fmla="*/ 42 w 1707"/>
                  <a:gd name="T5" fmla="*/ 1997 h 1997"/>
                  <a:gd name="T6" fmla="*/ 1707 w 1707"/>
                  <a:gd name="T7" fmla="*/ 331 h 1997"/>
                  <a:gd name="T8" fmla="*/ 1376 w 1707"/>
                  <a:gd name="T9" fmla="*/ 0 h 19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7" h="1997">
                    <a:moveTo>
                      <a:pt x="1376" y="0"/>
                    </a:moveTo>
                    <a:cubicBezTo>
                      <a:pt x="12" y="1364"/>
                      <a:pt x="12" y="1364"/>
                      <a:pt x="12" y="1364"/>
                    </a:cubicBezTo>
                    <a:cubicBezTo>
                      <a:pt x="0" y="1575"/>
                      <a:pt x="10" y="1787"/>
                      <a:pt x="42" y="1997"/>
                    </a:cubicBezTo>
                    <a:cubicBezTo>
                      <a:pt x="1707" y="331"/>
                      <a:pt x="1707" y="331"/>
                      <a:pt x="1707" y="331"/>
                    </a:cubicBezTo>
                    <a:lnTo>
                      <a:pt x="13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58" name="Freeform 157"/>
              <p:cNvSpPr>
                <a:spLocks/>
              </p:cNvSpPr>
              <p:nvPr/>
            </p:nvSpPr>
            <p:spPr bwMode="auto">
              <a:xfrm>
                <a:off x="6730" y="1183"/>
                <a:ext cx="2479" cy="2479"/>
              </a:xfrm>
              <a:custGeom>
                <a:avLst/>
                <a:gdLst>
                  <a:gd name="T0" fmla="*/ 4427 w 5536"/>
                  <a:gd name="T1" fmla="*/ 0 h 5536"/>
                  <a:gd name="T2" fmla="*/ 2331 w 5536"/>
                  <a:gd name="T3" fmla="*/ 2096 h 5536"/>
                  <a:gd name="T4" fmla="*/ 2097 w 5536"/>
                  <a:gd name="T5" fmla="*/ 2330 h 5536"/>
                  <a:gd name="T6" fmla="*/ 0 w 5536"/>
                  <a:gd name="T7" fmla="*/ 4426 h 5536"/>
                  <a:gd name="T8" fmla="*/ 4313 w 5536"/>
                  <a:gd name="T9" fmla="*/ 4313 h 5536"/>
                  <a:gd name="T10" fmla="*/ 4427 w 5536"/>
                  <a:gd name="T11" fmla="*/ 0 h 5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36" h="5536">
                    <a:moveTo>
                      <a:pt x="4427" y="0"/>
                    </a:moveTo>
                    <a:cubicBezTo>
                      <a:pt x="2331" y="2096"/>
                      <a:pt x="2331" y="2096"/>
                      <a:pt x="2331" y="2096"/>
                    </a:cubicBezTo>
                    <a:cubicBezTo>
                      <a:pt x="2097" y="2330"/>
                      <a:pt x="2097" y="2330"/>
                      <a:pt x="2097" y="2330"/>
                    </a:cubicBezTo>
                    <a:cubicBezTo>
                      <a:pt x="0" y="4426"/>
                      <a:pt x="0" y="4426"/>
                      <a:pt x="0" y="4426"/>
                    </a:cubicBezTo>
                    <a:cubicBezTo>
                      <a:pt x="1231" y="5536"/>
                      <a:pt x="3128" y="5497"/>
                      <a:pt x="4313" y="4313"/>
                    </a:cubicBezTo>
                    <a:cubicBezTo>
                      <a:pt x="5498" y="3128"/>
                      <a:pt x="5536" y="1230"/>
                      <a:pt x="442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59" name="Freeform 158"/>
              <p:cNvSpPr>
                <a:spLocks/>
              </p:cNvSpPr>
              <p:nvPr/>
            </p:nvSpPr>
            <p:spPr bwMode="auto">
              <a:xfrm>
                <a:off x="6730" y="599"/>
                <a:ext cx="1878" cy="1418"/>
              </a:xfrm>
              <a:custGeom>
                <a:avLst/>
                <a:gdLst>
                  <a:gd name="T0" fmla="*/ 4193 w 4193"/>
                  <a:gd name="T1" fmla="*/ 1072 h 3168"/>
                  <a:gd name="T2" fmla="*/ 0 w 4193"/>
                  <a:gd name="T3" fmla="*/ 1072 h 3168"/>
                  <a:gd name="T4" fmla="*/ 2096 w 4193"/>
                  <a:gd name="T5" fmla="*/ 3168 h 3168"/>
                  <a:gd name="T6" fmla="*/ 4193 w 4193"/>
                  <a:gd name="T7" fmla="*/ 1072 h 3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93" h="3168">
                    <a:moveTo>
                      <a:pt x="4193" y="1072"/>
                    </a:moveTo>
                    <a:cubicBezTo>
                      <a:pt x="3003" y="0"/>
                      <a:pt x="1190" y="0"/>
                      <a:pt x="0" y="1072"/>
                    </a:cubicBezTo>
                    <a:cubicBezTo>
                      <a:pt x="2096" y="3168"/>
                      <a:pt x="2096" y="3168"/>
                      <a:pt x="2096" y="3168"/>
                    </a:cubicBezTo>
                    <a:lnTo>
                      <a:pt x="4193" y="10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  <p:sp>
          <p:nvSpPr>
            <p:cNvPr id="160" name="Rectangle 159"/>
            <p:cNvSpPr/>
            <p:nvPr/>
          </p:nvSpPr>
          <p:spPr>
            <a:xfrm>
              <a:off x="1906068" y="4390955"/>
              <a:ext cx="395524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6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SCOOT has a worldwide</a:t>
              </a:r>
              <a:r>
                <a:rPr lang="en-US" sz="1600" b="1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 market share </a:t>
              </a:r>
              <a:br>
                <a:rPr lang="en-US" sz="1600" b="1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</a:br>
              <a:r>
                <a:rPr lang="en-US" sz="1600" b="1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of 30%</a:t>
              </a:r>
              <a:r>
                <a:rPr lang="en-US" sz="1600" baseline="300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2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844392" y="6350839"/>
            <a:ext cx="453681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1 SCOOT = Split </a:t>
            </a:r>
            <a:r>
              <a:rPr lang="en-US" sz="1000" dirty="0">
                <a:solidFill>
                  <a:schemeClr val="tx1"/>
                </a:solidFill>
              </a:rPr>
              <a:t>Cycle Offset Optimisation </a:t>
            </a:r>
            <a:r>
              <a:rPr lang="en-US" sz="1000" dirty="0" smtClean="0">
                <a:solidFill>
                  <a:schemeClr val="tx1"/>
                </a:solidFill>
              </a:rPr>
              <a:t>Technique; 2 Siemens estimation</a:t>
            </a:r>
            <a:endParaRPr lang="en-US" sz="1000" dirty="0"/>
          </a:p>
        </p:txBody>
      </p:sp>
      <p:grpSp>
        <p:nvGrpSpPr>
          <p:cNvPr id="220" name="Group 219"/>
          <p:cNvGrpSpPr/>
          <p:nvPr/>
        </p:nvGrpSpPr>
        <p:grpSpPr>
          <a:xfrm>
            <a:off x="720267" y="1821670"/>
            <a:ext cx="4976605" cy="1077218"/>
            <a:chOff x="783767" y="1758170"/>
            <a:chExt cx="4976605" cy="1077218"/>
          </a:xfrm>
        </p:grpSpPr>
        <p:sp>
          <p:nvSpPr>
            <p:cNvPr id="40" name="Rectangle 39"/>
            <p:cNvSpPr/>
            <p:nvPr/>
          </p:nvSpPr>
          <p:spPr>
            <a:xfrm>
              <a:off x="1906068" y="1758170"/>
              <a:ext cx="3854304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 smtClean="0">
                  <a:solidFill>
                    <a:schemeClr val="tx1"/>
                  </a:solidFill>
                </a:rPr>
                <a:t>SCOOT</a:t>
              </a:r>
              <a:r>
                <a:rPr lang="en-US" sz="1600" baseline="30000" dirty="0" smtClean="0">
                  <a:solidFill>
                    <a:schemeClr val="tx1"/>
                  </a:solidFill>
                </a:rPr>
                <a:t>1 </a:t>
              </a:r>
              <a:r>
                <a:rPr lang="en-US" sz="1600" dirty="0" smtClean="0">
                  <a:solidFill>
                    <a:schemeClr val="tx1"/>
                  </a:solidFill>
                </a:rPr>
                <a:t>is </a:t>
              </a:r>
              <a:r>
                <a:rPr lang="en-US" sz="1600" b="1" dirty="0" smtClean="0">
                  <a:solidFill>
                    <a:schemeClr val="tx1"/>
                  </a:solidFill>
                </a:rPr>
                <a:t>a real-time</a:t>
              </a:r>
              <a:r>
                <a:rPr lang="en-US" sz="1600" b="1" dirty="0">
                  <a:solidFill>
                    <a:schemeClr val="tx1"/>
                  </a:solidFill>
                </a:rPr>
                <a:t> adaptive traffic control system </a:t>
              </a:r>
              <a:r>
                <a:rPr lang="en-US" sz="1600" dirty="0">
                  <a:solidFill>
                    <a:schemeClr val="tx1"/>
                  </a:solidFill>
                </a:rPr>
                <a:t>for the coordination and control of traffic signals across an </a:t>
              </a:r>
              <a:r>
                <a:rPr lang="en-US" sz="1600" dirty="0" smtClean="0">
                  <a:solidFill>
                    <a:schemeClr val="tx1"/>
                  </a:solidFill>
                </a:rPr>
                <a:t/>
              </a:r>
              <a:br>
                <a:rPr lang="en-US" sz="1600" dirty="0" smtClean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urban </a:t>
              </a:r>
              <a:r>
                <a:rPr lang="en-US" sz="1600" dirty="0">
                  <a:solidFill>
                    <a:schemeClr val="tx1"/>
                  </a:solidFill>
                </a:rPr>
                <a:t>road </a:t>
              </a:r>
              <a:r>
                <a:rPr lang="en-US" sz="1600" dirty="0" smtClean="0">
                  <a:solidFill>
                    <a:schemeClr val="tx1"/>
                  </a:solidFill>
                </a:rPr>
                <a:t>network</a:t>
              </a:r>
            </a:p>
          </p:txBody>
        </p:sp>
        <p:grpSp>
          <p:nvGrpSpPr>
            <p:cNvPr id="194" name="Gruppieren 219"/>
            <p:cNvGrpSpPr>
              <a:grpSpLocks noChangeAspect="1"/>
            </p:cNvGrpSpPr>
            <p:nvPr/>
          </p:nvGrpSpPr>
          <p:grpSpPr bwMode="gray">
            <a:xfrm>
              <a:off x="783767" y="2041121"/>
              <a:ext cx="697916" cy="511317"/>
              <a:chOff x="8594725" y="2000250"/>
              <a:chExt cx="1965325" cy="1439863"/>
            </a:xfrm>
            <a:solidFill>
              <a:srgbClr val="32A0A0"/>
            </a:solidFill>
          </p:grpSpPr>
          <p:sp>
            <p:nvSpPr>
              <p:cNvPr id="195" name="Freeform 49"/>
              <p:cNvSpPr>
                <a:spLocks noChangeAspect="1" noEditPoints="1"/>
              </p:cNvSpPr>
              <p:nvPr/>
            </p:nvSpPr>
            <p:spPr bwMode="gray">
              <a:xfrm>
                <a:off x="8594725" y="2000250"/>
                <a:ext cx="1965325" cy="1439863"/>
              </a:xfrm>
              <a:custGeom>
                <a:avLst/>
                <a:gdLst>
                  <a:gd name="T0" fmla="*/ 0 w 800"/>
                  <a:gd name="T1" fmla="*/ 560 h 586"/>
                  <a:gd name="T2" fmla="*/ 800 w 800"/>
                  <a:gd name="T3" fmla="*/ 560 h 586"/>
                  <a:gd name="T4" fmla="*/ 773 w 800"/>
                  <a:gd name="T5" fmla="*/ 586 h 586"/>
                  <a:gd name="T6" fmla="*/ 27 w 800"/>
                  <a:gd name="T7" fmla="*/ 586 h 586"/>
                  <a:gd name="T8" fmla="*/ 0 w 800"/>
                  <a:gd name="T9" fmla="*/ 560 h 586"/>
                  <a:gd name="T10" fmla="*/ 320 w 800"/>
                  <a:gd name="T11" fmla="*/ 400 h 586"/>
                  <a:gd name="T12" fmla="*/ 480 w 800"/>
                  <a:gd name="T13" fmla="*/ 400 h 586"/>
                  <a:gd name="T14" fmla="*/ 480 w 800"/>
                  <a:gd name="T15" fmla="*/ 473 h 586"/>
                  <a:gd name="T16" fmla="*/ 320 w 800"/>
                  <a:gd name="T17" fmla="*/ 473 h 586"/>
                  <a:gd name="T18" fmla="*/ 320 w 800"/>
                  <a:gd name="T19" fmla="*/ 400 h 586"/>
                  <a:gd name="T20" fmla="*/ 80 w 800"/>
                  <a:gd name="T21" fmla="*/ 26 h 586"/>
                  <a:gd name="T22" fmla="*/ 720 w 800"/>
                  <a:gd name="T23" fmla="*/ 26 h 586"/>
                  <a:gd name="T24" fmla="*/ 720 w 800"/>
                  <a:gd name="T25" fmla="*/ 373 h 586"/>
                  <a:gd name="T26" fmla="*/ 80 w 800"/>
                  <a:gd name="T27" fmla="*/ 373 h 586"/>
                  <a:gd name="T28" fmla="*/ 80 w 800"/>
                  <a:gd name="T29" fmla="*/ 26 h 586"/>
                  <a:gd name="T30" fmla="*/ 53 w 800"/>
                  <a:gd name="T31" fmla="*/ 20 h 586"/>
                  <a:gd name="T32" fmla="*/ 73 w 800"/>
                  <a:gd name="T33" fmla="*/ 0 h 586"/>
                  <a:gd name="T34" fmla="*/ 727 w 800"/>
                  <a:gd name="T35" fmla="*/ 0 h 586"/>
                  <a:gd name="T36" fmla="*/ 747 w 800"/>
                  <a:gd name="T37" fmla="*/ 20 h 586"/>
                  <a:gd name="T38" fmla="*/ 747 w 800"/>
                  <a:gd name="T39" fmla="*/ 380 h 586"/>
                  <a:gd name="T40" fmla="*/ 727 w 800"/>
                  <a:gd name="T41" fmla="*/ 400 h 586"/>
                  <a:gd name="T42" fmla="*/ 73 w 800"/>
                  <a:gd name="T43" fmla="*/ 400 h 586"/>
                  <a:gd name="T44" fmla="*/ 53 w 800"/>
                  <a:gd name="T45" fmla="*/ 380 h 586"/>
                  <a:gd name="T46" fmla="*/ 53 w 800"/>
                  <a:gd name="T47" fmla="*/ 20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00" h="586">
                    <a:moveTo>
                      <a:pt x="0" y="560"/>
                    </a:moveTo>
                    <a:cubicBezTo>
                      <a:pt x="800" y="560"/>
                      <a:pt x="800" y="560"/>
                      <a:pt x="800" y="560"/>
                    </a:cubicBezTo>
                    <a:cubicBezTo>
                      <a:pt x="800" y="574"/>
                      <a:pt x="788" y="586"/>
                      <a:pt x="773" y="586"/>
                    </a:cubicBezTo>
                    <a:cubicBezTo>
                      <a:pt x="27" y="586"/>
                      <a:pt x="27" y="586"/>
                      <a:pt x="27" y="586"/>
                    </a:cubicBezTo>
                    <a:cubicBezTo>
                      <a:pt x="12" y="586"/>
                      <a:pt x="0" y="574"/>
                      <a:pt x="0" y="560"/>
                    </a:cubicBezTo>
                    <a:close/>
                    <a:moveTo>
                      <a:pt x="320" y="400"/>
                    </a:moveTo>
                    <a:cubicBezTo>
                      <a:pt x="480" y="400"/>
                      <a:pt x="480" y="400"/>
                      <a:pt x="480" y="400"/>
                    </a:cubicBezTo>
                    <a:cubicBezTo>
                      <a:pt x="480" y="473"/>
                      <a:pt x="480" y="473"/>
                      <a:pt x="480" y="473"/>
                    </a:cubicBezTo>
                    <a:cubicBezTo>
                      <a:pt x="320" y="473"/>
                      <a:pt x="320" y="473"/>
                      <a:pt x="320" y="473"/>
                    </a:cubicBezTo>
                    <a:lnTo>
                      <a:pt x="320" y="400"/>
                    </a:lnTo>
                    <a:close/>
                    <a:moveTo>
                      <a:pt x="80" y="26"/>
                    </a:moveTo>
                    <a:cubicBezTo>
                      <a:pt x="720" y="26"/>
                      <a:pt x="720" y="26"/>
                      <a:pt x="720" y="26"/>
                    </a:cubicBezTo>
                    <a:cubicBezTo>
                      <a:pt x="720" y="373"/>
                      <a:pt x="720" y="373"/>
                      <a:pt x="720" y="373"/>
                    </a:cubicBezTo>
                    <a:cubicBezTo>
                      <a:pt x="80" y="373"/>
                      <a:pt x="80" y="373"/>
                      <a:pt x="80" y="373"/>
                    </a:cubicBezTo>
                    <a:lnTo>
                      <a:pt x="80" y="26"/>
                    </a:lnTo>
                    <a:close/>
                    <a:moveTo>
                      <a:pt x="53" y="20"/>
                    </a:moveTo>
                    <a:cubicBezTo>
                      <a:pt x="53" y="9"/>
                      <a:pt x="62" y="0"/>
                      <a:pt x="73" y="0"/>
                    </a:cubicBezTo>
                    <a:cubicBezTo>
                      <a:pt x="727" y="0"/>
                      <a:pt x="727" y="0"/>
                      <a:pt x="727" y="0"/>
                    </a:cubicBezTo>
                    <a:cubicBezTo>
                      <a:pt x="738" y="0"/>
                      <a:pt x="747" y="9"/>
                      <a:pt x="747" y="20"/>
                    </a:cubicBezTo>
                    <a:cubicBezTo>
                      <a:pt x="747" y="380"/>
                      <a:pt x="747" y="380"/>
                      <a:pt x="747" y="380"/>
                    </a:cubicBezTo>
                    <a:cubicBezTo>
                      <a:pt x="747" y="391"/>
                      <a:pt x="738" y="400"/>
                      <a:pt x="727" y="400"/>
                    </a:cubicBezTo>
                    <a:cubicBezTo>
                      <a:pt x="73" y="400"/>
                      <a:pt x="73" y="400"/>
                      <a:pt x="73" y="400"/>
                    </a:cubicBezTo>
                    <a:cubicBezTo>
                      <a:pt x="62" y="400"/>
                      <a:pt x="53" y="391"/>
                      <a:pt x="53" y="380"/>
                    </a:cubicBezTo>
                    <a:lnTo>
                      <a:pt x="5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196" name="Freeform 51"/>
              <p:cNvSpPr>
                <a:spLocks noChangeAspect="1"/>
              </p:cNvSpPr>
              <p:nvPr/>
            </p:nvSpPr>
            <p:spPr bwMode="gray">
              <a:xfrm>
                <a:off x="8594725" y="3142606"/>
                <a:ext cx="1965325" cy="214314"/>
              </a:xfrm>
              <a:custGeom>
                <a:avLst/>
                <a:gdLst>
                  <a:gd name="T0" fmla="*/ 139 w 1238"/>
                  <a:gd name="T1" fmla="*/ 0 h 135"/>
                  <a:gd name="T2" fmla="*/ 1099 w 1238"/>
                  <a:gd name="T3" fmla="*/ 0 h 135"/>
                  <a:gd name="T4" fmla="*/ 1238 w 1238"/>
                  <a:gd name="T5" fmla="*/ 135 h 135"/>
                  <a:gd name="T6" fmla="*/ 0 w 1238"/>
                  <a:gd name="T7" fmla="*/ 135 h 135"/>
                  <a:gd name="T8" fmla="*/ 139 w 1238"/>
                  <a:gd name="T9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8" h="135">
                    <a:moveTo>
                      <a:pt x="139" y="0"/>
                    </a:moveTo>
                    <a:lnTo>
                      <a:pt x="1099" y="0"/>
                    </a:lnTo>
                    <a:lnTo>
                      <a:pt x="1238" y="135"/>
                    </a:lnTo>
                    <a:lnTo>
                      <a:pt x="0" y="135"/>
                    </a:lnTo>
                    <a:lnTo>
                      <a:pt x="13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197" name="Rectangle 52"/>
              <p:cNvSpPr>
                <a:spLocks noChangeAspect="1" noChangeArrowheads="1"/>
              </p:cNvSpPr>
              <p:nvPr/>
            </p:nvSpPr>
            <p:spPr bwMode="gray">
              <a:xfrm>
                <a:off x="8823325" y="2197100"/>
                <a:ext cx="263525" cy="6873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198" name="Rectangle 53"/>
              <p:cNvSpPr>
                <a:spLocks noChangeAspect="1" noChangeArrowheads="1"/>
              </p:cNvSpPr>
              <p:nvPr/>
            </p:nvSpPr>
            <p:spPr bwMode="gray">
              <a:xfrm>
                <a:off x="8823325" y="2098675"/>
                <a:ext cx="1508125" cy="635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199" name="Freeform 54"/>
              <p:cNvSpPr>
                <a:spLocks noChangeAspect="1" noEditPoints="1"/>
              </p:cNvSpPr>
              <p:nvPr/>
            </p:nvSpPr>
            <p:spPr bwMode="gray">
              <a:xfrm>
                <a:off x="10069513" y="2197100"/>
                <a:ext cx="261938" cy="687388"/>
              </a:xfrm>
              <a:custGeom>
                <a:avLst/>
                <a:gdLst>
                  <a:gd name="T0" fmla="*/ 165 w 165"/>
                  <a:gd name="T1" fmla="*/ 433 h 433"/>
                  <a:gd name="T2" fmla="*/ 0 w 165"/>
                  <a:gd name="T3" fmla="*/ 433 h 433"/>
                  <a:gd name="T4" fmla="*/ 0 w 165"/>
                  <a:gd name="T5" fmla="*/ 0 h 433"/>
                  <a:gd name="T6" fmla="*/ 165 w 165"/>
                  <a:gd name="T7" fmla="*/ 0 h 433"/>
                  <a:gd name="T8" fmla="*/ 165 w 165"/>
                  <a:gd name="T9" fmla="*/ 433 h 433"/>
                  <a:gd name="T10" fmla="*/ 143 w 165"/>
                  <a:gd name="T11" fmla="*/ 20 h 433"/>
                  <a:gd name="T12" fmla="*/ 20 w 165"/>
                  <a:gd name="T13" fmla="*/ 20 h 433"/>
                  <a:gd name="T14" fmla="*/ 20 w 165"/>
                  <a:gd name="T15" fmla="*/ 412 h 433"/>
                  <a:gd name="T16" fmla="*/ 143 w 165"/>
                  <a:gd name="T17" fmla="*/ 412 h 433"/>
                  <a:gd name="T18" fmla="*/ 143 w 165"/>
                  <a:gd name="T19" fmla="*/ 20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5" h="433">
                    <a:moveTo>
                      <a:pt x="165" y="433"/>
                    </a:moveTo>
                    <a:lnTo>
                      <a:pt x="0" y="433"/>
                    </a:lnTo>
                    <a:lnTo>
                      <a:pt x="0" y="0"/>
                    </a:lnTo>
                    <a:lnTo>
                      <a:pt x="165" y="0"/>
                    </a:lnTo>
                    <a:lnTo>
                      <a:pt x="165" y="433"/>
                    </a:lnTo>
                    <a:close/>
                    <a:moveTo>
                      <a:pt x="143" y="20"/>
                    </a:moveTo>
                    <a:lnTo>
                      <a:pt x="20" y="20"/>
                    </a:lnTo>
                    <a:lnTo>
                      <a:pt x="20" y="412"/>
                    </a:lnTo>
                    <a:lnTo>
                      <a:pt x="143" y="412"/>
                    </a:lnTo>
                    <a:lnTo>
                      <a:pt x="14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200" name="Freeform 55"/>
              <p:cNvSpPr>
                <a:spLocks noChangeAspect="1"/>
              </p:cNvSpPr>
              <p:nvPr/>
            </p:nvSpPr>
            <p:spPr bwMode="gray">
              <a:xfrm>
                <a:off x="9650413" y="2447925"/>
                <a:ext cx="146050" cy="228600"/>
              </a:xfrm>
              <a:custGeom>
                <a:avLst/>
                <a:gdLst>
                  <a:gd name="T0" fmla="*/ 92 w 92"/>
                  <a:gd name="T1" fmla="*/ 144 h 144"/>
                  <a:gd name="T2" fmla="*/ 0 w 92"/>
                  <a:gd name="T3" fmla="*/ 144 h 144"/>
                  <a:gd name="T4" fmla="*/ 0 w 92"/>
                  <a:gd name="T5" fmla="*/ 127 h 144"/>
                  <a:gd name="T6" fmla="*/ 38 w 92"/>
                  <a:gd name="T7" fmla="*/ 127 h 144"/>
                  <a:gd name="T8" fmla="*/ 38 w 92"/>
                  <a:gd name="T9" fmla="*/ 0 h 144"/>
                  <a:gd name="T10" fmla="*/ 56 w 92"/>
                  <a:gd name="T11" fmla="*/ 0 h 144"/>
                  <a:gd name="T12" fmla="*/ 56 w 92"/>
                  <a:gd name="T13" fmla="*/ 127 h 144"/>
                  <a:gd name="T14" fmla="*/ 92 w 92"/>
                  <a:gd name="T15" fmla="*/ 127 h 144"/>
                  <a:gd name="T16" fmla="*/ 92 w 92"/>
                  <a:gd name="T1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44">
                    <a:moveTo>
                      <a:pt x="92" y="144"/>
                    </a:moveTo>
                    <a:lnTo>
                      <a:pt x="0" y="144"/>
                    </a:lnTo>
                    <a:lnTo>
                      <a:pt x="0" y="127"/>
                    </a:lnTo>
                    <a:lnTo>
                      <a:pt x="38" y="127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56" y="127"/>
                    </a:lnTo>
                    <a:lnTo>
                      <a:pt x="92" y="127"/>
                    </a:lnTo>
                    <a:lnTo>
                      <a:pt x="92" y="1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201" name="Rectangle 56"/>
              <p:cNvSpPr>
                <a:spLocks noChangeAspect="1" noChangeArrowheads="1"/>
              </p:cNvSpPr>
              <p:nvPr/>
            </p:nvSpPr>
            <p:spPr bwMode="gray">
              <a:xfrm>
                <a:off x="9363075" y="2649538"/>
                <a:ext cx="146050" cy="269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  <p:sp>
            <p:nvSpPr>
              <p:cNvPr id="202" name="Freeform 57"/>
              <p:cNvSpPr>
                <a:spLocks noChangeAspect="1" noEditPoints="1"/>
              </p:cNvSpPr>
              <p:nvPr/>
            </p:nvSpPr>
            <p:spPr bwMode="gray">
              <a:xfrm>
                <a:off x="9218613" y="2301875"/>
                <a:ext cx="722313" cy="433388"/>
              </a:xfrm>
              <a:custGeom>
                <a:avLst/>
                <a:gdLst>
                  <a:gd name="T0" fmla="*/ 91 w 455"/>
                  <a:gd name="T1" fmla="*/ 273 h 273"/>
                  <a:gd name="T2" fmla="*/ 0 w 455"/>
                  <a:gd name="T3" fmla="*/ 273 h 273"/>
                  <a:gd name="T4" fmla="*/ 0 w 455"/>
                  <a:gd name="T5" fmla="*/ 181 h 273"/>
                  <a:gd name="T6" fmla="*/ 91 w 455"/>
                  <a:gd name="T7" fmla="*/ 181 h 273"/>
                  <a:gd name="T8" fmla="*/ 91 w 455"/>
                  <a:gd name="T9" fmla="*/ 273 h 273"/>
                  <a:gd name="T10" fmla="*/ 272 w 455"/>
                  <a:gd name="T11" fmla="*/ 181 h 273"/>
                  <a:gd name="T12" fmla="*/ 183 w 455"/>
                  <a:gd name="T13" fmla="*/ 181 h 273"/>
                  <a:gd name="T14" fmla="*/ 183 w 455"/>
                  <a:gd name="T15" fmla="*/ 273 h 273"/>
                  <a:gd name="T16" fmla="*/ 272 w 455"/>
                  <a:gd name="T17" fmla="*/ 273 h 273"/>
                  <a:gd name="T18" fmla="*/ 272 w 455"/>
                  <a:gd name="T19" fmla="*/ 181 h 273"/>
                  <a:gd name="T20" fmla="*/ 364 w 455"/>
                  <a:gd name="T21" fmla="*/ 0 h 273"/>
                  <a:gd name="T22" fmla="*/ 272 w 455"/>
                  <a:gd name="T23" fmla="*/ 0 h 273"/>
                  <a:gd name="T24" fmla="*/ 272 w 455"/>
                  <a:gd name="T25" fmla="*/ 92 h 273"/>
                  <a:gd name="T26" fmla="*/ 364 w 455"/>
                  <a:gd name="T27" fmla="*/ 92 h 273"/>
                  <a:gd name="T28" fmla="*/ 364 w 455"/>
                  <a:gd name="T29" fmla="*/ 0 h 273"/>
                  <a:gd name="T30" fmla="*/ 455 w 455"/>
                  <a:gd name="T31" fmla="*/ 181 h 273"/>
                  <a:gd name="T32" fmla="*/ 364 w 455"/>
                  <a:gd name="T33" fmla="*/ 181 h 273"/>
                  <a:gd name="T34" fmla="*/ 364 w 455"/>
                  <a:gd name="T35" fmla="*/ 273 h 273"/>
                  <a:gd name="T36" fmla="*/ 455 w 455"/>
                  <a:gd name="T37" fmla="*/ 273 h 273"/>
                  <a:gd name="T38" fmla="*/ 455 w 455"/>
                  <a:gd name="T39" fmla="*/ 181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5" h="273">
                    <a:moveTo>
                      <a:pt x="91" y="273"/>
                    </a:moveTo>
                    <a:lnTo>
                      <a:pt x="0" y="273"/>
                    </a:lnTo>
                    <a:lnTo>
                      <a:pt x="0" y="181"/>
                    </a:lnTo>
                    <a:lnTo>
                      <a:pt x="91" y="181"/>
                    </a:lnTo>
                    <a:lnTo>
                      <a:pt x="91" y="273"/>
                    </a:lnTo>
                    <a:close/>
                    <a:moveTo>
                      <a:pt x="272" y="181"/>
                    </a:moveTo>
                    <a:lnTo>
                      <a:pt x="183" y="181"/>
                    </a:lnTo>
                    <a:lnTo>
                      <a:pt x="183" y="273"/>
                    </a:lnTo>
                    <a:lnTo>
                      <a:pt x="272" y="273"/>
                    </a:lnTo>
                    <a:lnTo>
                      <a:pt x="272" y="181"/>
                    </a:lnTo>
                    <a:close/>
                    <a:moveTo>
                      <a:pt x="364" y="0"/>
                    </a:moveTo>
                    <a:lnTo>
                      <a:pt x="272" y="0"/>
                    </a:lnTo>
                    <a:lnTo>
                      <a:pt x="272" y="92"/>
                    </a:lnTo>
                    <a:lnTo>
                      <a:pt x="364" y="92"/>
                    </a:lnTo>
                    <a:lnTo>
                      <a:pt x="364" y="0"/>
                    </a:lnTo>
                    <a:close/>
                    <a:moveTo>
                      <a:pt x="455" y="181"/>
                    </a:moveTo>
                    <a:lnTo>
                      <a:pt x="364" y="181"/>
                    </a:lnTo>
                    <a:lnTo>
                      <a:pt x="364" y="273"/>
                    </a:lnTo>
                    <a:lnTo>
                      <a:pt x="455" y="273"/>
                    </a:lnTo>
                    <a:lnTo>
                      <a:pt x="455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ea typeface="Arial Unicode MS"/>
                </a:endParaRPr>
              </a:p>
            </p:txBody>
          </p:sp>
        </p:grpSp>
      </p:grpSp>
      <p:grpSp>
        <p:nvGrpSpPr>
          <p:cNvPr id="219" name="Group 218"/>
          <p:cNvGrpSpPr/>
          <p:nvPr/>
        </p:nvGrpSpPr>
        <p:grpSpPr>
          <a:xfrm>
            <a:off x="684464" y="3290672"/>
            <a:ext cx="5113350" cy="584775"/>
            <a:chOff x="747964" y="3279589"/>
            <a:chExt cx="5113350" cy="584775"/>
          </a:xfrm>
        </p:grpSpPr>
        <p:sp>
          <p:nvSpPr>
            <p:cNvPr id="39" name="Rectangle 38"/>
            <p:cNvSpPr/>
            <p:nvPr/>
          </p:nvSpPr>
          <p:spPr>
            <a:xfrm>
              <a:off x="1906068" y="3279589"/>
              <a:ext cx="395524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600" b="1" dirty="0">
                  <a:solidFill>
                    <a:schemeClr val="tx1"/>
                  </a:solidFill>
                  <a:sym typeface="Wingdings" panose="05000000000000000000" pitchFamily="2" charset="2"/>
                </a:rPr>
                <a:t>Jointly and equally owned </a:t>
              </a:r>
              <a:r>
                <a:rPr lang="en-US" sz="1600" dirty="0">
                  <a:solidFill>
                    <a:schemeClr val="tx1"/>
                  </a:solidFill>
                  <a:sym typeface="Wingdings" panose="05000000000000000000" pitchFamily="2" charset="2"/>
                </a:rPr>
                <a:t>by TRL, Siemens and </a:t>
              </a:r>
              <a:r>
                <a:rPr lang="en-US" sz="16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Dynniq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203" name="Group 2"/>
            <p:cNvGrpSpPr>
              <a:grpSpLocks noChangeAspect="1"/>
            </p:cNvGrpSpPr>
            <p:nvPr/>
          </p:nvGrpSpPr>
          <p:grpSpPr bwMode="gray">
            <a:xfrm>
              <a:off x="747964" y="3317606"/>
              <a:ext cx="769522" cy="508740"/>
              <a:chOff x="9016713" y="1908232"/>
              <a:chExt cx="857249" cy="566737"/>
            </a:xfrm>
            <a:solidFill>
              <a:srgbClr val="32A0A0"/>
            </a:solidFill>
          </p:grpSpPr>
          <p:sp>
            <p:nvSpPr>
              <p:cNvPr id="204" name="Freeform 58"/>
              <p:cNvSpPr>
                <a:spLocks/>
              </p:cNvSpPr>
              <p:nvPr/>
            </p:nvSpPr>
            <p:spPr bwMode="gray">
              <a:xfrm>
                <a:off x="9016713" y="1974907"/>
                <a:ext cx="307975" cy="414337"/>
              </a:xfrm>
              <a:custGeom>
                <a:avLst/>
                <a:gdLst>
                  <a:gd name="T0" fmla="*/ 73 w 82"/>
                  <a:gd name="T1" fmla="*/ 12 h 110"/>
                  <a:gd name="T2" fmla="*/ 72 w 82"/>
                  <a:gd name="T3" fmla="*/ 40 h 110"/>
                  <a:gd name="T4" fmla="*/ 65 w 82"/>
                  <a:gd name="T5" fmla="*/ 62 h 110"/>
                  <a:gd name="T6" fmla="*/ 82 w 82"/>
                  <a:gd name="T7" fmla="*/ 73 h 110"/>
                  <a:gd name="T8" fmla="*/ 45 w 82"/>
                  <a:gd name="T9" fmla="*/ 90 h 110"/>
                  <a:gd name="T10" fmla="*/ 41 w 82"/>
                  <a:gd name="T11" fmla="*/ 110 h 110"/>
                  <a:gd name="T12" fmla="*/ 1 w 82"/>
                  <a:gd name="T13" fmla="*/ 110 h 110"/>
                  <a:gd name="T14" fmla="*/ 3 w 82"/>
                  <a:gd name="T15" fmla="*/ 83 h 110"/>
                  <a:gd name="T16" fmla="*/ 42 w 82"/>
                  <a:gd name="T17" fmla="*/ 62 h 110"/>
                  <a:gd name="T18" fmla="*/ 35 w 82"/>
                  <a:gd name="T19" fmla="*/ 40 h 110"/>
                  <a:gd name="T20" fmla="*/ 34 w 82"/>
                  <a:gd name="T21" fmla="*/ 12 h 110"/>
                  <a:gd name="T22" fmla="*/ 53 w 82"/>
                  <a:gd name="T23" fmla="*/ 0 h 110"/>
                  <a:gd name="T24" fmla="*/ 73 w 82"/>
                  <a:gd name="T25" fmla="*/ 1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" h="110">
                    <a:moveTo>
                      <a:pt x="73" y="12"/>
                    </a:moveTo>
                    <a:cubicBezTo>
                      <a:pt x="77" y="19"/>
                      <a:pt x="75" y="30"/>
                      <a:pt x="72" y="40"/>
                    </a:cubicBezTo>
                    <a:cubicBezTo>
                      <a:pt x="68" y="50"/>
                      <a:pt x="64" y="55"/>
                      <a:pt x="65" y="62"/>
                    </a:cubicBezTo>
                    <a:cubicBezTo>
                      <a:pt x="65" y="65"/>
                      <a:pt x="73" y="69"/>
                      <a:pt x="82" y="73"/>
                    </a:cubicBezTo>
                    <a:cubicBezTo>
                      <a:pt x="68" y="79"/>
                      <a:pt x="50" y="84"/>
                      <a:pt x="45" y="90"/>
                    </a:cubicBezTo>
                    <a:cubicBezTo>
                      <a:pt x="42" y="93"/>
                      <a:pt x="41" y="104"/>
                      <a:pt x="41" y="110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1" y="110"/>
                      <a:pt x="0" y="86"/>
                      <a:pt x="3" y="83"/>
                    </a:cubicBezTo>
                    <a:cubicBezTo>
                      <a:pt x="7" y="79"/>
                      <a:pt x="41" y="68"/>
                      <a:pt x="42" y="62"/>
                    </a:cubicBezTo>
                    <a:cubicBezTo>
                      <a:pt x="42" y="55"/>
                      <a:pt x="39" y="50"/>
                      <a:pt x="35" y="40"/>
                    </a:cubicBezTo>
                    <a:cubicBezTo>
                      <a:pt x="31" y="30"/>
                      <a:pt x="30" y="19"/>
                      <a:pt x="34" y="12"/>
                    </a:cubicBezTo>
                    <a:cubicBezTo>
                      <a:pt x="38" y="4"/>
                      <a:pt x="44" y="0"/>
                      <a:pt x="53" y="0"/>
                    </a:cubicBezTo>
                    <a:cubicBezTo>
                      <a:pt x="62" y="0"/>
                      <a:pt x="68" y="4"/>
                      <a:pt x="73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400" b="1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05" name="Freeform 59"/>
              <p:cNvSpPr>
                <a:spLocks/>
              </p:cNvSpPr>
              <p:nvPr/>
            </p:nvSpPr>
            <p:spPr bwMode="gray">
              <a:xfrm>
                <a:off x="9569162" y="1974907"/>
                <a:ext cx="304800" cy="414337"/>
              </a:xfrm>
              <a:custGeom>
                <a:avLst/>
                <a:gdLst>
                  <a:gd name="T0" fmla="*/ 47 w 81"/>
                  <a:gd name="T1" fmla="*/ 12 h 110"/>
                  <a:gd name="T2" fmla="*/ 46 w 81"/>
                  <a:gd name="T3" fmla="*/ 40 h 110"/>
                  <a:gd name="T4" fmla="*/ 39 w 81"/>
                  <a:gd name="T5" fmla="*/ 62 h 110"/>
                  <a:gd name="T6" fmla="*/ 78 w 81"/>
                  <a:gd name="T7" fmla="*/ 83 h 110"/>
                  <a:gd name="T8" fmla="*/ 80 w 81"/>
                  <a:gd name="T9" fmla="*/ 110 h 110"/>
                  <a:gd name="T10" fmla="*/ 41 w 81"/>
                  <a:gd name="T11" fmla="*/ 110 h 110"/>
                  <a:gd name="T12" fmla="*/ 36 w 81"/>
                  <a:gd name="T13" fmla="*/ 90 h 110"/>
                  <a:gd name="T14" fmla="*/ 0 w 81"/>
                  <a:gd name="T15" fmla="*/ 72 h 110"/>
                  <a:gd name="T16" fmla="*/ 16 w 81"/>
                  <a:gd name="T17" fmla="*/ 62 h 110"/>
                  <a:gd name="T18" fmla="*/ 9 w 81"/>
                  <a:gd name="T19" fmla="*/ 40 h 110"/>
                  <a:gd name="T20" fmla="*/ 8 w 81"/>
                  <a:gd name="T21" fmla="*/ 12 h 110"/>
                  <a:gd name="T22" fmla="*/ 28 w 81"/>
                  <a:gd name="T23" fmla="*/ 0 h 110"/>
                  <a:gd name="T24" fmla="*/ 47 w 81"/>
                  <a:gd name="T25" fmla="*/ 1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1" h="110">
                    <a:moveTo>
                      <a:pt x="47" y="12"/>
                    </a:moveTo>
                    <a:cubicBezTo>
                      <a:pt x="51" y="19"/>
                      <a:pt x="50" y="30"/>
                      <a:pt x="46" y="40"/>
                    </a:cubicBezTo>
                    <a:cubicBezTo>
                      <a:pt x="42" y="50"/>
                      <a:pt x="39" y="55"/>
                      <a:pt x="39" y="62"/>
                    </a:cubicBezTo>
                    <a:cubicBezTo>
                      <a:pt x="40" y="68"/>
                      <a:pt x="74" y="79"/>
                      <a:pt x="78" y="83"/>
                    </a:cubicBezTo>
                    <a:cubicBezTo>
                      <a:pt x="81" y="86"/>
                      <a:pt x="80" y="110"/>
                      <a:pt x="80" y="110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40" y="101"/>
                      <a:pt x="39" y="93"/>
                      <a:pt x="36" y="90"/>
                    </a:cubicBezTo>
                    <a:cubicBezTo>
                      <a:pt x="31" y="84"/>
                      <a:pt x="13" y="78"/>
                      <a:pt x="0" y="72"/>
                    </a:cubicBezTo>
                    <a:cubicBezTo>
                      <a:pt x="8" y="69"/>
                      <a:pt x="16" y="65"/>
                      <a:pt x="16" y="62"/>
                    </a:cubicBezTo>
                    <a:cubicBezTo>
                      <a:pt x="17" y="55"/>
                      <a:pt x="13" y="50"/>
                      <a:pt x="9" y="40"/>
                    </a:cubicBezTo>
                    <a:cubicBezTo>
                      <a:pt x="6" y="30"/>
                      <a:pt x="4" y="19"/>
                      <a:pt x="8" y="12"/>
                    </a:cubicBezTo>
                    <a:cubicBezTo>
                      <a:pt x="13" y="4"/>
                      <a:pt x="19" y="0"/>
                      <a:pt x="28" y="0"/>
                    </a:cubicBezTo>
                    <a:cubicBezTo>
                      <a:pt x="37" y="0"/>
                      <a:pt x="43" y="4"/>
                      <a:pt x="4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400" b="1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06" name="Freeform 60"/>
              <p:cNvSpPr>
                <a:spLocks/>
              </p:cNvSpPr>
              <p:nvPr/>
            </p:nvSpPr>
            <p:spPr bwMode="gray">
              <a:xfrm>
                <a:off x="9178637" y="1908232"/>
                <a:ext cx="536575" cy="566737"/>
              </a:xfrm>
              <a:custGeom>
                <a:avLst/>
                <a:gdLst>
                  <a:gd name="T0" fmla="*/ 97 w 143"/>
                  <a:gd name="T1" fmla="*/ 16 h 151"/>
                  <a:gd name="T2" fmla="*/ 96 w 143"/>
                  <a:gd name="T3" fmla="*/ 54 h 151"/>
                  <a:gd name="T4" fmla="*/ 86 w 143"/>
                  <a:gd name="T5" fmla="*/ 82 h 151"/>
                  <a:gd name="T6" fmla="*/ 138 w 143"/>
                  <a:gd name="T7" fmla="*/ 110 h 151"/>
                  <a:gd name="T8" fmla="*/ 141 w 143"/>
                  <a:gd name="T9" fmla="*/ 151 h 151"/>
                  <a:gd name="T10" fmla="*/ 2 w 143"/>
                  <a:gd name="T11" fmla="*/ 151 h 151"/>
                  <a:gd name="T12" fmla="*/ 5 w 143"/>
                  <a:gd name="T13" fmla="*/ 110 h 151"/>
                  <a:gd name="T14" fmla="*/ 56 w 143"/>
                  <a:gd name="T15" fmla="*/ 82 h 151"/>
                  <a:gd name="T16" fmla="*/ 47 w 143"/>
                  <a:gd name="T17" fmla="*/ 54 h 151"/>
                  <a:gd name="T18" fmla="*/ 46 w 143"/>
                  <a:gd name="T19" fmla="*/ 16 h 151"/>
                  <a:gd name="T20" fmla="*/ 71 w 143"/>
                  <a:gd name="T21" fmla="*/ 0 h 151"/>
                  <a:gd name="T22" fmla="*/ 97 w 143"/>
                  <a:gd name="T23" fmla="*/ 16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3" h="151">
                    <a:moveTo>
                      <a:pt x="97" y="16"/>
                    </a:moveTo>
                    <a:cubicBezTo>
                      <a:pt x="103" y="26"/>
                      <a:pt x="101" y="41"/>
                      <a:pt x="96" y="54"/>
                    </a:cubicBezTo>
                    <a:cubicBezTo>
                      <a:pt x="91" y="67"/>
                      <a:pt x="86" y="74"/>
                      <a:pt x="86" y="82"/>
                    </a:cubicBezTo>
                    <a:cubicBezTo>
                      <a:pt x="87" y="91"/>
                      <a:pt x="133" y="105"/>
                      <a:pt x="138" y="110"/>
                    </a:cubicBezTo>
                    <a:cubicBezTo>
                      <a:pt x="143" y="115"/>
                      <a:pt x="141" y="151"/>
                      <a:pt x="141" y="151"/>
                    </a:cubicBezTo>
                    <a:cubicBezTo>
                      <a:pt x="2" y="151"/>
                      <a:pt x="2" y="151"/>
                      <a:pt x="2" y="151"/>
                    </a:cubicBezTo>
                    <a:cubicBezTo>
                      <a:pt x="2" y="151"/>
                      <a:pt x="0" y="115"/>
                      <a:pt x="5" y="110"/>
                    </a:cubicBezTo>
                    <a:cubicBezTo>
                      <a:pt x="10" y="105"/>
                      <a:pt x="56" y="91"/>
                      <a:pt x="56" y="82"/>
                    </a:cubicBezTo>
                    <a:cubicBezTo>
                      <a:pt x="57" y="74"/>
                      <a:pt x="52" y="67"/>
                      <a:pt x="47" y="54"/>
                    </a:cubicBezTo>
                    <a:cubicBezTo>
                      <a:pt x="42" y="41"/>
                      <a:pt x="40" y="26"/>
                      <a:pt x="46" y="16"/>
                    </a:cubicBezTo>
                    <a:cubicBezTo>
                      <a:pt x="51" y="6"/>
                      <a:pt x="60" y="0"/>
                      <a:pt x="71" y="0"/>
                    </a:cubicBezTo>
                    <a:cubicBezTo>
                      <a:pt x="83" y="0"/>
                      <a:pt x="91" y="6"/>
                      <a:pt x="97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400" b="1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</p:grpSp>
      </p:grpSp>
      <p:grpSp>
        <p:nvGrpSpPr>
          <p:cNvPr id="217" name="Group 216"/>
          <p:cNvGrpSpPr/>
          <p:nvPr/>
        </p:nvGrpSpPr>
        <p:grpSpPr>
          <a:xfrm>
            <a:off x="883825" y="5320368"/>
            <a:ext cx="4913989" cy="830997"/>
            <a:chOff x="947325" y="5320368"/>
            <a:chExt cx="4913989" cy="830997"/>
          </a:xfrm>
        </p:grpSpPr>
        <p:sp>
          <p:nvSpPr>
            <p:cNvPr id="161" name="Rectangle 160"/>
            <p:cNvSpPr/>
            <p:nvPr/>
          </p:nvSpPr>
          <p:spPr>
            <a:xfrm>
              <a:off x="1906068" y="5320368"/>
              <a:ext cx="395524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600" b="1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Transport for London (TfL) </a:t>
              </a:r>
              <a:r>
                <a:rPr lang="en-US" sz="16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has the </a:t>
              </a:r>
              <a:br>
                <a:rPr lang="en-US" sz="16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</a:br>
              <a:r>
                <a:rPr lang="en-US" sz="16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biggest SCOOT deployment </a:t>
              </a:r>
              <a:endParaRPr lang="en-US" sz="1100" dirty="0">
                <a:solidFill>
                  <a:schemeClr val="tx1"/>
                </a:solidFill>
                <a:sym typeface="Wingdings" panose="05000000000000000000" pitchFamily="2" charset="2"/>
              </a:endParaRPr>
            </a:p>
            <a:p>
              <a:pPr>
                <a:spcBef>
                  <a:spcPts val="600"/>
                </a:spcBef>
              </a:pPr>
              <a:r>
                <a:rPr lang="en-US" sz="11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~6,000 intersections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grpSp>
          <p:nvGrpSpPr>
            <p:cNvPr id="212" name="Group 211"/>
            <p:cNvGrpSpPr>
              <a:grpSpLocks noChangeAspect="1"/>
            </p:cNvGrpSpPr>
            <p:nvPr/>
          </p:nvGrpSpPr>
          <p:grpSpPr bwMode="auto">
            <a:xfrm>
              <a:off x="947325" y="5393678"/>
              <a:ext cx="370801" cy="438154"/>
              <a:chOff x="2129" y="987"/>
              <a:chExt cx="1982" cy="2342"/>
            </a:xfrm>
            <a:solidFill>
              <a:srgbClr val="32A0A0"/>
            </a:solidFill>
          </p:grpSpPr>
          <p:sp>
            <p:nvSpPr>
              <p:cNvPr id="213" name="Freeform 212"/>
              <p:cNvSpPr>
                <a:spLocks/>
              </p:cNvSpPr>
              <p:nvPr/>
            </p:nvSpPr>
            <p:spPr bwMode="auto">
              <a:xfrm>
                <a:off x="2694" y="2813"/>
                <a:ext cx="855" cy="516"/>
              </a:xfrm>
              <a:custGeom>
                <a:avLst/>
                <a:gdLst>
                  <a:gd name="T0" fmla="*/ 205 w 319"/>
                  <a:gd name="T1" fmla="*/ 0 h 193"/>
                  <a:gd name="T2" fmla="*/ 114 w 319"/>
                  <a:gd name="T3" fmla="*/ 0 h 193"/>
                  <a:gd name="T4" fmla="*/ 77 w 319"/>
                  <a:gd name="T5" fmla="*/ 136 h 193"/>
                  <a:gd name="T6" fmla="*/ 0 w 319"/>
                  <a:gd name="T7" fmla="*/ 193 h 193"/>
                  <a:gd name="T8" fmla="*/ 319 w 319"/>
                  <a:gd name="T9" fmla="*/ 193 h 193"/>
                  <a:gd name="T10" fmla="*/ 242 w 319"/>
                  <a:gd name="T11" fmla="*/ 136 h 193"/>
                  <a:gd name="T12" fmla="*/ 205 w 319"/>
                  <a:gd name="T13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9" h="193">
                    <a:moveTo>
                      <a:pt x="205" y="0"/>
                    </a:moveTo>
                    <a:cubicBezTo>
                      <a:pt x="114" y="0"/>
                      <a:pt x="114" y="0"/>
                      <a:pt x="114" y="0"/>
                    </a:cubicBezTo>
                    <a:cubicBezTo>
                      <a:pt x="77" y="136"/>
                      <a:pt x="77" y="136"/>
                      <a:pt x="77" y="136"/>
                    </a:cubicBezTo>
                    <a:cubicBezTo>
                      <a:pt x="3" y="139"/>
                      <a:pt x="0" y="193"/>
                      <a:pt x="0" y="193"/>
                    </a:cubicBezTo>
                    <a:cubicBezTo>
                      <a:pt x="319" y="193"/>
                      <a:pt x="319" y="193"/>
                      <a:pt x="319" y="193"/>
                    </a:cubicBezTo>
                    <a:cubicBezTo>
                      <a:pt x="319" y="193"/>
                      <a:pt x="316" y="139"/>
                      <a:pt x="242" y="136"/>
                    </a:cubicBezTo>
                    <a:lnTo>
                      <a:pt x="2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214" name="Freeform 213"/>
              <p:cNvSpPr>
                <a:spLocks/>
              </p:cNvSpPr>
              <p:nvPr/>
            </p:nvSpPr>
            <p:spPr bwMode="auto">
              <a:xfrm>
                <a:off x="2451" y="987"/>
                <a:ext cx="1341" cy="1788"/>
              </a:xfrm>
              <a:custGeom>
                <a:avLst/>
                <a:gdLst>
                  <a:gd name="T0" fmla="*/ 501 w 501"/>
                  <a:gd name="T1" fmla="*/ 0 h 669"/>
                  <a:gd name="T2" fmla="*/ 0 w 501"/>
                  <a:gd name="T3" fmla="*/ 0 h 669"/>
                  <a:gd name="T4" fmla="*/ 20 w 501"/>
                  <a:gd name="T5" fmla="*/ 419 h 669"/>
                  <a:gd name="T6" fmla="*/ 250 w 501"/>
                  <a:gd name="T7" fmla="*/ 669 h 669"/>
                  <a:gd name="T8" fmla="*/ 481 w 501"/>
                  <a:gd name="T9" fmla="*/ 419 h 669"/>
                  <a:gd name="T10" fmla="*/ 501 w 501"/>
                  <a:gd name="T11" fmla="*/ 0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1" h="669">
                    <a:moveTo>
                      <a:pt x="50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0" y="419"/>
                      <a:pt x="20" y="419"/>
                      <a:pt x="20" y="419"/>
                    </a:cubicBezTo>
                    <a:cubicBezTo>
                      <a:pt x="20" y="557"/>
                      <a:pt x="112" y="669"/>
                      <a:pt x="250" y="669"/>
                    </a:cubicBezTo>
                    <a:cubicBezTo>
                      <a:pt x="388" y="669"/>
                      <a:pt x="481" y="557"/>
                      <a:pt x="481" y="419"/>
                    </a:cubicBezTo>
                    <a:lnTo>
                      <a:pt x="50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215" name="Freeform 214"/>
              <p:cNvSpPr>
                <a:spLocks/>
              </p:cNvSpPr>
              <p:nvPr/>
            </p:nvSpPr>
            <p:spPr bwMode="auto">
              <a:xfrm>
                <a:off x="2129" y="1139"/>
                <a:ext cx="346" cy="989"/>
              </a:xfrm>
              <a:custGeom>
                <a:avLst/>
                <a:gdLst>
                  <a:gd name="T0" fmla="*/ 62 w 129"/>
                  <a:gd name="T1" fmla="*/ 108 h 370"/>
                  <a:gd name="T2" fmla="*/ 109 w 129"/>
                  <a:gd name="T3" fmla="*/ 62 h 370"/>
                  <a:gd name="T4" fmla="*/ 109 w 129"/>
                  <a:gd name="T5" fmla="*/ 0 h 370"/>
                  <a:gd name="T6" fmla="*/ 0 w 129"/>
                  <a:gd name="T7" fmla="*/ 108 h 370"/>
                  <a:gd name="T8" fmla="*/ 129 w 129"/>
                  <a:gd name="T9" fmla="*/ 370 h 370"/>
                  <a:gd name="T10" fmla="*/ 129 w 129"/>
                  <a:gd name="T11" fmla="*/ 285 h 370"/>
                  <a:gd name="T12" fmla="*/ 62 w 129"/>
                  <a:gd name="T13" fmla="*/ 108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9" h="370">
                    <a:moveTo>
                      <a:pt x="62" y="108"/>
                    </a:moveTo>
                    <a:cubicBezTo>
                      <a:pt x="62" y="83"/>
                      <a:pt x="83" y="62"/>
                      <a:pt x="109" y="62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49" y="0"/>
                      <a:pt x="0" y="49"/>
                      <a:pt x="0" y="108"/>
                    </a:cubicBezTo>
                    <a:cubicBezTo>
                      <a:pt x="0" y="157"/>
                      <a:pt x="69" y="370"/>
                      <a:pt x="129" y="370"/>
                    </a:cubicBezTo>
                    <a:cubicBezTo>
                      <a:pt x="129" y="285"/>
                      <a:pt x="129" y="285"/>
                      <a:pt x="129" y="285"/>
                    </a:cubicBezTo>
                    <a:cubicBezTo>
                      <a:pt x="103" y="285"/>
                      <a:pt x="62" y="134"/>
                      <a:pt x="62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216" name="Freeform 215"/>
              <p:cNvSpPr>
                <a:spLocks/>
              </p:cNvSpPr>
              <p:nvPr/>
            </p:nvSpPr>
            <p:spPr bwMode="auto">
              <a:xfrm>
                <a:off x="3768" y="1139"/>
                <a:ext cx="343" cy="989"/>
              </a:xfrm>
              <a:custGeom>
                <a:avLst/>
                <a:gdLst>
                  <a:gd name="T0" fmla="*/ 20 w 128"/>
                  <a:gd name="T1" fmla="*/ 0 h 370"/>
                  <a:gd name="T2" fmla="*/ 20 w 128"/>
                  <a:gd name="T3" fmla="*/ 62 h 370"/>
                  <a:gd name="T4" fmla="*/ 66 w 128"/>
                  <a:gd name="T5" fmla="*/ 108 h 370"/>
                  <a:gd name="T6" fmla="*/ 0 w 128"/>
                  <a:gd name="T7" fmla="*/ 285 h 370"/>
                  <a:gd name="T8" fmla="*/ 0 w 128"/>
                  <a:gd name="T9" fmla="*/ 370 h 370"/>
                  <a:gd name="T10" fmla="*/ 128 w 128"/>
                  <a:gd name="T11" fmla="*/ 108 h 370"/>
                  <a:gd name="T12" fmla="*/ 20 w 128"/>
                  <a:gd name="T13" fmla="*/ 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370">
                    <a:moveTo>
                      <a:pt x="20" y="0"/>
                    </a:moveTo>
                    <a:cubicBezTo>
                      <a:pt x="20" y="62"/>
                      <a:pt x="20" y="62"/>
                      <a:pt x="20" y="62"/>
                    </a:cubicBezTo>
                    <a:cubicBezTo>
                      <a:pt x="46" y="62"/>
                      <a:pt x="66" y="83"/>
                      <a:pt x="66" y="108"/>
                    </a:cubicBezTo>
                    <a:cubicBezTo>
                      <a:pt x="66" y="134"/>
                      <a:pt x="26" y="285"/>
                      <a:pt x="0" y="285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60" y="370"/>
                      <a:pt x="128" y="157"/>
                      <a:pt x="128" y="108"/>
                    </a:cubicBezTo>
                    <a:cubicBezTo>
                      <a:pt x="128" y="49"/>
                      <a:pt x="80" y="0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2716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1"/>
  <p:tag name="CDT_FONTSET" val="Arial"/>
  <p:tag name="EE4P_STYLE_ID" val="040887b0-086c-4ff4-8beb-b5b55c2754ed"/>
  <p:tag name="ARTICULATE_SLIDE_COUNT" val="27"/>
  <p:tag name="ARTICULATE_PROJECT_OPEN" val="0"/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EE4P_AGENDAWIZARD" val="&lt;ee4p&gt;&lt;layouts&gt;&lt;layout name=&quot;Siemens 16:9&quot; id=&quot;3_3&quot;&gt;&lt;standard&gt;&lt;textframe horizontalAnchor=&quot;1&quot; marginBottom=&quot;5.5&quot; marginLeft=&quot;0&quot; marginRight=&quot;0&quot; marginTop=&quot;5.5&quot; orientation=&quot;1&quot; verticalAnchor=&quot;1&quot; /&gt;&lt;font name=&quot;Arial&quot; bold=&quot;0&quot; italic=&quot;0&quot; color=&quot;#000000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2&quot; fontSize=&quot;14&quot; startTime=&quot;540&quot; timeFormatId=&quot;1&quot; startItemNo=&quot;1&quot; createSingleAgendaSlide=&quot;0&quot; createSeparatingSlides=&quot;1&quot; createBackupSlide=&quot;1&quot; fontSizeAuto=&quot;1&quot; /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1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position left=&quot;49.24039&quot; top=&quot;139.625&quot; width=&quot;873.2597&quot; height=&quot;345.875&quot; /&gt;&lt;subtitle&gt;&lt;position left=&quot;49.24031&quot; top=&quot;111.25&quot; width=&quot;873.2597&quot; height=&quot;16.96409&quot; /&gt;&lt;font size=&quot;14&quot; /&gt;&lt;textframe verticalAnchor=&quot;1&quot; marginBottom=&quot;0&quot; marginTop=&quot;0&quot; /&gt;&lt;paragraphformat alignment=&quot;1&quot; /&gt;&lt;/subtitle&gt;&lt;settings allowedSizingModeIds=&quot;1|2&quot; allowedFontSizes=&quot;8|9|10.5|11|12|14&quot; allowedTimeFormatIds=&quot;1|2|3&quot; slideLayout=&quot;11&quot; customLayoutName=&quot;Nur Titel&quot; customLayoutIndex=&quot;&quot; showBreak=&quot;1&quot; singleAgendaSlideSelected=&quot;0&quot; backupSlideTitle=&quot;Backup: %agendaTitle%&quot; backupSlideSubtitle=&quot;%agendaName%&quot; topMargin=&quot;0.33&quot; leftMargin=&quot;0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2&quot; topMaxSpacing=&quot;2&quot; bottomMinSpacing=&quot;0&quot; bottomMaxSpacing=&quot;0&quot;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2&quot; topMaxSpacing=&quot;2&quot; bottomMinSpacing=&quot;0&quot; bottomMaxSpacing=&quot;0&quot;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&quot;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bulletformat visible=&quot;1&quot; character=&quot;8226&quot; relativeSize=&quot;1&quot; font=&quot;Arial&quot; color=&quot;#879BAA&quot; /&gt;&lt;paragraphformat firstLineIndent=&quot;-1&quot; leftIndent=&quot;1&quot; alignment=&quot;1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2&quot; topMaxSpacing=&quot;2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2&quot; topMaxSpacing=&quot;2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2&quot; topMaxSpacing=&quot;2&quot; bottomMinSpacing=&quot;0&quot; bottomMaxSpacing=&quot;0&quot;&gt;&lt;element type=&quot;autoshape&quot; autoShapeType=&quot;1&quot; value=&quot;&quot;&gt;&lt;position left=&quot;0&quot; top=&quot;0&quot; width=&quot;873.2597&quot; height=&quot;itemHeight&quot; /&gt;&lt;fill foreColor=&quot;#BECDD7&quot; visible=&quot;1&quot; /&gt;&lt;line style=&quot;1&quot; dashStyle=&quot;1&quot; foreColor=&quot;#879BAA&quot; weight=&quot;0.75&quot; visible=&quot;1&quot; /&gt;&lt;/element&gt;&lt;element field=&quot;topic&quot; type=&quot;autoshape&quot; autoShapeType=&quot;1&quot;&gt;&lt;paragraphformat alignment=&quot;1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Agenda&quot; title=&quot;ITS – Digital Road Solution portfolio strategy&quot; subtitle=&quot;Agenda&quot; sizingModeId=&quot;2&quot; fontSize=&quot;14&quot; startTime=&quot;480&quot; timeFormatId=&quot;1&quot; startItemNo=&quot;1&quot; createSingleAgendaSlide=&quot;0&quot; createSeparatingSlides=&quot;1&quot; createBackupSlide=&quot;0&quot; fontSizeAuto=&quot;1&quot; layoutId=&quot;3_3&quot; createSections=&quot;0&quot; backupSlideId=&quot;&quot;&gt;&lt;columns&gt;&lt;column field=&quot;itemno&quot; label=&quot;No.&quot; visible=&quot;0&quot; checked=&quot;0&quot; leftSpacing=&quot;0&quot; rightSpacing=&quot;0&quot; dock=&quot;1&quot; /&gt;&lt;column field=&quot;timeslot&quot; label=&quot;Time Slot&quot; visible=&quot;1&quot; checked=&quot;0&quot; leftSpacing=&quot;15&quot; rightSpacing=&quot;23&quot; dock=&quot;1&quot; /&gt;&lt;column field=&quot;topic&quot; label=&quot;Topic&quot; leftSpacing=&quot;15&quot; rightSpacing=&quot;23&quot; dock=&quot;1&quot; /&gt;&lt;column field=&quot;responsible&quot; label=&quot;Responsible&quot; visible=&quot;1&quot; checked=&quot;0&quot; leftSpacing=&quot;15&quot; rightSpacing=&quot;23&quot; dock=&quot;1&quot; /&gt;&lt;column field=&quot;freecolumn&quot; label=&quot;&quot; visible=&quot;1&quot; checked=&quot;0&quot; leftSpacing=&quot;15&quot; rightSpacing=&quot;23&quot; dock=&quot;1&quot; /&gt;&lt;column field=&quot;pageno&quot; label=&quot;Page No.&quot; visible=&quot;1&quot; checked=&quot;0&quot; leftSpacing=&quot;15&quot; rightSpacing=&quot;15&quot; dock=&quot;1&quot; /&gt;&lt;/columns&gt;&lt;items&gt;&lt;item duration=&quot;30&quot; level=&quot;1&quot; generateAgendaSlide=&quot;1&quot; showAgendaItem=&quot;1&quot; isBreak=&quot;0&quot; itemNo=&quot;1&quot; subItemNo=&quot;0&quot; topic=&quot;Digitalization Fields: Executive Summaries &quot; agendaSlideId=&quot;7ee7cf35-3d26-491a-8c2a-86795871bb17&quot; /&gt;&lt;item duration=&quot;30&quot; level=&quot;1&quot; generateAgendaSlide=&quot;1&quot; showAgendaItem=&quot;1&quot; isBreak=&quot;0&quot; itemNo=&quot;2&quot; subItemNo=&quot;0&quot; topic=&quot;Car-2-x: Connected Cars &quot; agendaSlideId=&quot;717e7f3f-828a-4417-9090-9353e3a26efa&quot; /&gt;&lt;item duration=&quot;30&quot; level=&quot;1&quot; generateAgendaSlide=&quot;1&quot; showAgendaItem=&quot;1&quot; isBreak=&quot;0&quot; itemNo=&quot;3&quot; subItemNo=&quot;0&quot; topic=&quot;Cloud-based Services&quot; agendaSlideId=&quot;9c1322d4-5d7b-4c2d-b456-af0c9b523d56&quot; /&gt;&lt;item duration=&quot;30&quot; level=&quot;1&quot; generateAgendaSlide=&quot;1&quot; showAgendaItem=&quot;1&quot; isBreak=&quot;0&quot; itemNo=&quot;4&quot; subItemNo=&quot;0&quot; topic=&quot;Advanced Traffic Management Systems (ATMS)&quot; agendaSlideId=&quot;f45666f7-af67-4cd2-8777-0a067cad012e&quot; /&gt;&lt;item duration=&quot;30&quot; level=&quot;1&quot; generateAgendaSlide=&quot;1&quot; showAgendaItem=&quot;1&quot; isBreak=&quot;0&quot; itemNo=&quot;5&quot; subItemNo=&quot;0&quot; topic=&quot;Enforcement Solutions &quot; agendaSlideId=&quot;ee7d0059-c7f9-411d-af81-8deda19a4fa3&quot; /&gt;&lt;item duration=&quot;30&quot; level=&quot;1&quot; generateAgendaSlide=&quot;1&quot; showAgendaItem=&quot;1&quot; isBreak=&quot;0&quot; itemNo=&quot;6&quot; subItemNo=&quot;0&quot; topic=&quot;Integrated Truck Guidance / Truck Parking &quot; agendaSlideId=&quot;dd1f44a5-f37d-44d6-b563-9230032a3902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09,3588"/>
  <p:tag name="CDT_PROT_LEFT" val="378,2697"/>
  <p:tag name="CDT_PROT_WIDTH" val="317,4803"/>
  <p:tag name="CDT_PROT_HEIGHT" val="181,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9,37504"/>
  <p:tag name="CDT_PROT_WIDTH" val="317,4803"/>
  <p:tag name="CDT_PROT_HEIGHT" val="181,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lXQn1VSPO3zoDGhZyz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MN9O6Q6aHzA8wcwXaK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MN9O6Q6aHzA8wcwXaK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XLnyVEQNCTNXg9nabsg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gCLbSSmitJ3kWk.HBI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Ee8P69T7SAt2mH2IMuF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ylMbNRaGPVo2Pxceg8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U4MFwbRoSuQmF9..kt2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61ZY6zjEyMRm48DmAxz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2cQZO7SK2DvsLQMEPJV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ty.mofQke4.a9KlTpz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ylMbNRaGPVo2Pxceg8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Ee8P69T7SAt2mH2IMuF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MN9O6Q6aHzA8wcwXa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8EPonuRRWId4CJSxuC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Two rows + Navigation</Name>
  <PpLayout>32</PpLayout>
  <Index>21</Index>
</p4ppTags>
</file>

<file path=customXml/item11.xml><?xml version="1.0" encoding="utf-8"?>
<p4ppTags>
  <Name>One object (small) + Navigation</Name>
  <PpLayout>32</PpLayout>
  <Index>18</Index>
</p4ppTags>
</file>

<file path=customXml/item12.xml><?xml version="1.0" encoding="utf-8"?>
<p4ppTags>
  <Name>Title fullscreen (big bar up)</Name>
  <PpLayout>1</PpLayout>
  <Index>4</Index>
</p4ppTags>
</file>

<file path=customXml/item13.xml><?xml version="1.0" encoding="utf-8"?>
<p4ppTags>
  <Name>Title fullscreen (big bar up)</Name>
  <PpLayout>1</PpLayout>
  <Index>4</Index>
</p4ppTags>
</file>

<file path=customXml/item14.xml><?xml version="1.0" encoding="utf-8"?>
<p4ppTags>
  <Name>Three columns + Navigation</Name>
  <PpLayout>32</PpLayout>
  <Index>20</Index>
</p4ppTags>
</file>

<file path=customXml/item15.xml><?xml version="1.0" encoding="utf-8"?>
<p4ppTags>
  <Name>Title fullscreen (big bar down)</Name>
  <PpLayout>1</PpLayout>
  <Index>3</Index>
</p4ppTags>
</file>

<file path=customXml/item16.xml><?xml version="1.0" encoding="utf-8"?>
<p4ppTags>
  <Name>Two rows + Navigation</Name>
  <PpLayout>32</PpLayout>
  <Index>21</Index>
</p4ppTags>
</file>

<file path=customXml/item17.xml><?xml version="1.0" encoding="utf-8"?>
<p4ppTags>
  <Name>Chapter title (big bar down)</Name>
  <PpLayout>1</PpLayout>
  <Index>5</Index>
</p4ppTags>
</file>

<file path=customXml/item18.xml><?xml version="1.0" encoding="utf-8"?>
<p4ppTags>
  <Name>Four objects + Navigation</Name>
  <PpLayout>32</PpLayout>
  <Index>22</Index>
</p4ppTags>
</file>

<file path=customXml/item19.xml><?xml version="1.0" encoding="utf-8"?>
<p4ppTags>
  <Name>One object (small)</Name>
  <PpLayout>16</PpLayout>
  <Index>11</Index>
</p4ppTags>
</file>

<file path=customXml/item2.xml><?xml version="1.0" encoding="utf-8"?>
<p4ppTags>
  <Name>Chapter title (big bar up)</Name>
  <PpLayout>1</PpLayout>
  <Index>6</Index>
</p4ppTags>
</file>

<file path=customXml/item20.xml><?xml version="1.0" encoding="utf-8"?>
<p4ppTags>
  <Name>Four objects</Name>
  <PpLayout>24</PpLayout>
  <Index>15</Index>
</p4ppTags>
</file>

<file path=customXml/item21.xml><?xml version="1.0" encoding="utf-8"?>
<p4ppTags>
  <Name>Three columns + Navigation</Name>
  <PpLayout>32</PpLayout>
  <Index>20</Index>
</p4ppTags>
</file>

<file path=customXml/item22.xml><?xml version="1.0" encoding="utf-8"?>
<p4ppTags>
  <Name>Two columns + Navigation</Name>
  <PpLayout>32</PpLayout>
  <Index>19</Index>
</p4ppTags>
</file>

<file path=customXml/item23.xml><?xml version="1.0" encoding="utf-8"?>
<p4ppTags>
  <Name>Three columns + Navigation</Name>
  <PpLayout>32</PpLayout>
  <Index>20</Index>
</p4ppTags>
</file>

<file path=customXml/item24.xml><?xml version="1.0" encoding="utf-8"?>
<p4ppTags>
  <Name>Title (big bar down)</Name>
  <PpLayout>1</PpLayout>
  <Index>1</Index>
</p4ppTags>
</file>

<file path=customXml/item25.xml><?xml version="1.0" encoding="utf-8"?>
<p4ppTags>
  <Name>Four objects + Navigation</Name>
  <PpLayout>32</PpLayout>
  <Index>22</Index>
</p4ppTags>
</file>

<file path=customXml/item26.xml><?xml version="1.0" encoding="utf-8"?>
<p4ppTags>
  <Name>Free Content + Navigation</Name>
  <PpLayout>32</PpLayout>
  <Index>16</Index>
</p4ppTags>
</file>

<file path=customXml/item27.xml><?xml version="1.0" encoding="utf-8"?>
<p4ppTags>
  <Name>Title (big bar up)</Name>
  <PpLayout>1</PpLayout>
  <Index>2</Index>
</p4ppTags>
</file>

<file path=customXml/item28.xml><?xml version="1.0" encoding="utf-8"?>
<p4ppTags>
  <Name>Four objects</Name>
  <PpLayout>24</PpLayout>
  <Index>15</Index>
</p4ppTags>
</file>

<file path=customXml/item29.xml><?xml version="1.0" encoding="utf-8"?>
<p4ppTags>
  <Name>Title fullscreen (big bar down)</Name>
  <PpLayout>1</PpLayout>
  <Index>3</Index>
</p4ppTags>
</file>

<file path=customXml/item3.xml><?xml version="1.0" encoding="utf-8"?>
<p4ppTags>
  <Name>One object (small) + Navigation</Name>
  <PpLayout>32</PpLayout>
  <Index>18</Index>
</p4ppTags>
</file>

<file path=customXml/item30.xml><?xml version="1.0" encoding="utf-8"?>
<p4ppTags>
  <Name>Four objects + Navigation</Name>
  <PpLayout>32</PpLayout>
  <Index>22</Index>
</p4ppTags>
</file>

<file path=customXml/item31.xml><?xml version="1.0" encoding="utf-8"?>
<p4ppTags>
  <Name>Free Content + Navigation</Name>
  <PpLayout>32</PpLayout>
  <Index>16</Index>
</p4ppTags>
</file>

<file path=customXml/item32.xml><?xml version="1.0" encoding="utf-8"?>
<p4ppTags/>
</file>

<file path=customXml/item33.xml><?xml version="1.0" encoding="utf-8"?>
<p4ppTags>
  <Name>Four objects + Navigation</Name>
  <PpLayout>32</PpLayout>
  <Index>22</Index>
</p4ppTags>
</file>

<file path=customXml/item34.xml><?xml version="1.0" encoding="utf-8"?>
<p4ppTags>
  <Name>Three columns + Navigation</Name>
  <PpLayout>32</PpLayout>
  <Index>20</Index>
</p4ppTags>
</file>

<file path=customXml/item35.xml><?xml version="1.0" encoding="utf-8"?>
<p4ppTags>
  <Name>One object (large) + Navigation</Name>
  <PpLayout>32</PpLayout>
  <Index>17</Index>
</p4ppTags>
</file>

<file path=customXml/item36.xml><?xml version="1.0" encoding="utf-8"?>
<p4ppTags>
  <Name>Three columns + Navigation</Name>
  <PpLayout>32</PpLayout>
  <Index>20</Index>
</p4ppTags>
</file>

<file path=customXml/item37.xml><?xml version="1.0" encoding="utf-8"?>
<p4ppTags>
  <Name>One object (large)</Name>
  <PpLayout>16</PpLayout>
  <Index>10</Index>
</p4ppTags>
</file>

<file path=customXml/item38.xml><?xml version="1.0" encoding="utf-8"?>
<p4ppTags>
  <Name>Title fullscreen (big bar up)</Name>
  <PpLayout>1</PpLayout>
  <Index>4</Index>
</p4ppTags>
</file>

<file path=customXml/item39.xml><?xml version="1.0" encoding="utf-8"?>
<p4ppTags>
  <Name>Text + Index</Name>
  <PpLayout>32</PpLayout>
  <Index>8</Index>
</p4ppTags>
</file>

<file path=customXml/item4.xml><?xml version="1.0" encoding="utf-8"?>
<p4ppTags>
  <Name>Three columns</Name>
  <PpLayout>32</PpLayout>
  <Index>14</Index>
</p4ppTags>
</file>

<file path=customXml/item40.xml><?xml version="1.0" encoding="utf-8"?>
<p4ppTags>
  <Name>One object (small) + Navigation</Name>
  <PpLayout>32</PpLayout>
  <Index>18</Index>
</p4ppTags>
</file>

<file path=customXml/item41.xml><?xml version="1.0" encoding="utf-8"?>
<p4ppTags>
  <Name>One object (large) + Navigation</Name>
  <PpLayout>32</PpLayout>
  <Index>17</Index>
</p4ppTags>
</file>

<file path=customXml/item42.xml><?xml version="1.0" encoding="utf-8"?>
<p4ppTags>
  <Name>One object (large) + Navigation</Name>
  <PpLayout>32</PpLayout>
  <Index>17</Index>
</p4ppTags>
</file>

<file path=customXml/item43.xml><?xml version="1.0" encoding="utf-8"?>
<p4ppTags>
  <Name>Two columns + Navigation</Name>
  <PpLayout>32</PpLayout>
  <Index>19</Index>
</p4ppTags>
</file>

<file path=customXml/item44.xml><?xml version="1.0" encoding="utf-8"?>
<p4ppTags>
  <Name>Two rows</Name>
  <PpLayout>32</PpLayout>
  <Index>13</Index>
</p4ppTags>
</file>

<file path=customXml/item45.xml><?xml version="1.0" encoding="utf-8"?>
<p4ppTags>
  <Name>Title (big bar down)</Name>
  <PpLayout>1</PpLayout>
  <Index>1</Index>
</p4ppTags>
</file>

<file path=customXml/item46.xml><?xml version="1.0" encoding="utf-8"?>
<p4ppTags>
  <Name>One object (large) + Navigation</Name>
  <PpLayout>32</PpLayout>
  <Index>17</Index>
</p4ppTags>
</file>

<file path=customXml/item47.xml><?xml version="1.0" encoding="utf-8"?>
<p4ppTags>
  <Name>One object (large) + Navigation</Name>
  <PpLayout>32</PpLayout>
  <Index>17</Index>
</p4ppTags>
</file>

<file path=customXml/item48.xml><?xml version="1.0" encoding="utf-8"?>
<p4ppTags>
  <Name>Two rows + Navigation</Name>
  <PpLayout>32</PpLayout>
  <Index>21</Index>
</p4ppTags>
</file>

<file path=customXml/item49.xml><?xml version="1.0" encoding="utf-8"?>
<p4ppTags>
  <Name>Two columns</Name>
  <PpLayout>29</PpLayout>
  <Index>12</Index>
</p4ppTags>
</file>

<file path=customXml/item5.xml><?xml version="1.0" encoding="utf-8"?>
<p4ppTags>
  <Name>One object (large)</Name>
  <PpLayout>16</PpLayout>
  <Index>10</Index>
</p4ppTags>
</file>

<file path=customXml/item50.xml><?xml version="1.0" encoding="utf-8"?>
<p4ppTags>
  <Name>Title (big bar down)</Name>
  <PpLayout>1</PpLayout>
  <Index>1</Index>
</p4ppTags>
</file>

<file path=customXml/item51.xml><?xml version="1.0" encoding="utf-8"?>
<p4ppTags>
  <Name>Free Content</Name>
  <PpLayout>11</PpLayout>
  <Index>9</Index>
</p4ppTags>
</file>

<file path=customXml/item52.xml><?xml version="1.0" encoding="utf-8"?>
<p4ppTags>
  <Name>Three columns + Navigation</Name>
  <PpLayout>32</PpLayout>
  <Index>20</Index>
</p4ppTags>
</file>

<file path=customXml/item53.xml><?xml version="1.0" encoding="utf-8"?>
<p4ppTags>
  <Name>Chapter title (big bar up)</Name>
  <PpLayout>1</PpLayout>
  <Index>6</Index>
</p4ppTags>
</file>

<file path=customXml/item54.xml><?xml version="1.0" encoding="utf-8"?>
<p4ppTags>
  <Name>One object (small) + Navigation</Name>
  <PpLayout>32</PpLayout>
  <Index>18</Index>
</p4ppTags>
</file>

<file path=customXml/item55.xml><?xml version="1.0" encoding="utf-8"?>
<p4ppTags>
  <Name>Two columns</Name>
  <PpLayout>29</PpLayout>
  <Index>12</Index>
</p4ppTags>
</file>

<file path=customXml/item56.xml><?xml version="1.0" encoding="utf-8"?>
<p4ppTags>
  <Name>Two rows</Name>
  <PpLayout>32</PpLayout>
  <Index>13</Index>
</p4ppTags>
</file>

<file path=customXml/item57.xml><?xml version="1.0" encoding="utf-8"?>
<p4ppTags>
  <Name>Two columns + Navigation</Name>
  <PpLayout>32</PpLayout>
  <Index>19</Index>
</p4ppTags>
</file>

<file path=customXml/item58.xml><?xml version="1.0" encoding="utf-8"?>
<p4ppTags/>
</file>

<file path=customXml/item59.xml><?xml version="1.0" encoding="utf-8"?>
<p4ppTags>
  <Name>Free Content + Navigation</Name>
  <PpLayout>32</PpLayout>
  <Index>16</Index>
</p4ppTags>
</file>

<file path=customXml/item6.xml><?xml version="1.0" encoding="utf-8"?>
<p4ppTags>
  <Name>Two columns + Navigation</Name>
  <PpLayout>32</PpLayout>
  <Index>19</Index>
</p4ppTags>
</file>

<file path=customXml/item60.xml><?xml version="1.0" encoding="utf-8"?>
<p4ppTags>
  <Name>Two columns + Navigation</Name>
  <PpLayout>32</PpLayout>
  <Index>19</Index>
</p4ppTags>
</file>

<file path=customXml/item61.xml><?xml version="1.0" encoding="utf-8"?>
<p4ppTags>
  <Name>Text + Index</Name>
  <PpLayout>32</PpLayout>
  <Index>8</Index>
</p4ppTags>
</file>

<file path=customXml/item62.xml><?xml version="1.0" encoding="utf-8"?>
<p4ppTags>
  <Name>Four objects + Navigation</Name>
  <PpLayout>32</PpLayout>
  <Index>22</Index>
</p4ppTags>
</file>

<file path=customXml/item63.xml><?xml version="1.0" encoding="utf-8"?>
<p4ppTags>
  <Name>Two rows</Name>
  <PpLayout>32</PpLayout>
  <Index>13</Index>
</p4ppTags>
</file>

<file path=customXml/item64.xml><?xml version="1.0" encoding="utf-8"?>
<p4ppTags>
  <Name>Two rows + Navigation</Name>
  <PpLayout>32</PpLayout>
  <Index>21</Index>
</p4ppTags>
</file>

<file path=customXml/item65.xml><?xml version="1.0" encoding="utf-8"?>
<p4ppTags>
  <Name>One object (large) + Navigation</Name>
  <PpLayout>32</PpLayout>
  <Index>17</Index>
</p4ppTags>
</file>

<file path=customXml/item66.xml><?xml version="1.0" encoding="utf-8"?>
<p4ppTags>
  <Name>Image + Index/Contact</Name>
  <PpLayout>32</PpLayout>
  <Index>7</Index>
</p4ppTags>
</file>

<file path=customXml/item67.xml><?xml version="1.0" encoding="utf-8"?>
<p4ppTags>
  <Name>Chapter title (big bar down)</Name>
  <PpLayout>1</PpLayout>
  <Index>5</Index>
</p4ppTags>
</file>

<file path=customXml/item68.xml><?xml version="1.0" encoding="utf-8"?>
<p4ppTags>
  <Name>Three columns</Name>
  <PpLayout>32</PpLayout>
  <Index>14</Index>
</p4ppTags>
</file>

<file path=customXml/item69.xml><?xml version="1.0" encoding="utf-8"?>
<p4ppTags>
  <Name>Two columns</Name>
  <PpLayout>29</PpLayout>
  <Index>12</Index>
</p4ppTags>
</file>

<file path=customXml/item7.xml><?xml version="1.0" encoding="utf-8"?>
<p4ppTags>
  <Name>One object (large)</Name>
  <PpLayout>16</PpLayout>
  <Index>10</Index>
</p4ppTags>
</file>

<file path=customXml/item70.xml><?xml version="1.0" encoding="utf-8"?>
<p4ppTags>
  <Name>Title (big bar down)</Name>
  <PpLayout>1</PpLayout>
  <Index>1</Index>
</p4ppTags>
</file>

<file path=customXml/item71.xml><?xml version="1.0" encoding="utf-8"?>
<p4ppTags>
  <Name>Free Content</Name>
  <PpLayout>11</PpLayout>
  <Index>9</Index>
</p4ppTags>
</file>

<file path=customXml/item72.xml><?xml version="1.0" encoding="utf-8"?>
<p4ppTags>
  <Name>Two rows + Navigation</Name>
  <PpLayout>32</PpLayout>
  <Index>21</Index>
</p4ppTags>
</file>

<file path=customXml/item73.xml><?xml version="1.0" encoding="utf-8"?>
<p4ppTags>
  <Name>Free Content + Navigation</Name>
  <PpLayout>32</PpLayout>
  <Index>16</Index>
</p4ppTags>
</file>

<file path=customXml/item74.xml><?xml version="1.0" encoding="utf-8"?>
<p4ppTags>
  <Name>Free Content</Name>
  <PpLayout>11</PpLayout>
  <Index>9</Index>
</p4ppTags>
</file>

<file path=customXml/item75.xml><?xml version="1.0" encoding="utf-8"?>
<p4ppTags>
  <Name>Image + Index/Contact</Name>
  <PpLayout>32</PpLayout>
  <Index>7</Index>
</p4ppTags>
</file>

<file path=customXml/item76.xml><?xml version="1.0" encoding="utf-8"?>
<p4ppTags>
  <Name>Three columns</Name>
  <PpLayout>32</PpLayout>
  <Index>14</Index>
</p4ppTags>
</file>

<file path=customXml/item77.xml><?xml version="1.0" encoding="utf-8"?>
<p4ppTags>
  <Name>Title (big bar up)</Name>
  <PpLayout>1</PpLayout>
  <Index>2</Index>
</p4ppTags>
</file>

<file path=customXml/item78.xml><?xml version="1.0" encoding="utf-8"?>
<p4ppTags>
  <Name>Text + Index</Name>
  <PpLayout>32</PpLayout>
  <Index>8</Index>
</p4ppTags>
</file>

<file path=customXml/item79.xml><?xml version="1.0" encoding="utf-8"?>
<p4ppTags>
  <Name>Text + Index</Name>
  <PpLayout>32</PpLayout>
  <Index>8</Index>
</p4ppTags>
</file>

<file path=customXml/item8.xml><?xml version="1.0" encoding="utf-8"?>
<p4ppTags>
  <Name>Four objects + Navigation</Name>
  <PpLayout>32</PpLayout>
  <Index>22</Index>
</p4ppTags>
</file>

<file path=customXml/item80.xml><?xml version="1.0" encoding="utf-8"?>
<p4ppTags>
  <Name>Three columns</Name>
  <PpLayout>32</PpLayout>
  <Index>14</Index>
</p4ppTags>
</file>

<file path=customXml/item81.xml><?xml version="1.0" encoding="utf-8"?>
<p4ppTags>
  <Name>One object (small)</Name>
  <PpLayout>16</PpLayout>
  <Index>11</Index>
</p4ppTags>
</file>

<file path=customXml/item82.xml><?xml version="1.0" encoding="utf-8"?>
<p4ppTags>
  <Name>Image + Index/Contact</Name>
  <PpLayout>32</PpLayout>
  <Index>7</Index>
</p4ppTags>
</file>

<file path=customXml/item83.xml><?xml version="1.0" encoding="utf-8"?>
<p4ppTags>
  <Name>Free Content</Name>
  <PpLayout>11</PpLayout>
  <Index>9</Index>
</p4ppTags>
</file>

<file path=customXml/item84.xml><?xml version="1.0" encoding="utf-8"?>
<p4ppTags>
  <Name>Title (big bar down)</Name>
  <PpLayout>1</PpLayout>
  <Index>1</Index>
</p4ppTags>
</file>

<file path=customXml/item85.xml><?xml version="1.0" encoding="utf-8"?>
<p4ppTags>
  <Name>Text + Index</Name>
  <PpLayout>32</PpLayout>
  <Index>8</Index>
</p4ppTags>
</file>

<file path=customXml/item86.xml><?xml version="1.0" encoding="utf-8"?>
<p4ppTags>
  <Name>Two rows</Name>
  <PpLayout>32</PpLayout>
  <Index>13</Index>
</p4ppTags>
</file>

<file path=customXml/item87.xml><?xml version="1.0" encoding="utf-8"?>
<p4ppTags>
  <Name>One object (small) + Navigation</Name>
  <PpLayout>32</PpLayout>
  <Index>18</Index>
</p4ppTags>
</file>

<file path=customXml/item88.xml><?xml version="1.0" encoding="utf-8"?>
<p4ppTags>
  <Name>Free Content</Name>
  <PpLayout>11</PpLayout>
  <Index>9</Index>
</p4ppTags>
</file>

<file path=customXml/item89.xml><?xml version="1.0" encoding="utf-8"?>
<p4ppTags>
  <Name>Image + Index/Contact</Name>
  <PpLayout>32</PpLayout>
  <Index>7</Index>
</p4ppTags>
</file>

<file path=customXml/item9.xml><?xml version="1.0" encoding="utf-8"?>
<p4ppTags>
  <Name>Title (big bar up)</Name>
  <PpLayout>1</PpLayout>
  <Index>2</Index>
</p4ppTags>
</file>

<file path=customXml/item90.xml><?xml version="1.0" encoding="utf-8"?>
<p4ppTags>
  <Name>Two columns</Name>
  <PpLayout>29</PpLayout>
  <Index>12</Index>
</p4ppTags>
</file>

<file path=customXml/item91.xml><?xml version="1.0" encoding="utf-8"?>
<p4ppTags/>
</file>

<file path=customXml/item92.xml><?xml version="1.0" encoding="utf-8"?>
<p4ppTags>
  <Name>Title fullscreen (big bar down)</Name>
  <PpLayout>1</PpLayout>
  <Index>3</Index>
</p4ppTags>
</file>

<file path=customXml/item93.xml><?xml version="1.0" encoding="utf-8"?>
<p4ppTags>
  <Name>Four objects</Name>
  <PpLayout>24</PpLayout>
  <Index>15</Index>
</p4ppTags>
</file>

<file path=customXml/item94.xml><?xml version="1.0" encoding="utf-8"?>
<p4ppTags>
  <Name>One object (small)</Name>
  <PpLayout>16</PpLayout>
  <Index>11</Index>
</p4ppTags>
</file>

<file path=customXml/item95.xml><?xml version="1.0" encoding="utf-8"?>
<p4ppTags>
  <Name>Three columns</Name>
  <PpLayout>32</PpLayout>
  <Index>14</Index>
</p4ppTags>
</file>

<file path=customXml/item96.xml><?xml version="1.0" encoding="utf-8"?>
<p4ppTags>
  <Name>Chapter title (big bar down)</Name>
  <PpLayout>1</PpLayout>
  <Index>5</Index>
</p4ppTags>
</file>

<file path=customXml/itemProps1.xml><?xml version="1.0" encoding="utf-8"?>
<ds:datastoreItem xmlns:ds="http://schemas.openxmlformats.org/officeDocument/2006/customXml" ds:itemID="{D8F14B35-DA70-427D-8BA7-10D336D0A571}">
  <ds:schemaRefs/>
</ds:datastoreItem>
</file>

<file path=customXml/itemProps10.xml><?xml version="1.0" encoding="utf-8"?>
<ds:datastoreItem xmlns:ds="http://schemas.openxmlformats.org/officeDocument/2006/customXml" ds:itemID="{6CA3662A-3882-41B3-BC70-2B488154133E}">
  <ds:schemaRefs/>
</ds:datastoreItem>
</file>

<file path=customXml/itemProps11.xml><?xml version="1.0" encoding="utf-8"?>
<ds:datastoreItem xmlns:ds="http://schemas.openxmlformats.org/officeDocument/2006/customXml" ds:itemID="{D9FE249F-833E-4CF0-BECB-552D01D7DC9E}">
  <ds:schemaRefs/>
</ds:datastoreItem>
</file>

<file path=customXml/itemProps12.xml><?xml version="1.0" encoding="utf-8"?>
<ds:datastoreItem xmlns:ds="http://schemas.openxmlformats.org/officeDocument/2006/customXml" ds:itemID="{B7727694-D05C-44F6-B4B3-F6408A14D996}">
  <ds:schemaRefs/>
</ds:datastoreItem>
</file>

<file path=customXml/itemProps13.xml><?xml version="1.0" encoding="utf-8"?>
<ds:datastoreItem xmlns:ds="http://schemas.openxmlformats.org/officeDocument/2006/customXml" ds:itemID="{BE89EB9F-BCB3-419C-9092-64039DD35341}">
  <ds:schemaRefs/>
</ds:datastoreItem>
</file>

<file path=customXml/itemProps14.xml><?xml version="1.0" encoding="utf-8"?>
<ds:datastoreItem xmlns:ds="http://schemas.openxmlformats.org/officeDocument/2006/customXml" ds:itemID="{A18F68BB-225E-4FAA-AC39-D88CC9DE0936}">
  <ds:schemaRefs/>
</ds:datastoreItem>
</file>

<file path=customXml/itemProps15.xml><?xml version="1.0" encoding="utf-8"?>
<ds:datastoreItem xmlns:ds="http://schemas.openxmlformats.org/officeDocument/2006/customXml" ds:itemID="{6DEFAAB0-14FF-4CAB-B01F-E81C6993D1E4}">
  <ds:schemaRefs/>
</ds:datastoreItem>
</file>

<file path=customXml/itemProps16.xml><?xml version="1.0" encoding="utf-8"?>
<ds:datastoreItem xmlns:ds="http://schemas.openxmlformats.org/officeDocument/2006/customXml" ds:itemID="{5B54F237-2DB8-4388-ADA3-6395D3B85836}">
  <ds:schemaRefs/>
</ds:datastoreItem>
</file>

<file path=customXml/itemProps17.xml><?xml version="1.0" encoding="utf-8"?>
<ds:datastoreItem xmlns:ds="http://schemas.openxmlformats.org/officeDocument/2006/customXml" ds:itemID="{C5DBA813-9DDB-45C7-8BA6-0BDF97176C1D}">
  <ds:schemaRefs/>
</ds:datastoreItem>
</file>

<file path=customXml/itemProps18.xml><?xml version="1.0" encoding="utf-8"?>
<ds:datastoreItem xmlns:ds="http://schemas.openxmlformats.org/officeDocument/2006/customXml" ds:itemID="{EAB520BC-C6EC-457E-8AB5-55DB67C86858}">
  <ds:schemaRefs/>
</ds:datastoreItem>
</file>

<file path=customXml/itemProps19.xml><?xml version="1.0" encoding="utf-8"?>
<ds:datastoreItem xmlns:ds="http://schemas.openxmlformats.org/officeDocument/2006/customXml" ds:itemID="{D64EAC04-4E80-4AA5-B5EF-24B2B1BC70B9}">
  <ds:schemaRefs/>
</ds:datastoreItem>
</file>

<file path=customXml/itemProps2.xml><?xml version="1.0" encoding="utf-8"?>
<ds:datastoreItem xmlns:ds="http://schemas.openxmlformats.org/officeDocument/2006/customXml" ds:itemID="{33DE350F-1616-42D3-96BE-9EFF6D1B5D03}">
  <ds:schemaRefs/>
</ds:datastoreItem>
</file>

<file path=customXml/itemProps20.xml><?xml version="1.0" encoding="utf-8"?>
<ds:datastoreItem xmlns:ds="http://schemas.openxmlformats.org/officeDocument/2006/customXml" ds:itemID="{36427979-7DF5-4BE8-9792-98DE3D79A7F5}">
  <ds:schemaRefs/>
</ds:datastoreItem>
</file>

<file path=customXml/itemProps21.xml><?xml version="1.0" encoding="utf-8"?>
<ds:datastoreItem xmlns:ds="http://schemas.openxmlformats.org/officeDocument/2006/customXml" ds:itemID="{3243229C-A148-4D29-BD81-4E93C99E0C38}">
  <ds:schemaRefs/>
</ds:datastoreItem>
</file>

<file path=customXml/itemProps22.xml><?xml version="1.0" encoding="utf-8"?>
<ds:datastoreItem xmlns:ds="http://schemas.openxmlformats.org/officeDocument/2006/customXml" ds:itemID="{FD41D5F9-10EA-42E8-94AE-1E72CFB9E910}">
  <ds:schemaRefs/>
</ds:datastoreItem>
</file>

<file path=customXml/itemProps23.xml><?xml version="1.0" encoding="utf-8"?>
<ds:datastoreItem xmlns:ds="http://schemas.openxmlformats.org/officeDocument/2006/customXml" ds:itemID="{E6934B94-9808-498B-83F3-2AFE51F6555E}">
  <ds:schemaRefs/>
</ds:datastoreItem>
</file>

<file path=customXml/itemProps24.xml><?xml version="1.0" encoding="utf-8"?>
<ds:datastoreItem xmlns:ds="http://schemas.openxmlformats.org/officeDocument/2006/customXml" ds:itemID="{CC160671-F73E-4B7A-9DBD-6DC6146377D1}">
  <ds:schemaRefs/>
</ds:datastoreItem>
</file>

<file path=customXml/itemProps25.xml><?xml version="1.0" encoding="utf-8"?>
<ds:datastoreItem xmlns:ds="http://schemas.openxmlformats.org/officeDocument/2006/customXml" ds:itemID="{9FC4BBB5-B1F9-4F3B-91B9-CB7BA0D4C3A0}">
  <ds:schemaRefs/>
</ds:datastoreItem>
</file>

<file path=customXml/itemProps26.xml><?xml version="1.0" encoding="utf-8"?>
<ds:datastoreItem xmlns:ds="http://schemas.openxmlformats.org/officeDocument/2006/customXml" ds:itemID="{62A384D9-972E-4444-885D-E17A74E29D04}">
  <ds:schemaRefs/>
</ds:datastoreItem>
</file>

<file path=customXml/itemProps27.xml><?xml version="1.0" encoding="utf-8"?>
<ds:datastoreItem xmlns:ds="http://schemas.openxmlformats.org/officeDocument/2006/customXml" ds:itemID="{C0F15F37-7D81-4F11-9A39-805C10B0247B}">
  <ds:schemaRefs/>
</ds:datastoreItem>
</file>

<file path=customXml/itemProps28.xml><?xml version="1.0" encoding="utf-8"?>
<ds:datastoreItem xmlns:ds="http://schemas.openxmlformats.org/officeDocument/2006/customXml" ds:itemID="{472CEF5C-457F-4DD9-A8B3-EFAACEB82BD8}">
  <ds:schemaRefs/>
</ds:datastoreItem>
</file>

<file path=customXml/itemProps29.xml><?xml version="1.0" encoding="utf-8"?>
<ds:datastoreItem xmlns:ds="http://schemas.openxmlformats.org/officeDocument/2006/customXml" ds:itemID="{DA298EF0-4817-488A-90F3-F3BF596BC807}">
  <ds:schemaRefs/>
</ds:datastoreItem>
</file>

<file path=customXml/itemProps3.xml><?xml version="1.0" encoding="utf-8"?>
<ds:datastoreItem xmlns:ds="http://schemas.openxmlformats.org/officeDocument/2006/customXml" ds:itemID="{8CAF2DBB-BFFD-4C1D-AE4E-85BA54779245}">
  <ds:schemaRefs/>
</ds:datastoreItem>
</file>

<file path=customXml/itemProps30.xml><?xml version="1.0" encoding="utf-8"?>
<ds:datastoreItem xmlns:ds="http://schemas.openxmlformats.org/officeDocument/2006/customXml" ds:itemID="{61EBEA73-E0B8-4D99-A18D-64F8070B1B6A}">
  <ds:schemaRefs/>
</ds:datastoreItem>
</file>

<file path=customXml/itemProps31.xml><?xml version="1.0" encoding="utf-8"?>
<ds:datastoreItem xmlns:ds="http://schemas.openxmlformats.org/officeDocument/2006/customXml" ds:itemID="{7CC5F709-E74B-4E5F-A728-923D5062EBEF}">
  <ds:schemaRefs/>
</ds:datastoreItem>
</file>

<file path=customXml/itemProps32.xml><?xml version="1.0" encoding="utf-8"?>
<ds:datastoreItem xmlns:ds="http://schemas.openxmlformats.org/officeDocument/2006/customXml" ds:itemID="{572FBA73-6DBF-45DA-8282-9342320CFAB0}">
  <ds:schemaRefs/>
</ds:datastoreItem>
</file>

<file path=customXml/itemProps33.xml><?xml version="1.0" encoding="utf-8"?>
<ds:datastoreItem xmlns:ds="http://schemas.openxmlformats.org/officeDocument/2006/customXml" ds:itemID="{56830264-5E89-4A91-912C-B4CB44411054}">
  <ds:schemaRefs/>
</ds:datastoreItem>
</file>

<file path=customXml/itemProps34.xml><?xml version="1.0" encoding="utf-8"?>
<ds:datastoreItem xmlns:ds="http://schemas.openxmlformats.org/officeDocument/2006/customXml" ds:itemID="{85D77EE6-52B7-48BE-9EDB-748F1EBB53DE}">
  <ds:schemaRefs/>
</ds:datastoreItem>
</file>

<file path=customXml/itemProps35.xml><?xml version="1.0" encoding="utf-8"?>
<ds:datastoreItem xmlns:ds="http://schemas.openxmlformats.org/officeDocument/2006/customXml" ds:itemID="{CC473390-92AF-4F8F-AEEC-B622D48DD2B0}">
  <ds:schemaRefs/>
</ds:datastoreItem>
</file>

<file path=customXml/itemProps36.xml><?xml version="1.0" encoding="utf-8"?>
<ds:datastoreItem xmlns:ds="http://schemas.openxmlformats.org/officeDocument/2006/customXml" ds:itemID="{C79399A0-B6FE-4435-9A7C-9A39995979DC}">
  <ds:schemaRefs/>
</ds:datastoreItem>
</file>

<file path=customXml/itemProps37.xml><?xml version="1.0" encoding="utf-8"?>
<ds:datastoreItem xmlns:ds="http://schemas.openxmlformats.org/officeDocument/2006/customXml" ds:itemID="{2C3C22FB-5597-4E94-9E36-C8FC9FF5240A}">
  <ds:schemaRefs/>
</ds:datastoreItem>
</file>

<file path=customXml/itemProps38.xml><?xml version="1.0" encoding="utf-8"?>
<ds:datastoreItem xmlns:ds="http://schemas.openxmlformats.org/officeDocument/2006/customXml" ds:itemID="{73327E87-90AF-4548-99E5-4F38BAE3DD0E}">
  <ds:schemaRefs/>
</ds:datastoreItem>
</file>

<file path=customXml/itemProps39.xml><?xml version="1.0" encoding="utf-8"?>
<ds:datastoreItem xmlns:ds="http://schemas.openxmlformats.org/officeDocument/2006/customXml" ds:itemID="{10BCC21B-F4CD-4316-8EE3-54A407E9DCDE}">
  <ds:schemaRefs/>
</ds:datastoreItem>
</file>

<file path=customXml/itemProps4.xml><?xml version="1.0" encoding="utf-8"?>
<ds:datastoreItem xmlns:ds="http://schemas.openxmlformats.org/officeDocument/2006/customXml" ds:itemID="{8CD842E5-A90B-46D9-86DB-8C101CE00FDF}">
  <ds:schemaRefs/>
</ds:datastoreItem>
</file>

<file path=customXml/itemProps40.xml><?xml version="1.0" encoding="utf-8"?>
<ds:datastoreItem xmlns:ds="http://schemas.openxmlformats.org/officeDocument/2006/customXml" ds:itemID="{30B0A0A1-15EB-442C-A5AE-7A41B9F78E7D}">
  <ds:schemaRefs/>
</ds:datastoreItem>
</file>

<file path=customXml/itemProps41.xml><?xml version="1.0" encoding="utf-8"?>
<ds:datastoreItem xmlns:ds="http://schemas.openxmlformats.org/officeDocument/2006/customXml" ds:itemID="{B27F640E-84DF-4F97-BC70-D045F1E6594F}">
  <ds:schemaRefs/>
</ds:datastoreItem>
</file>

<file path=customXml/itemProps42.xml><?xml version="1.0" encoding="utf-8"?>
<ds:datastoreItem xmlns:ds="http://schemas.openxmlformats.org/officeDocument/2006/customXml" ds:itemID="{7C4F1498-C035-4444-B9D5-294AC0CA85DF}">
  <ds:schemaRefs/>
</ds:datastoreItem>
</file>

<file path=customXml/itemProps43.xml><?xml version="1.0" encoding="utf-8"?>
<ds:datastoreItem xmlns:ds="http://schemas.openxmlformats.org/officeDocument/2006/customXml" ds:itemID="{EFD0C3F7-C1F4-4658-A391-E7A70EE86BB7}">
  <ds:schemaRefs/>
</ds:datastoreItem>
</file>

<file path=customXml/itemProps44.xml><?xml version="1.0" encoding="utf-8"?>
<ds:datastoreItem xmlns:ds="http://schemas.openxmlformats.org/officeDocument/2006/customXml" ds:itemID="{38AB8DE4-FD9B-4166-BEC3-3F1753596133}">
  <ds:schemaRefs/>
</ds:datastoreItem>
</file>

<file path=customXml/itemProps45.xml><?xml version="1.0" encoding="utf-8"?>
<ds:datastoreItem xmlns:ds="http://schemas.openxmlformats.org/officeDocument/2006/customXml" ds:itemID="{1BD2E290-E689-44ED-B9C3-50FDC57976C6}">
  <ds:schemaRefs/>
</ds:datastoreItem>
</file>

<file path=customXml/itemProps46.xml><?xml version="1.0" encoding="utf-8"?>
<ds:datastoreItem xmlns:ds="http://schemas.openxmlformats.org/officeDocument/2006/customXml" ds:itemID="{A177B48E-35DA-4121-8867-B09369D97D18}">
  <ds:schemaRefs/>
</ds:datastoreItem>
</file>

<file path=customXml/itemProps47.xml><?xml version="1.0" encoding="utf-8"?>
<ds:datastoreItem xmlns:ds="http://schemas.openxmlformats.org/officeDocument/2006/customXml" ds:itemID="{81BDF34D-EC7E-4023-854B-B2F40B627267}">
  <ds:schemaRefs/>
</ds:datastoreItem>
</file>

<file path=customXml/itemProps48.xml><?xml version="1.0" encoding="utf-8"?>
<ds:datastoreItem xmlns:ds="http://schemas.openxmlformats.org/officeDocument/2006/customXml" ds:itemID="{6C79E4F8-DCFB-483C-880A-AEEC6AAFC838}">
  <ds:schemaRefs/>
</ds:datastoreItem>
</file>

<file path=customXml/itemProps49.xml><?xml version="1.0" encoding="utf-8"?>
<ds:datastoreItem xmlns:ds="http://schemas.openxmlformats.org/officeDocument/2006/customXml" ds:itemID="{B0BA59DD-4BAD-47BB-9555-A5959DD4C74A}">
  <ds:schemaRefs/>
</ds:datastoreItem>
</file>

<file path=customXml/itemProps5.xml><?xml version="1.0" encoding="utf-8"?>
<ds:datastoreItem xmlns:ds="http://schemas.openxmlformats.org/officeDocument/2006/customXml" ds:itemID="{4BA521D9-C652-4F0B-BF57-64725DCBBDDD}">
  <ds:schemaRefs/>
</ds:datastoreItem>
</file>

<file path=customXml/itemProps50.xml><?xml version="1.0" encoding="utf-8"?>
<ds:datastoreItem xmlns:ds="http://schemas.openxmlformats.org/officeDocument/2006/customXml" ds:itemID="{719F754B-6C52-49F5-8B64-99BBB4B1D8EF}">
  <ds:schemaRefs/>
</ds:datastoreItem>
</file>

<file path=customXml/itemProps51.xml><?xml version="1.0" encoding="utf-8"?>
<ds:datastoreItem xmlns:ds="http://schemas.openxmlformats.org/officeDocument/2006/customXml" ds:itemID="{790BCBA1-027A-4A36-818F-F5B08ACBB6F8}">
  <ds:schemaRefs/>
</ds:datastoreItem>
</file>

<file path=customXml/itemProps52.xml><?xml version="1.0" encoding="utf-8"?>
<ds:datastoreItem xmlns:ds="http://schemas.openxmlformats.org/officeDocument/2006/customXml" ds:itemID="{692BDDB0-38FE-42A7-849B-F22E08F12CC6}">
  <ds:schemaRefs/>
</ds:datastoreItem>
</file>

<file path=customXml/itemProps53.xml><?xml version="1.0" encoding="utf-8"?>
<ds:datastoreItem xmlns:ds="http://schemas.openxmlformats.org/officeDocument/2006/customXml" ds:itemID="{54094439-3395-4928-B3E4-888438F9544E}">
  <ds:schemaRefs/>
</ds:datastoreItem>
</file>

<file path=customXml/itemProps54.xml><?xml version="1.0" encoding="utf-8"?>
<ds:datastoreItem xmlns:ds="http://schemas.openxmlformats.org/officeDocument/2006/customXml" ds:itemID="{08A76C5E-0E3C-4E53-92CF-E96D20A63BC5}">
  <ds:schemaRefs/>
</ds:datastoreItem>
</file>

<file path=customXml/itemProps55.xml><?xml version="1.0" encoding="utf-8"?>
<ds:datastoreItem xmlns:ds="http://schemas.openxmlformats.org/officeDocument/2006/customXml" ds:itemID="{5E8BEE92-94F1-4F5D-9ECB-965D4C88AEE6}">
  <ds:schemaRefs/>
</ds:datastoreItem>
</file>

<file path=customXml/itemProps56.xml><?xml version="1.0" encoding="utf-8"?>
<ds:datastoreItem xmlns:ds="http://schemas.openxmlformats.org/officeDocument/2006/customXml" ds:itemID="{E9B29474-3D38-416C-B2ED-842E537A9BBE}">
  <ds:schemaRefs/>
</ds:datastoreItem>
</file>

<file path=customXml/itemProps57.xml><?xml version="1.0" encoding="utf-8"?>
<ds:datastoreItem xmlns:ds="http://schemas.openxmlformats.org/officeDocument/2006/customXml" ds:itemID="{C85970FE-8B64-4BB9-A8EE-8413F82EC024}">
  <ds:schemaRefs/>
</ds:datastoreItem>
</file>

<file path=customXml/itemProps58.xml><?xml version="1.0" encoding="utf-8"?>
<ds:datastoreItem xmlns:ds="http://schemas.openxmlformats.org/officeDocument/2006/customXml" ds:itemID="{D7C13E3A-F8C7-4507-8D4B-269F77380BF2}">
  <ds:schemaRefs/>
</ds:datastoreItem>
</file>

<file path=customXml/itemProps59.xml><?xml version="1.0" encoding="utf-8"?>
<ds:datastoreItem xmlns:ds="http://schemas.openxmlformats.org/officeDocument/2006/customXml" ds:itemID="{70387097-7051-4EC2-91DA-2E6F973E1E8E}">
  <ds:schemaRefs/>
</ds:datastoreItem>
</file>

<file path=customXml/itemProps6.xml><?xml version="1.0" encoding="utf-8"?>
<ds:datastoreItem xmlns:ds="http://schemas.openxmlformats.org/officeDocument/2006/customXml" ds:itemID="{D7BABA95-BFFE-422B-8591-3271669EEA88}">
  <ds:schemaRefs/>
</ds:datastoreItem>
</file>

<file path=customXml/itemProps60.xml><?xml version="1.0" encoding="utf-8"?>
<ds:datastoreItem xmlns:ds="http://schemas.openxmlformats.org/officeDocument/2006/customXml" ds:itemID="{AB39D21B-7AEC-45BE-ADC9-1DC093B52B03}">
  <ds:schemaRefs/>
</ds:datastoreItem>
</file>

<file path=customXml/itemProps61.xml><?xml version="1.0" encoding="utf-8"?>
<ds:datastoreItem xmlns:ds="http://schemas.openxmlformats.org/officeDocument/2006/customXml" ds:itemID="{D8CD38E8-56FF-4F5C-90C5-D6531A420DB0}">
  <ds:schemaRefs/>
</ds:datastoreItem>
</file>

<file path=customXml/itemProps62.xml><?xml version="1.0" encoding="utf-8"?>
<ds:datastoreItem xmlns:ds="http://schemas.openxmlformats.org/officeDocument/2006/customXml" ds:itemID="{570971F4-6BD5-4F93-A4A9-507E0C028069}">
  <ds:schemaRefs/>
</ds:datastoreItem>
</file>

<file path=customXml/itemProps63.xml><?xml version="1.0" encoding="utf-8"?>
<ds:datastoreItem xmlns:ds="http://schemas.openxmlformats.org/officeDocument/2006/customXml" ds:itemID="{80D85D5E-7FDE-444E-B8B2-64261578E4E6}">
  <ds:schemaRefs/>
</ds:datastoreItem>
</file>

<file path=customXml/itemProps64.xml><?xml version="1.0" encoding="utf-8"?>
<ds:datastoreItem xmlns:ds="http://schemas.openxmlformats.org/officeDocument/2006/customXml" ds:itemID="{11C708A6-AAA8-47B0-82F5-3B33F8AC5FC0}">
  <ds:schemaRefs/>
</ds:datastoreItem>
</file>

<file path=customXml/itemProps65.xml><?xml version="1.0" encoding="utf-8"?>
<ds:datastoreItem xmlns:ds="http://schemas.openxmlformats.org/officeDocument/2006/customXml" ds:itemID="{690B3B01-C1EE-4048-8582-1071DB0B6DD4}">
  <ds:schemaRefs/>
</ds:datastoreItem>
</file>

<file path=customXml/itemProps66.xml><?xml version="1.0" encoding="utf-8"?>
<ds:datastoreItem xmlns:ds="http://schemas.openxmlformats.org/officeDocument/2006/customXml" ds:itemID="{75573958-49F7-4A37-B87A-373C4F1227A8}">
  <ds:schemaRefs/>
</ds:datastoreItem>
</file>

<file path=customXml/itemProps67.xml><?xml version="1.0" encoding="utf-8"?>
<ds:datastoreItem xmlns:ds="http://schemas.openxmlformats.org/officeDocument/2006/customXml" ds:itemID="{027B2D40-0703-412E-A333-B5E65AD1B891}">
  <ds:schemaRefs/>
</ds:datastoreItem>
</file>

<file path=customXml/itemProps68.xml><?xml version="1.0" encoding="utf-8"?>
<ds:datastoreItem xmlns:ds="http://schemas.openxmlformats.org/officeDocument/2006/customXml" ds:itemID="{8CB054F6-2693-46D1-9603-1B14821EF857}">
  <ds:schemaRefs/>
</ds:datastoreItem>
</file>

<file path=customXml/itemProps69.xml><?xml version="1.0" encoding="utf-8"?>
<ds:datastoreItem xmlns:ds="http://schemas.openxmlformats.org/officeDocument/2006/customXml" ds:itemID="{FC70D527-B55E-4EAA-9D5A-BD74413FBC6B}">
  <ds:schemaRefs/>
</ds:datastoreItem>
</file>

<file path=customXml/itemProps7.xml><?xml version="1.0" encoding="utf-8"?>
<ds:datastoreItem xmlns:ds="http://schemas.openxmlformats.org/officeDocument/2006/customXml" ds:itemID="{9FA37BF8-3A93-4509-BB87-F42AFD792CB9}">
  <ds:schemaRefs/>
</ds:datastoreItem>
</file>

<file path=customXml/itemProps70.xml><?xml version="1.0" encoding="utf-8"?>
<ds:datastoreItem xmlns:ds="http://schemas.openxmlformats.org/officeDocument/2006/customXml" ds:itemID="{9335EC40-A42E-472C-96A8-C761548948F0}">
  <ds:schemaRefs/>
</ds:datastoreItem>
</file>

<file path=customXml/itemProps71.xml><?xml version="1.0" encoding="utf-8"?>
<ds:datastoreItem xmlns:ds="http://schemas.openxmlformats.org/officeDocument/2006/customXml" ds:itemID="{897D84A5-A852-4C6E-9986-741B4C7A13B5}">
  <ds:schemaRefs/>
</ds:datastoreItem>
</file>

<file path=customXml/itemProps72.xml><?xml version="1.0" encoding="utf-8"?>
<ds:datastoreItem xmlns:ds="http://schemas.openxmlformats.org/officeDocument/2006/customXml" ds:itemID="{43B10735-076F-490C-AE42-831027D09DE6}">
  <ds:schemaRefs/>
</ds:datastoreItem>
</file>

<file path=customXml/itemProps73.xml><?xml version="1.0" encoding="utf-8"?>
<ds:datastoreItem xmlns:ds="http://schemas.openxmlformats.org/officeDocument/2006/customXml" ds:itemID="{3B172583-9317-42D1-AE58-F23F351EF6C4}">
  <ds:schemaRefs/>
</ds:datastoreItem>
</file>

<file path=customXml/itemProps74.xml><?xml version="1.0" encoding="utf-8"?>
<ds:datastoreItem xmlns:ds="http://schemas.openxmlformats.org/officeDocument/2006/customXml" ds:itemID="{1DE7AB73-229F-4086-8CCC-5F57653E53CD}">
  <ds:schemaRefs/>
</ds:datastoreItem>
</file>

<file path=customXml/itemProps75.xml><?xml version="1.0" encoding="utf-8"?>
<ds:datastoreItem xmlns:ds="http://schemas.openxmlformats.org/officeDocument/2006/customXml" ds:itemID="{17E2436E-C9A9-41F0-BD4E-B0231726090B}">
  <ds:schemaRefs/>
</ds:datastoreItem>
</file>

<file path=customXml/itemProps76.xml><?xml version="1.0" encoding="utf-8"?>
<ds:datastoreItem xmlns:ds="http://schemas.openxmlformats.org/officeDocument/2006/customXml" ds:itemID="{837D1429-79A1-4A99-BBF5-7CC45AE2B3F6}">
  <ds:schemaRefs/>
</ds:datastoreItem>
</file>

<file path=customXml/itemProps77.xml><?xml version="1.0" encoding="utf-8"?>
<ds:datastoreItem xmlns:ds="http://schemas.openxmlformats.org/officeDocument/2006/customXml" ds:itemID="{17113A57-0285-424B-8C04-DFB4CD32EB2C}">
  <ds:schemaRefs/>
</ds:datastoreItem>
</file>

<file path=customXml/itemProps78.xml><?xml version="1.0" encoding="utf-8"?>
<ds:datastoreItem xmlns:ds="http://schemas.openxmlformats.org/officeDocument/2006/customXml" ds:itemID="{75629944-4587-4E83-880E-C58EA4575419}">
  <ds:schemaRefs/>
</ds:datastoreItem>
</file>

<file path=customXml/itemProps79.xml><?xml version="1.0" encoding="utf-8"?>
<ds:datastoreItem xmlns:ds="http://schemas.openxmlformats.org/officeDocument/2006/customXml" ds:itemID="{7E35FEDB-1F0E-4D67-A313-4AC59C26FF29}">
  <ds:schemaRefs/>
</ds:datastoreItem>
</file>

<file path=customXml/itemProps8.xml><?xml version="1.0" encoding="utf-8"?>
<ds:datastoreItem xmlns:ds="http://schemas.openxmlformats.org/officeDocument/2006/customXml" ds:itemID="{F1C96294-A299-41E8-86DB-948953E3A9DB}">
  <ds:schemaRefs/>
</ds:datastoreItem>
</file>

<file path=customXml/itemProps80.xml><?xml version="1.0" encoding="utf-8"?>
<ds:datastoreItem xmlns:ds="http://schemas.openxmlformats.org/officeDocument/2006/customXml" ds:itemID="{15CF3461-70D1-4B54-AFAB-DAFDA0A238CD}">
  <ds:schemaRefs/>
</ds:datastoreItem>
</file>

<file path=customXml/itemProps81.xml><?xml version="1.0" encoding="utf-8"?>
<ds:datastoreItem xmlns:ds="http://schemas.openxmlformats.org/officeDocument/2006/customXml" ds:itemID="{DC0A91F5-0D7B-4AD6-B12D-5F7EDCCA74D8}">
  <ds:schemaRefs/>
</ds:datastoreItem>
</file>

<file path=customXml/itemProps82.xml><?xml version="1.0" encoding="utf-8"?>
<ds:datastoreItem xmlns:ds="http://schemas.openxmlformats.org/officeDocument/2006/customXml" ds:itemID="{EC1F915C-2F49-483C-931F-65037B7BCB49}">
  <ds:schemaRefs/>
</ds:datastoreItem>
</file>

<file path=customXml/itemProps83.xml><?xml version="1.0" encoding="utf-8"?>
<ds:datastoreItem xmlns:ds="http://schemas.openxmlformats.org/officeDocument/2006/customXml" ds:itemID="{77D5DCCB-16E6-44AA-9B11-329D04EEE3FB}">
  <ds:schemaRefs/>
</ds:datastoreItem>
</file>

<file path=customXml/itemProps84.xml><?xml version="1.0" encoding="utf-8"?>
<ds:datastoreItem xmlns:ds="http://schemas.openxmlformats.org/officeDocument/2006/customXml" ds:itemID="{092943D6-DA4E-477B-BAB5-BCDE454D08BF}">
  <ds:schemaRefs/>
</ds:datastoreItem>
</file>

<file path=customXml/itemProps85.xml><?xml version="1.0" encoding="utf-8"?>
<ds:datastoreItem xmlns:ds="http://schemas.openxmlformats.org/officeDocument/2006/customXml" ds:itemID="{ED4F0DB4-5170-4F4F-AA76-0992728460FE}">
  <ds:schemaRefs/>
</ds:datastoreItem>
</file>

<file path=customXml/itemProps86.xml><?xml version="1.0" encoding="utf-8"?>
<ds:datastoreItem xmlns:ds="http://schemas.openxmlformats.org/officeDocument/2006/customXml" ds:itemID="{DCE3A5B8-25BC-4803-89C1-9C8A427948DA}">
  <ds:schemaRefs/>
</ds:datastoreItem>
</file>

<file path=customXml/itemProps87.xml><?xml version="1.0" encoding="utf-8"?>
<ds:datastoreItem xmlns:ds="http://schemas.openxmlformats.org/officeDocument/2006/customXml" ds:itemID="{87D1B3BD-1D4A-4FEE-A062-DF272183035B}">
  <ds:schemaRefs/>
</ds:datastoreItem>
</file>

<file path=customXml/itemProps88.xml><?xml version="1.0" encoding="utf-8"?>
<ds:datastoreItem xmlns:ds="http://schemas.openxmlformats.org/officeDocument/2006/customXml" ds:itemID="{DFCCC96D-558B-4274-B6F3-180425A77CC2}">
  <ds:schemaRefs/>
</ds:datastoreItem>
</file>

<file path=customXml/itemProps89.xml><?xml version="1.0" encoding="utf-8"?>
<ds:datastoreItem xmlns:ds="http://schemas.openxmlformats.org/officeDocument/2006/customXml" ds:itemID="{68ED2D25-AF00-42B2-BEDA-12BEFC387736}">
  <ds:schemaRefs/>
</ds:datastoreItem>
</file>

<file path=customXml/itemProps9.xml><?xml version="1.0" encoding="utf-8"?>
<ds:datastoreItem xmlns:ds="http://schemas.openxmlformats.org/officeDocument/2006/customXml" ds:itemID="{9D0D41E1-362F-448C-989C-26DDD1E0B7C4}">
  <ds:schemaRefs/>
</ds:datastoreItem>
</file>

<file path=customXml/itemProps90.xml><?xml version="1.0" encoding="utf-8"?>
<ds:datastoreItem xmlns:ds="http://schemas.openxmlformats.org/officeDocument/2006/customXml" ds:itemID="{A3742416-7CF6-47F1-96E4-272872E05715}">
  <ds:schemaRefs/>
</ds:datastoreItem>
</file>

<file path=customXml/itemProps91.xml><?xml version="1.0" encoding="utf-8"?>
<ds:datastoreItem xmlns:ds="http://schemas.openxmlformats.org/officeDocument/2006/customXml" ds:itemID="{EA8274BA-AF07-4DC5-AAD5-A5E1F5D8F52D}">
  <ds:schemaRefs/>
</ds:datastoreItem>
</file>

<file path=customXml/itemProps92.xml><?xml version="1.0" encoding="utf-8"?>
<ds:datastoreItem xmlns:ds="http://schemas.openxmlformats.org/officeDocument/2006/customXml" ds:itemID="{3F7D1982-C1C7-46DD-A333-65A562BF04E6}">
  <ds:schemaRefs/>
</ds:datastoreItem>
</file>

<file path=customXml/itemProps93.xml><?xml version="1.0" encoding="utf-8"?>
<ds:datastoreItem xmlns:ds="http://schemas.openxmlformats.org/officeDocument/2006/customXml" ds:itemID="{621C7D3B-11AE-446C-B129-53153A4BDCD9}">
  <ds:schemaRefs/>
</ds:datastoreItem>
</file>

<file path=customXml/itemProps94.xml><?xml version="1.0" encoding="utf-8"?>
<ds:datastoreItem xmlns:ds="http://schemas.openxmlformats.org/officeDocument/2006/customXml" ds:itemID="{086A8CA3-9F4E-406B-BD93-48831FFFD45F}">
  <ds:schemaRefs/>
</ds:datastoreItem>
</file>

<file path=customXml/itemProps95.xml><?xml version="1.0" encoding="utf-8"?>
<ds:datastoreItem xmlns:ds="http://schemas.openxmlformats.org/officeDocument/2006/customXml" ds:itemID="{A4758000-5B57-4786-8F3C-0DE5E58F8F3E}">
  <ds:schemaRefs/>
</ds:datastoreItem>
</file>

<file path=customXml/itemProps96.xml><?xml version="1.0" encoding="utf-8"?>
<ds:datastoreItem xmlns:ds="http://schemas.openxmlformats.org/officeDocument/2006/customXml" ds:itemID="{1378BCF5-E92C-49AF-921F-7D80E1A8F58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</TotalTime>
  <Words>960</Words>
  <Application>Microsoft Office PowerPoint</Application>
  <PresentationFormat>Custom</PresentationFormat>
  <Paragraphs>222</Paragraphs>
  <Slides>17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 Unicode MS</vt:lpstr>
      <vt:lpstr>ＭＳ Ｐゴシック</vt:lpstr>
      <vt:lpstr>ＭＳ Ｐゴシック</vt:lpstr>
      <vt:lpstr>Arial</vt:lpstr>
      <vt:lpstr>Calibri</vt:lpstr>
      <vt:lpstr>Siemens Slab</vt:lpstr>
      <vt:lpstr>Wingdings</vt:lpstr>
      <vt:lpstr>ヒラギノ角ゴ Pro W3</vt:lpstr>
      <vt:lpstr>Siemens 2016 – 16:9</vt:lpstr>
      <vt:lpstr>think-cell Slide</vt:lpstr>
      <vt:lpstr>think-cell Folie</vt:lpstr>
      <vt:lpstr>Signals NZ User Group  Conference Hamilton 2018    Philip Manning   Siemens Mobility ITS - ANZ  </vt:lpstr>
      <vt:lpstr>About Siemens  shaping mobility as a technical pioneer since 1847 </vt:lpstr>
      <vt:lpstr>Siemens Divisions</vt:lpstr>
      <vt:lpstr>Mobility Division is divided in five Business Units -  Mobility Management takes care of Road &amp; Rail automation </vt:lpstr>
      <vt:lpstr>Real Time Optimiser (RTO)  The next generation of Urban Traffic Control System  Philip Manning   Siemens Mobility ITS - ANZ  </vt:lpstr>
      <vt:lpstr>Siemens to deliver ‘next generation’ London  traffic management system</vt:lpstr>
      <vt:lpstr>News highlights</vt:lpstr>
      <vt:lpstr>What is SCOOT?</vt:lpstr>
      <vt:lpstr>SCOOT is a global UTC system, jointly developed by  TRL, Siemens and Dynniq from the 1980’s onwards</vt:lpstr>
      <vt:lpstr>PowerPoint Presentation</vt:lpstr>
      <vt:lpstr>RTO is a network adaptive control system that is  jointly developed by Transport for London (TfL) &amp; Siemens</vt:lpstr>
      <vt:lpstr>Real-Time Optimiser (RTO) Project</vt:lpstr>
      <vt:lpstr>Lighthouse project with key customer Transport  for London – “Real Time Optimiser” Project</vt:lpstr>
      <vt:lpstr>Siemens - the ITS partner with the right capabilities for Customer Co-Creation</vt:lpstr>
      <vt:lpstr>PowerPoint Presentation</vt:lpstr>
      <vt:lpstr>London’s ambitions</vt:lpstr>
      <vt:lpstr>Philip Manning   Siemens Mobility ITS - ANZ  Ph. +61 448 262 040 Email: philip.manning@siemens.com 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 – Infrastructure &amp; Cities</dc:title>
  <dc:creator>Sebastian Althen</dc:creator>
  <cp:keywords>C_Unrestricted</cp:keywords>
  <cp:lastModifiedBy>Manning, Philip (RC-AU MO R3 S-ITS)</cp:lastModifiedBy>
  <cp:revision>1099</cp:revision>
  <cp:lastPrinted>2012-10-29T09:59:01Z</cp:lastPrinted>
  <dcterms:created xsi:type="dcterms:W3CDTF">2006-04-07T10:01:45Z</dcterms:created>
  <dcterms:modified xsi:type="dcterms:W3CDTF">2018-11-01T22:12:07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-1992198374</vt:i4>
  </property>
  <property fmtid="{D5CDD505-2E9C-101B-9397-08002B2CF9AE}" pid="7" name="_NewReviewCycle">
    <vt:lpwstr/>
  </property>
  <property fmtid="{D5CDD505-2E9C-101B-9397-08002B2CF9AE}" pid="8" name="_EmailSubject">
    <vt:lpwstr>ITS Summit - RTO</vt:lpwstr>
  </property>
  <property fmtid="{D5CDD505-2E9C-101B-9397-08002B2CF9AE}" pid="9" name="_AuthorEmail">
    <vt:lpwstr>fred.kalt@siemens.com</vt:lpwstr>
  </property>
  <property fmtid="{D5CDD505-2E9C-101B-9397-08002B2CF9AE}" pid="10" name="_AuthorEmailDisplayName">
    <vt:lpwstr>Kalt, Fred (MO RC-SG ITS-HUB)</vt:lpwstr>
  </property>
  <property fmtid="{D5CDD505-2E9C-101B-9397-08002B2CF9AE}" pid="11" name="ArticulateGUID">
    <vt:lpwstr>0AC98402-8301-473D-9EA7-473A7D74CF93</vt:lpwstr>
  </property>
  <property fmtid="{D5CDD505-2E9C-101B-9397-08002B2CF9AE}" pid="12" name="ArticulatePath">
    <vt:lpwstr>Car2X Vortrag Draft Hobohm 19 08 2014_komp</vt:lpwstr>
  </property>
  <property fmtid="{D5CDD505-2E9C-101B-9397-08002B2CF9AE}" pid="13" name="_PreviousAdHocReviewCycleID">
    <vt:i4>-417888662</vt:i4>
  </property>
  <property fmtid="{D5CDD505-2E9C-101B-9397-08002B2CF9AE}" pid="14" name="Document Confidentiality">
    <vt:lpwstr>Unrestricted</vt:lpwstr>
  </property>
</Properties>
</file>